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slides/slide24.xml" ContentType="application/vnd.openxmlformats-officedocument.presentationml.slide+xml"/>
  <Override PartName="/ppt/presentation.xml" ContentType="application/vnd.openxmlformats-officedocument.presentationml.presentation.main+xml"/>
  <Override PartName="/ppt/slides/slide23.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0.xml" ContentType="application/vnd.openxmlformats-officedocument.presentationml.slide+xml"/>
  <Override PartName="/ppt/slides/slide9.xml" ContentType="application/vnd.openxmlformats-officedocument.presentationml.slide+xml"/>
  <Override PartName="/ppt/slides/slide7.xml" ContentType="application/vnd.openxmlformats-officedocument.presentationml.slide+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17.xml" ContentType="application/vnd.openxmlformats-officedocument.presentationml.slide+xml"/>
  <Override PartName="/ppt/slides/slide8.xml" ContentType="application/vnd.openxmlformats-officedocument.presentationml.slide+xml"/>
  <Override PartName="/ppt/slides/slide19.xml" ContentType="application/vnd.openxmlformats-officedocument.presentationml.slide+xml"/>
  <Override PartName="/ppt/slides/slide22.xml" ContentType="application/vnd.openxmlformats-officedocument.presentationml.slide+xml"/>
  <Override PartName="/ppt/slides/slide21.xml" ContentType="application/vnd.openxmlformats-officedocument.presentationml.slide+xml"/>
  <Override PartName="/ppt/slides/slide18.xml" ContentType="application/vnd.openxmlformats-officedocument.presentationml.slide+xml"/>
  <Override PartName="/ppt/slides/slide20.xml" ContentType="application/vnd.openxmlformats-officedocument.presentationml.slide+xml"/>
  <Override PartName="/ppt/slideMasters/slideMaster5.xml" ContentType="application/vnd.openxmlformats-officedocument.presentationml.slideMaster+xml"/>
  <Override PartName="/ppt/slideMasters/slideMaster4.xml" ContentType="application/vnd.openxmlformats-officedocument.presentationml.slideMaster+xml"/>
  <Override PartName="/ppt/slideMasters/slideMaster3.xml" ContentType="application/vnd.openxmlformats-officedocument.presentationml.slideMaster+xml"/>
  <Override PartName="/ppt/notesSlides/notesSlide23.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notesSlides/notesSlide16.xml" ContentType="application/vnd.openxmlformats-officedocument.presentationml.notesSlide+xml"/>
  <Override PartName="/ppt/notesSlides/notesSlide22.xml" ContentType="application/vnd.openxmlformats-officedocument.presentationml.notesSlide+xml"/>
  <Override PartName="/ppt/notesSlides/notesSlide15.xml" ContentType="application/vnd.openxmlformats-officedocument.presentationml.notesSlide+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57.xml" ContentType="application/vnd.openxmlformats-officedocument.presentationml.slideLayout+xml"/>
  <Override PartName="/ppt/slideLayouts/slideLayout56.xml" ContentType="application/vnd.openxmlformats-officedocument.presentationml.slideLayout+xml"/>
  <Override PartName="/ppt/slideLayouts/slideLayout55.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80.xml" ContentType="application/vnd.openxmlformats-officedocument.presentationml.slideLayout+xml"/>
  <Override PartName="/ppt/slideLayouts/slideLayout79.xml" ContentType="application/vnd.openxmlformats-officedocument.presentationml.slideLayout+xml"/>
  <Override PartName="/ppt/slideLayouts/slideLayout78.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46.xml" ContentType="application/vnd.openxmlformats-officedocument.presentationml.slideLayout+xml"/>
  <Override PartName="/ppt/slideLayouts/slideLayout45.xml" ContentType="application/vnd.openxmlformats-officedocument.presentationml.slideLayout+xml"/>
  <Override PartName="/ppt/slideLayouts/slideLayout44.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11.xml" ContentType="application/vnd.openxmlformats-officedocument.presentationml.slideLayout+xml"/>
  <Override PartName="/ppt/slideLayouts/slideLayout10.xml" ContentType="application/vnd.openxmlformats-officedocument.presentationml.slideLayout+xml"/>
  <Override PartName="/ppt/slideLayouts/slideLayout9.xml" ContentType="application/vnd.openxmlformats-officedocument.presentationml.slideLayout+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34.xml" ContentType="application/vnd.openxmlformats-officedocument.presentationml.slideLayout+xml"/>
  <Override PartName="/ppt/slideLayouts/slideLayout33.xml" ContentType="application/vnd.openxmlformats-officedocument.presentationml.slideLayout+xml"/>
  <Override PartName="/ppt/slideLayouts/slideLayout32.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91.xml" ContentType="application/vnd.openxmlformats-officedocument.presentationml.slideLayout+xml"/>
  <Override PartName="/ppt/slideLayouts/slideLayout81.xml" ContentType="application/vnd.openxmlformats-officedocument.presentationml.slideLayout+xml"/>
  <Override PartName="/ppt/slideLayouts/slideLayout93.xml" ContentType="application/vnd.openxmlformats-officedocument.presentationml.slideLayout+xml"/>
  <Override PartName="/ppt/notesSlides/notesSlide2.xml" ContentType="application/vnd.openxmlformats-officedocument.presentationml.notesSlide+xml"/>
  <Override PartName="/ppt/notesSlides/notesSlide1.xml" ContentType="application/vnd.openxmlformats-officedocument.presentationml.notesSlide+xml"/>
  <Override PartName="/ppt/slideLayouts/slideLayout120.xml" ContentType="application/vnd.openxmlformats-officedocument.presentationml.slideLayout+xml"/>
  <Override PartName="/ppt/slideLayouts/slideLayout119.xml" ContentType="application/vnd.openxmlformats-officedocument.presentationml.slideLayout+xml"/>
  <Override PartName="/ppt/slideLayouts/slideLayout118.xml" ContentType="application/vnd.openxmlformats-officedocument.presentationml.slideLayout+xml"/>
  <Override PartName="/ppt/slideLayouts/slideLayout117.xml" ContentType="application/vnd.openxmlformats-officedocument.presentationml.slideLayout+xml"/>
  <Override PartName="/ppt/slideLayouts/slideLayout116.xml" ContentType="application/vnd.openxmlformats-officedocument.presentationml.slideLayout+xml"/>
  <Override PartName="/ppt/slideLayouts/slideLayout115.xml" ContentType="application/vnd.openxmlformats-officedocument.presentationml.slideLayout+xml"/>
  <Override PartName="/ppt/slideLayouts/slideLayout114.xml" ContentType="application/vnd.openxmlformats-officedocument.presentationml.slideLayout+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14.xml" ContentType="application/vnd.openxmlformats-officedocument.presentationml.notesSlide+xml"/>
  <Override PartName="/ppt/notesSlides/notesSlide13.xml" ContentType="application/vnd.openxmlformats-officedocument.presentationml.notesSlide+xml"/>
  <Override PartName="/ppt/notesSlides/notesSlide12.xml" ContentType="application/vnd.openxmlformats-officedocument.presentationml.notesSlide+xml"/>
  <Override PartName="/ppt/notesSlides/notesSlide11.xml" ContentType="application/vnd.openxmlformats-officedocument.presentationml.notesSlide+xml"/>
  <Override PartName="/ppt/notesSlides/notesSlide10.xml" ContentType="application/vnd.openxmlformats-officedocument.presentationml.notesSlide+xml"/>
  <Override PartName="/ppt/notesSlides/notesSlide9.xml" ContentType="application/vnd.openxmlformats-officedocument.presentationml.notesSlide+xml"/>
  <Override PartName="/ppt/notesSlides/notesSlide8.xml" ContentType="application/vnd.openxmlformats-officedocument.presentationml.notesSlide+xml"/>
  <Override PartName="/ppt/notesSlides/notesSlide7.xml" ContentType="application/vnd.openxmlformats-officedocument.presentationml.notesSlide+xml"/>
  <Override PartName="/ppt/notesSlides/notesSlide6.xml" ContentType="application/vnd.openxmlformats-officedocument.presentationml.notesSlide+xml"/>
  <Override PartName="/ppt/slideLayouts/slideLayout113.xml" ContentType="application/vnd.openxmlformats-officedocument.presentationml.slideLayout+xml"/>
  <Override PartName="/ppt/slideLayouts/slideLayout92.xml" ContentType="application/vnd.openxmlformats-officedocument.presentationml.slideLayout+xml"/>
  <Override PartName="/ppt/slideLayouts/slideLayout111.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99.xml" ContentType="application/vnd.openxmlformats-officedocument.presentationml.slideLayout+xml"/>
  <Override PartName="/ppt/slideLayouts/slideLayout98.xml" ContentType="application/vnd.openxmlformats-officedocument.presentationml.slideLayout+xml"/>
  <Override PartName="/ppt/slideLayouts/slideLayout97.xml" ContentType="application/vnd.openxmlformats-officedocument.presentationml.slideLayout+xml"/>
  <Override PartName="/ppt/slideLayouts/slideLayout96.xml" ContentType="application/vnd.openxmlformats-officedocument.presentationml.slideLayout+xml"/>
  <Override PartName="/ppt/slideLayouts/slideLayout95.xml" ContentType="application/vnd.openxmlformats-officedocument.presentationml.slideLayout+xml"/>
  <Override PartName="/ppt/slideLayouts/slideLayout94.xml" ContentType="application/vnd.openxmlformats-officedocument.presentationml.slideLayout+xml"/>
  <Override PartName="/ppt/slideLayouts/slideLayout104.xml" ContentType="application/vnd.openxmlformats-officedocument.presentationml.slideLayout+xml"/>
  <Override PartName="/ppt/slideLayouts/slideLayout112.xml" ContentType="application/vnd.openxmlformats-officedocument.presentationml.slideLayout+xml"/>
  <Override PartName="/ppt/slideLayouts/slideLayout108.xml" ContentType="application/vnd.openxmlformats-officedocument.presentationml.slideLayout+xml"/>
  <Override PartName="/ppt/slideLayouts/slideLayout110.xml" ContentType="application/vnd.openxmlformats-officedocument.presentationml.slideLayout+xml"/>
  <Override PartName="/ppt/slideLayouts/slideLayout107.xml" ContentType="application/vnd.openxmlformats-officedocument.presentationml.slideLayout+xml"/>
  <Override PartName="/ppt/slideLayouts/slideLayout106.xml" ContentType="application/vnd.openxmlformats-officedocument.presentationml.slideLayout+xml"/>
  <Override PartName="/ppt/slideLayouts/slideLayout105.xml" ContentType="application/vnd.openxmlformats-officedocument.presentationml.slideLayout+xml"/>
  <Override PartName="/ppt/slideLayouts/slideLayout109.xml" ContentType="application/vnd.openxmlformats-officedocument.presentationml.slideLayout+xml"/>
  <Override PartName="/ppt/theme/theme3.xml" ContentType="application/vnd.openxmlformats-officedocument.theme+xml"/>
  <Override PartName="/ppt/theme/theme1.xml" ContentType="application/vnd.openxmlformats-officedocument.theme+xml"/>
  <Override PartName="/ppt/commentAuthors.xml" ContentType="application/vnd.openxmlformats-officedocument.presentationml.commentAuthors+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theme/theme4.xml" ContentType="application/vnd.openxmlformats-officedocument.theme+xml"/>
  <Override PartName="/ppt/theme/theme2.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viewProps.xml" ContentType="application/vnd.openxmlformats-officedocument.presentationml.viewProps+xml"/>
  <Override PartName="/ppt/presProps.xml" ContentType="application/vnd.openxmlformats-officedocument.presentationml.presProps+xml"/>
  <Override PartName="/ppt/tableStyles.xml" ContentType="application/vnd.openxmlformats-officedocument.presentationml.tableStyles+xml"/>
  <Override PartName="/docProps/app.xml" ContentType="application/vnd.openxmlformats-officedocument.extended-properties+xml"/>
  <Override PartName="/docProps/core.xml" ContentType="application/vnd.openxmlformats-package.core-properties+xml"/>
  <Override PartName="/ppt/tags/tag1.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customXml/itemProps5.xml" ContentType="application/vnd.openxmlformats-officedocument.customXmlProperties+xml"/>
  <Override PartName="/customXml/itemProps4.xml" ContentType="application/vnd.openxmlformats-officedocument.customXmlProperties+xml"/>
  <Override PartName="/docProps/custom.xml" ContentType="application/vnd.openxmlformats-officedocument.custom-properties+xml"/>
  <Override PartName="/customXml/itemProps6.xml" ContentType="application/vnd.openxmlformats-officedocument.customXmlProperties+xml"/>
  <Override PartName="/customXml/itemProps7.xml" ContentType="application/vnd.openxmlformats-officedocument.customXml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252" r:id="rId1"/>
    <p:sldMasterId id="2147484289" r:id="rId2"/>
    <p:sldMasterId id="2147484300" r:id="rId3"/>
    <p:sldMasterId id="2147484312" r:id="rId4"/>
    <p:sldMasterId id="2147484344" r:id="rId5"/>
  </p:sldMasterIdLst>
  <p:notesMasterIdLst>
    <p:notesMasterId r:id="rId30"/>
  </p:notesMasterIdLst>
  <p:handoutMasterIdLst>
    <p:handoutMasterId r:id="rId31"/>
  </p:handoutMasterIdLst>
  <p:sldIdLst>
    <p:sldId id="351" r:id="rId6"/>
    <p:sldId id="349" r:id="rId7"/>
    <p:sldId id="327" r:id="rId8"/>
    <p:sldId id="355" r:id="rId9"/>
    <p:sldId id="348" r:id="rId10"/>
    <p:sldId id="330" r:id="rId11"/>
    <p:sldId id="329" r:id="rId12"/>
    <p:sldId id="341" r:id="rId13"/>
    <p:sldId id="356" r:id="rId14"/>
    <p:sldId id="332" r:id="rId15"/>
    <p:sldId id="362" r:id="rId16"/>
    <p:sldId id="281" r:id="rId17"/>
    <p:sldId id="357" r:id="rId18"/>
    <p:sldId id="336" r:id="rId19"/>
    <p:sldId id="340" r:id="rId20"/>
    <p:sldId id="338" r:id="rId21"/>
    <p:sldId id="343" r:id="rId22"/>
    <p:sldId id="368" r:id="rId23"/>
    <p:sldId id="358" r:id="rId24"/>
    <p:sldId id="365" r:id="rId25"/>
    <p:sldId id="366" r:id="rId26"/>
    <p:sldId id="360" r:id="rId27"/>
    <p:sldId id="294" r:id="rId28"/>
    <p:sldId id="367" r:id="rId29"/>
  </p:sldIdLst>
  <p:sldSz cx="12188825" cy="6858000"/>
  <p:notesSz cx="6858000" cy="9144000"/>
  <p:defaultTex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A4E63073-98FC-47D7-ACF4-B1897FA21638}">
          <p14:sldIdLst>
            <p14:sldId id="351"/>
            <p14:sldId id="349"/>
            <p14:sldId id="327"/>
            <p14:sldId id="355"/>
            <p14:sldId id="348"/>
            <p14:sldId id="330"/>
            <p14:sldId id="329"/>
            <p14:sldId id="341"/>
            <p14:sldId id="356"/>
            <p14:sldId id="332"/>
            <p14:sldId id="362"/>
            <p14:sldId id="281"/>
            <p14:sldId id="357"/>
            <p14:sldId id="336"/>
            <p14:sldId id="340"/>
            <p14:sldId id="338"/>
            <p14:sldId id="343"/>
            <p14:sldId id="368"/>
            <p14:sldId id="358"/>
            <p14:sldId id="365"/>
          </p14:sldIdLst>
        </p14:section>
        <p14:section name="Appendix" id="{5EA4A461-3F2D-406C-AF9C-9F97A46FFD90}">
          <p14:sldIdLst>
            <p14:sldId id="366"/>
            <p14:sldId id="360"/>
            <p14:sldId id="294"/>
            <p14:sldId id="367"/>
          </p14:sldIdLst>
        </p14:section>
      </p14:sectionLst>
    </p:ext>
    <p:ext uri="{EFAFB233-063F-42B5-8137-9DF3F51BA10A}">
      <p15:sldGuideLst xmlns:p15="http://schemas.microsoft.com/office/powerpoint/2012/main">
        <p15:guide id="1" orient="horz" pos="142">
          <p15:clr>
            <a:srgbClr val="A4A3A4"/>
          </p15:clr>
        </p15:guide>
        <p15:guide id="2" orient="horz" pos="4176">
          <p15:clr>
            <a:srgbClr val="A4A3A4"/>
          </p15:clr>
        </p15:guide>
        <p15:guide id="3" orient="horz" pos="912">
          <p15:clr>
            <a:srgbClr val="A4A3A4"/>
          </p15:clr>
        </p15:guide>
        <p15:guide id="4" orient="horz" pos="1197">
          <p15:clr>
            <a:srgbClr val="A4A3A4"/>
          </p15:clr>
        </p15:guide>
        <p15:guide id="5" orient="horz" pos="1957">
          <p15:clr>
            <a:srgbClr val="A4A3A4"/>
          </p15:clr>
        </p15:guide>
        <p15:guide id="6" orient="horz" pos="2723">
          <p15:clr>
            <a:srgbClr val="A4A3A4"/>
          </p15:clr>
        </p15:guide>
        <p15:guide id="7" orient="horz" pos="2159">
          <p15:clr>
            <a:srgbClr val="A4A3A4"/>
          </p15:clr>
        </p15:guide>
        <p15:guide id="8" orient="horz" pos="3863">
          <p15:clr>
            <a:srgbClr val="A4A3A4"/>
          </p15:clr>
        </p15:guide>
        <p15:guide id="9" orient="horz" pos="3566">
          <p15:clr>
            <a:srgbClr val="A4A3A4"/>
          </p15:clr>
        </p15:guide>
        <p15:guide id="10" pos="128">
          <p15:clr>
            <a:srgbClr val="A4A3A4"/>
          </p15:clr>
        </p15:guide>
        <p15:guide id="11" pos="1767">
          <p15:clr>
            <a:srgbClr val="A4A3A4"/>
          </p15:clr>
        </p15:guide>
        <p15:guide id="12" pos="7554">
          <p15:clr>
            <a:srgbClr val="A4A3A4"/>
          </p15:clr>
        </p15:guide>
        <p15:guide id="13" pos="328">
          <p15:clr>
            <a:srgbClr val="A4A3A4"/>
          </p15:clr>
        </p15:guide>
        <p15:guide id="14" pos="7353">
          <p15:clr>
            <a:srgbClr val="A4A3A4"/>
          </p15:clr>
        </p15:guide>
        <p15:guide id="15" pos="613">
          <p15:clr>
            <a:srgbClr val="A4A3A4"/>
          </p15:clr>
        </p15:guide>
        <p15:guide id="16" pos="7062">
          <p15:clr>
            <a:srgbClr val="A4A3A4"/>
          </p15:clr>
        </p15:guide>
        <p15:guide id="17" pos="3837">
          <p15:clr>
            <a:srgbClr val="A4A3A4"/>
          </p15:clr>
        </p15:guide>
        <p15:guide id="18" pos="2216">
          <p15:clr>
            <a:srgbClr val="A4A3A4"/>
          </p15:clr>
        </p15:guide>
        <p15:guide id="19" pos="3771">
          <p15:clr>
            <a:srgbClr val="A4A3A4"/>
          </p15:clr>
        </p15:guide>
        <p15:guide id="20" orient="horz" pos="672">
          <p15:clr>
            <a:srgbClr val="A4A3A4"/>
          </p15:clr>
        </p15:guide>
        <p15:guide id="21" pos="7548">
          <p15:clr>
            <a:srgbClr val="A4A3A4"/>
          </p15:clr>
        </p15:guide>
        <p15:guide id="22" orient="horz" pos="2775">
          <p15:clr>
            <a:srgbClr val="A4A3A4"/>
          </p15:clr>
        </p15:guide>
        <p15:guide id="23" pos="7549">
          <p15:clr>
            <a:srgbClr val="A4A3A4"/>
          </p15:clr>
        </p15:guide>
        <p15:guide id="24" orient="horz" pos="145">
          <p15:clr>
            <a:srgbClr val="A4A3A4"/>
          </p15:clr>
        </p15:guide>
        <p15:guide id="25" orient="horz" pos="1300">
          <p15:clr>
            <a:srgbClr val="A4A3A4"/>
          </p15:clr>
        </p15:guide>
        <p15:guide id="26" orient="horz" pos="1874">
          <p15:clr>
            <a:srgbClr val="A4A3A4"/>
          </p15:clr>
        </p15:guide>
        <p15:guide id="27" orient="horz" pos="2452">
          <p15:clr>
            <a:srgbClr val="A4A3A4"/>
          </p15:clr>
        </p15:guide>
        <p15:guide id="28" orient="horz" pos="3025">
          <p15:clr>
            <a:srgbClr val="A4A3A4"/>
          </p15:clr>
        </p15:guide>
        <p15:guide id="29" orient="horz" pos="3698">
          <p15:clr>
            <a:srgbClr val="A4A3A4"/>
          </p15:clr>
        </p15:guide>
        <p15:guide id="30" orient="horz" pos="663">
          <p15:clr>
            <a:srgbClr val="A4A3A4"/>
          </p15:clr>
        </p15:guide>
        <p15:guide id="31" pos="98">
          <p15:clr>
            <a:srgbClr val="A4A3A4"/>
          </p15:clr>
        </p15:guide>
        <p15:guide id="32" pos="1824">
          <p15:clr>
            <a:srgbClr val="A4A3A4"/>
          </p15:clr>
        </p15:guide>
        <p15:guide id="33" pos="7506">
          <p15:clr>
            <a:srgbClr val="A4A3A4"/>
          </p15:clr>
        </p15:guide>
        <p15:guide id="34" pos="1248">
          <p15:clr>
            <a:srgbClr val="A4A3A4"/>
          </p15:clr>
        </p15:guide>
        <p15:guide id="35" pos="4708">
          <p15:clr>
            <a:srgbClr val="A4A3A4"/>
          </p15:clr>
        </p15:guide>
        <p15:guide id="36" pos="669">
          <p15:clr>
            <a:srgbClr val="A4A3A4"/>
          </p15:clr>
        </p15:guide>
        <p15:guide id="37" pos="4125">
          <p15:clr>
            <a:srgbClr val="A4A3A4"/>
          </p15:clr>
        </p15:guide>
        <p15:guide id="38" pos="3549">
          <p15:clr>
            <a:srgbClr val="A4A3A4"/>
          </p15:clr>
        </p15:guide>
        <p15:guide id="39" pos="2471">
          <p15:clr>
            <a:srgbClr val="A4A3A4"/>
          </p15:clr>
        </p15:guide>
        <p15:guide id="40" pos="2975">
          <p15:clr>
            <a:srgbClr val="A4A3A4"/>
          </p15:clr>
        </p15:guide>
        <p15:guide id="41" pos="5278">
          <p15:clr>
            <a:srgbClr val="A4A3A4"/>
          </p15:clr>
        </p15:guide>
        <p15:guide id="42" pos="5861">
          <p15:clr>
            <a:srgbClr val="A4A3A4"/>
          </p15:clr>
        </p15:guide>
        <p15:guide id="43" pos="6430">
          <p15:clr>
            <a:srgbClr val="A4A3A4"/>
          </p15:clr>
        </p15:guide>
        <p15:guide id="44" pos="7577">
          <p15:clr>
            <a:srgbClr val="A4A3A4"/>
          </p15:clr>
        </p15:guide>
        <p15:guide id="45" pos="344">
          <p15:clr>
            <a:srgbClr val="A4A3A4"/>
          </p15:clr>
        </p15:guide>
        <p15:guide id="46" orient="horz" pos="3713">
          <p15:clr>
            <a:srgbClr val="A4A3A4"/>
          </p15:clr>
        </p15:guide>
        <p15:guide id="47" orient="horz" pos="1863">
          <p15:clr>
            <a:srgbClr val="A4A3A4"/>
          </p15:clr>
        </p15:guide>
        <p15:guide id="48" orient="horz" pos="651">
          <p15:clr>
            <a:srgbClr val="A4A3A4"/>
          </p15:clr>
        </p15:guide>
        <p15:guide id="49" pos="7008">
          <p15:clr>
            <a:srgbClr val="A4A3A4"/>
          </p15:clr>
        </p15:guide>
        <p15:guide id="50" pos="7584">
          <p15:clr>
            <a:srgbClr val="A4A3A4"/>
          </p15:clr>
        </p15:guide>
        <p15:guide id="51" pos="2396">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9" name="Author" initials="A" lastIdx="0" clrIdx="9"/>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2C6"/>
    <a:srgbClr val="0088EE"/>
    <a:srgbClr val="2D82FF"/>
    <a:srgbClr val="0042AC"/>
    <a:srgbClr val="68217A"/>
    <a:srgbClr val="00188F"/>
    <a:srgbClr val="DD5900"/>
    <a:srgbClr val="007233"/>
    <a:srgbClr val="EB3C00"/>
    <a:srgbClr val="40404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679" autoAdjust="0"/>
    <p:restoredTop sz="70311" autoAdjust="0"/>
  </p:normalViewPr>
  <p:slideViewPr>
    <p:cSldViewPr snapToGrid="0">
      <p:cViewPr varScale="1">
        <p:scale>
          <a:sx n="78" d="100"/>
          <a:sy n="78" d="100"/>
        </p:scale>
        <p:origin x="816" y="120"/>
      </p:cViewPr>
      <p:guideLst>
        <p:guide orient="horz" pos="142"/>
        <p:guide orient="horz" pos="4176"/>
        <p:guide orient="horz" pos="912"/>
        <p:guide orient="horz" pos="1197"/>
        <p:guide orient="horz" pos="1957"/>
        <p:guide orient="horz" pos="2723"/>
        <p:guide orient="horz" pos="2159"/>
        <p:guide orient="horz" pos="3863"/>
        <p:guide orient="horz" pos="3566"/>
        <p:guide pos="128"/>
        <p:guide pos="1767"/>
        <p:guide pos="7554"/>
        <p:guide pos="328"/>
        <p:guide pos="7353"/>
        <p:guide pos="613"/>
        <p:guide pos="7062"/>
        <p:guide pos="3837"/>
        <p:guide pos="2216"/>
        <p:guide pos="3771"/>
        <p:guide orient="horz" pos="672"/>
        <p:guide pos="7548"/>
        <p:guide orient="horz" pos="2775"/>
        <p:guide pos="7549"/>
        <p:guide orient="horz" pos="145"/>
        <p:guide orient="horz" pos="1300"/>
        <p:guide orient="horz" pos="1874"/>
        <p:guide orient="horz" pos="2452"/>
        <p:guide orient="horz" pos="3025"/>
        <p:guide orient="horz" pos="3698"/>
        <p:guide orient="horz" pos="663"/>
        <p:guide pos="98"/>
        <p:guide pos="1824"/>
        <p:guide pos="7506"/>
        <p:guide pos="1248"/>
        <p:guide pos="4708"/>
        <p:guide pos="669"/>
        <p:guide pos="4125"/>
        <p:guide pos="3549"/>
        <p:guide pos="2471"/>
        <p:guide pos="2975"/>
        <p:guide pos="5278"/>
        <p:guide pos="5861"/>
        <p:guide pos="6430"/>
        <p:guide pos="7577"/>
        <p:guide pos="344"/>
        <p:guide orient="horz" pos="3713"/>
        <p:guide orient="horz" pos="1863"/>
        <p:guide orient="horz" pos="651"/>
        <p:guide pos="7008"/>
        <p:guide pos="7584"/>
        <p:guide pos="2396"/>
      </p:guideLst>
    </p:cSldViewPr>
  </p:slideViewPr>
  <p:outlineViewPr>
    <p:cViewPr>
      <p:scale>
        <a:sx n="33" d="100"/>
        <a:sy n="33" d="100"/>
      </p:scale>
      <p:origin x="0" y="0"/>
    </p:cViewPr>
  </p:outlineViewPr>
  <p:notesTextViewPr>
    <p:cViewPr>
      <p:scale>
        <a:sx n="3" d="2"/>
        <a:sy n="3" d="2"/>
      </p:scale>
      <p:origin x="0" y="0"/>
    </p:cViewPr>
  </p:notesTextViewPr>
  <p:sorterViewPr>
    <p:cViewPr>
      <p:scale>
        <a:sx n="110" d="100"/>
        <a:sy n="110" d="100"/>
      </p:scale>
      <p:origin x="0" y="0"/>
    </p:cViewPr>
  </p:sorterViewPr>
  <p:notesViewPr>
    <p:cSldViewPr snapToGrid="0" showGuides="1">
      <p:cViewPr varScale="1">
        <p:scale>
          <a:sx n="67" d="100"/>
          <a:sy n="67" d="100"/>
        </p:scale>
        <p:origin x="2496" y="8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viewProps" Target="viewProps.xml"/><Relationship Id="rId42" Type="http://schemas.openxmlformats.org/officeDocument/2006/relationships/customXml" Target="../customXml/item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customXml" Target="../customXml/item5.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commentAuthors" Target="commentAuthor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handoutMaster" Target="handoutMasters/handoutMaster1.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notesMaster" Target="notesMasters/notesMaster1.xml"/><Relationship Id="rId35" Type="http://schemas.openxmlformats.org/officeDocument/2006/relationships/theme" Target="theme/theme1.xml"/><Relationship Id="rId8" Type="http://schemas.openxmlformats.org/officeDocument/2006/relationships/slide" Target="slides/slide3.xml"/><Relationship Id="rId3" Type="http://schemas.openxmlformats.org/officeDocument/2006/relationships/slideMaster" Target="slideMasters/slideMaster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smtClean="0"/>
              <a:t>Microsoft Office365</a:t>
            </a:r>
            <a:endParaRPr lang="en-US" dirty="0"/>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E219B1A-AE41-483B-A766-69B9363DDA6A}" type="datetimeFigureOut">
              <a:rPr lang="en-US" smtClean="0"/>
              <a:t>9/11/2014</a:t>
            </a:fld>
            <a:endParaRPr lang="en-US" dirty="0"/>
          </a:p>
        </p:txBody>
      </p:sp>
      <p:sp>
        <p:nvSpPr>
          <p:cNvPr id="8" name="Footer Placeholder 7"/>
          <p:cNvSpPr>
            <a:spLocks noGrp="1"/>
          </p:cNvSpPr>
          <p:nvPr>
            <p:ph type="ftr" sz="quarter" idx="2"/>
          </p:nvPr>
        </p:nvSpPr>
        <p:spPr>
          <a:xfrm>
            <a:off x="0" y="8685212"/>
            <a:ext cx="5795010" cy="366191"/>
          </a:xfrm>
          <a:prstGeom prst="rect">
            <a:avLst/>
          </a:prstGeom>
        </p:spPr>
        <p:txBody>
          <a:bodyPr vert="horz" lIns="0" tIns="45720" rIns="91440" bIns="45720" rtlCol="0" anchor="b"/>
          <a:lstStyle>
            <a:lvl1pPr algn="l">
              <a:defRPr sz="1200"/>
            </a:lvl1pPr>
          </a:lstStyle>
          <a:p>
            <a:pPr marL="231775" defTabSz="914099" eaLnBrk="0" hangingPunct="0"/>
            <a:r>
              <a:rPr lang="en-US" sz="500" dirty="0">
                <a:gradFill>
                  <a:gsLst>
                    <a:gs pos="0">
                      <a:schemeClr val="tx1"/>
                    </a:gs>
                    <a:gs pos="100000">
                      <a:schemeClr val="tx1"/>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231775" defTabSz="914099" eaLnBrk="0" hangingPunct="0"/>
            <a:r>
              <a:rPr lang="en-US" sz="500" dirty="0">
                <a:gradFill>
                  <a:gsLst>
                    <a:gs pos="0">
                      <a:schemeClr val="tx1"/>
                    </a:gs>
                    <a:gs pos="100000">
                      <a:schemeClr val="tx1"/>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a:t>
            </a:r>
            <a:r>
              <a:rPr lang="en-US" sz="5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presentation. Because </a:t>
            </a:r>
            <a:r>
              <a:rPr lang="en-US" sz="500" dirty="0">
                <a:gradFill>
                  <a:gsLst>
                    <a:gs pos="0">
                      <a:schemeClr val="tx1"/>
                    </a:gs>
                    <a:gs pos="100000">
                      <a:schemeClr val="tx1"/>
                    </a:gs>
                  </a:gsLst>
                  <a:lin ang="5400000" scaled="0"/>
                </a:gradFill>
                <a:latin typeface="Segoe UI" pitchFamily="34" charset="0"/>
                <a:ea typeface="Segoe UI" pitchFamily="34" charset="0"/>
                <a:cs typeface="Segoe UI" pitchFamily="34" charset="0"/>
              </a:rPr>
              <a:t>Microsoft must respond to changing market conditions, it should not be interpreted to be a commitment on the </a:t>
            </a:r>
            <a:r>
              <a:rPr lang="en-US" sz="5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part </a:t>
            </a:r>
            <a:r>
              <a:rPr lang="en-US" sz="500" dirty="0">
                <a:gradFill>
                  <a:gsLst>
                    <a:gs pos="0">
                      <a:schemeClr val="tx1"/>
                    </a:gs>
                    <a:gs pos="100000">
                      <a:schemeClr val="tx1"/>
                    </a:gs>
                  </a:gsLst>
                  <a:lin ang="5400000" scaled="0"/>
                </a:gradFill>
                <a:latin typeface="Segoe UI" pitchFamily="34" charset="0"/>
                <a:ea typeface="Segoe UI" pitchFamily="34" charset="0"/>
                <a:cs typeface="Segoe UI" pitchFamily="34" charset="0"/>
              </a:rPr>
              <a:t>of Microsoft, and Microsoft cannot guarantee the accuracy of any information provided after the date of this </a:t>
            </a:r>
            <a:r>
              <a:rPr lang="en-US" sz="5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presentation. MICROSOFT </a:t>
            </a:r>
            <a:r>
              <a:rPr lang="en-US" sz="500" dirty="0">
                <a:gradFill>
                  <a:gsLst>
                    <a:gs pos="0">
                      <a:schemeClr val="tx1"/>
                    </a:gs>
                    <a:gs pos="100000">
                      <a:schemeClr val="tx1"/>
                    </a:gs>
                  </a:gsLst>
                  <a:lin ang="5400000" scaled="0"/>
                </a:gradFill>
                <a:latin typeface="Segoe UI" pitchFamily="34" charset="0"/>
                <a:ea typeface="Segoe UI" pitchFamily="34" charset="0"/>
                <a:cs typeface="Segoe UI" pitchFamily="34" charset="0"/>
              </a:rPr>
              <a:t>MAKES NO WARRANTIES, EXPRESS, IMPLIED OR STATUTORY, AS TO THE INFORMATION IN THIS PRESENTATION</a:t>
            </a:r>
            <a:r>
              <a:rPr lang="en-US" sz="5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a:t>
            </a:r>
            <a:endParaRPr lang="en-US" sz="5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t>‹#›</a:t>
            </a:fld>
            <a:endParaRPr lang="en-US" dirty="0"/>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Slide Image Placeholder 8"/>
          <p:cNvSpPr>
            <a:spLocks noGrp="1" noRot="1" noChangeAspect="1"/>
          </p:cNvSpPr>
          <p:nvPr>
            <p:ph type="sldImg" idx="2"/>
          </p:nvPr>
        </p:nvSpPr>
        <p:spPr>
          <a:xfrm>
            <a:off x="382588" y="685800"/>
            <a:ext cx="6092825"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D51B1278-D92B-4AF3-A9C1-71DD298190CE}" type="datetimeFigureOut">
              <a:rPr lang="en-US" smtClean="0"/>
              <a:t>9/11/2014</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vl1pPr>
          </a:lstStyle>
          <a:p>
            <a:fld id="{B4008EB6-D09E-4580-8CD6-DDB14511944F}" type="slidenum">
              <a:rPr lang="en-US" smtClean="0"/>
              <a:t>‹#›</a:t>
            </a:fld>
            <a:endParaRPr lang="en-US" dirty="0"/>
          </a:p>
        </p:txBody>
      </p:sp>
      <p:sp>
        <p:nvSpPr>
          <p:cNvPr id="14" name="Header Placeholder 5"/>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smtClean="0"/>
              <a:t>Microsoft Office365</a:t>
            </a:r>
            <a:endParaRPr lang="en-US" dirty="0"/>
          </a:p>
        </p:txBody>
      </p:sp>
      <p:sp>
        <p:nvSpPr>
          <p:cNvPr id="15" name="Footer Placeholder 7"/>
          <p:cNvSpPr>
            <a:spLocks noGrp="1"/>
          </p:cNvSpPr>
          <p:nvPr>
            <p:ph type="ftr" sz="quarter" idx="4"/>
          </p:nvPr>
        </p:nvSpPr>
        <p:spPr>
          <a:xfrm>
            <a:off x="0" y="8685212"/>
            <a:ext cx="5795010" cy="366191"/>
          </a:xfrm>
          <a:prstGeom prst="rect">
            <a:avLst/>
          </a:prstGeom>
        </p:spPr>
        <p:txBody>
          <a:bodyPr vert="horz" lIns="0" tIns="45720" rIns="91440" bIns="45720" rtlCol="0" anchor="b"/>
          <a:lstStyle>
            <a:lvl1pPr algn="l">
              <a:defRPr sz="1200"/>
            </a:lvl1pPr>
          </a:lstStyle>
          <a:p>
            <a:pPr marL="231775" defTabSz="914099" eaLnBrk="0" hangingPunct="0"/>
            <a:r>
              <a:rPr lang="en-US" sz="500" dirty="0">
                <a:gradFill>
                  <a:gsLst>
                    <a:gs pos="0">
                      <a:schemeClr val="tx1"/>
                    </a:gs>
                    <a:gs pos="100000">
                      <a:schemeClr val="tx1"/>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231775" defTabSz="914099" eaLnBrk="0" hangingPunct="0"/>
            <a:r>
              <a:rPr lang="en-US" sz="500" dirty="0">
                <a:gradFill>
                  <a:gsLst>
                    <a:gs pos="0">
                      <a:schemeClr val="tx1"/>
                    </a:gs>
                    <a:gs pos="100000">
                      <a:schemeClr val="tx1"/>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a:t>
            </a:r>
            <a:r>
              <a:rPr lang="en-US" sz="5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presentation. Because </a:t>
            </a:r>
            <a:r>
              <a:rPr lang="en-US" sz="500" dirty="0">
                <a:gradFill>
                  <a:gsLst>
                    <a:gs pos="0">
                      <a:schemeClr val="tx1"/>
                    </a:gs>
                    <a:gs pos="100000">
                      <a:schemeClr val="tx1"/>
                    </a:gs>
                  </a:gsLst>
                  <a:lin ang="5400000" scaled="0"/>
                </a:gradFill>
                <a:latin typeface="Segoe UI" pitchFamily="34" charset="0"/>
                <a:ea typeface="Segoe UI" pitchFamily="34" charset="0"/>
                <a:cs typeface="Segoe UI" pitchFamily="34" charset="0"/>
              </a:rPr>
              <a:t>Microsoft must respond to changing market conditions, it should not be interpreted to be a commitment on the </a:t>
            </a:r>
            <a:r>
              <a:rPr lang="en-US" sz="5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part </a:t>
            </a:r>
            <a:r>
              <a:rPr lang="en-US" sz="500" dirty="0">
                <a:gradFill>
                  <a:gsLst>
                    <a:gs pos="0">
                      <a:schemeClr val="tx1"/>
                    </a:gs>
                    <a:gs pos="100000">
                      <a:schemeClr val="tx1"/>
                    </a:gs>
                  </a:gsLst>
                  <a:lin ang="5400000" scaled="0"/>
                </a:gradFill>
                <a:latin typeface="Segoe UI" pitchFamily="34" charset="0"/>
                <a:ea typeface="Segoe UI" pitchFamily="34" charset="0"/>
                <a:cs typeface="Segoe UI" pitchFamily="34" charset="0"/>
              </a:rPr>
              <a:t>of Microsoft, and Microsoft cannot guarantee the accuracy of any information provided after the date of this </a:t>
            </a:r>
            <a:r>
              <a:rPr lang="en-US" sz="5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presentation. MICROSOFT </a:t>
            </a:r>
            <a:r>
              <a:rPr lang="en-US" sz="500" dirty="0">
                <a:gradFill>
                  <a:gsLst>
                    <a:gs pos="0">
                      <a:schemeClr val="tx1"/>
                    </a:gs>
                    <a:gs pos="100000">
                      <a:schemeClr val="tx1"/>
                    </a:gs>
                  </a:gsLst>
                  <a:lin ang="5400000" scaled="0"/>
                </a:gradFill>
                <a:latin typeface="Segoe UI" pitchFamily="34" charset="0"/>
                <a:ea typeface="Segoe UI" pitchFamily="34" charset="0"/>
                <a:cs typeface="Segoe UI" pitchFamily="34" charset="0"/>
              </a:rPr>
              <a:t>MAKES NO WARRANTIES, EXPRESS, IMPLIED OR STATUTORY, AS TO THE INFORMATION IN THIS PRESENTATION</a:t>
            </a:r>
            <a:r>
              <a:rPr lang="en-US" sz="5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a:t>
            </a:r>
            <a:endParaRPr lang="en-US" sz="5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3" rtl="0" eaLnBrk="1" latinLnBrk="0" hangingPunct="1">
      <a:lnSpc>
        <a:spcPct val="90000"/>
      </a:lnSpc>
      <a:spcAft>
        <a:spcPts val="333"/>
      </a:spcAft>
      <a:defRPr sz="900" kern="1200">
        <a:solidFill>
          <a:schemeClr val="tx1"/>
        </a:solidFill>
        <a:latin typeface="Segoe UI Light" pitchFamily="34" charset="0"/>
        <a:ea typeface="+mn-ea"/>
        <a:cs typeface="+mn-cs"/>
      </a:defRPr>
    </a:lvl1pPr>
    <a:lvl2pPr marL="212981" indent="-105829" algn="l" defTabSz="914363"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2pPr>
    <a:lvl3pPr marL="328070"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3pPr>
    <a:lvl4pPr marL="482846" indent="-146838" algn="l" defTabSz="914363"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4pPr>
    <a:lvl5pPr marL="615132"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5pPr>
    <a:lvl6pPr marL="2285909" algn="l" defTabSz="914363" rtl="0" eaLnBrk="1" latinLnBrk="0" hangingPunct="1">
      <a:defRPr sz="1200" kern="1200">
        <a:solidFill>
          <a:schemeClr val="tx1"/>
        </a:solidFill>
        <a:latin typeface="+mn-lt"/>
        <a:ea typeface="+mn-ea"/>
        <a:cs typeface="+mn-cs"/>
      </a:defRPr>
    </a:lvl6pPr>
    <a:lvl7pPr marL="2743090" algn="l" defTabSz="914363" rtl="0" eaLnBrk="1" latinLnBrk="0" hangingPunct="1">
      <a:defRPr sz="1200" kern="1200">
        <a:solidFill>
          <a:schemeClr val="tx1"/>
        </a:solidFill>
        <a:latin typeface="+mn-lt"/>
        <a:ea typeface="+mn-ea"/>
        <a:cs typeface="+mn-cs"/>
      </a:defRPr>
    </a:lvl7pPr>
    <a:lvl8pPr marL="3200272" algn="l" defTabSz="914363" rtl="0" eaLnBrk="1" latinLnBrk="0" hangingPunct="1">
      <a:defRPr sz="1200" kern="1200">
        <a:solidFill>
          <a:schemeClr val="tx1"/>
        </a:solidFill>
        <a:latin typeface="+mn-lt"/>
        <a:ea typeface="+mn-ea"/>
        <a:cs typeface="+mn-cs"/>
      </a:defRPr>
    </a:lvl8pPr>
    <a:lvl9pPr marL="3657454" algn="l" defTabSz="91436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www.microsoftofficedemos.com/" TargetMode="External"/><Relationship Id="rId2" Type="http://schemas.openxmlformats.org/officeDocument/2006/relationships/slide" Target="../slides/slide17.xml"/><Relationship Id="rId1" Type="http://schemas.openxmlformats.org/officeDocument/2006/relationships/notesMaster" Target="../notesMasters/notesMaster1.xml"/><Relationship Id="rId6" Type="http://schemas.openxmlformats.org/officeDocument/2006/relationships/hyperlink" Target="http://office.microsoft.com/en-us/support" TargetMode="External"/><Relationship Id="rId5" Type="http://schemas.openxmlformats.org/officeDocument/2006/relationships/hyperlink" Target="http://www.microsoft.com/en-us/office365/customer-stories.aspx" TargetMode="External"/><Relationship Id="rId4" Type="http://schemas.openxmlformats.org/officeDocument/2006/relationships/hyperlink" Target="http://www.youtube.com/user/MicrosoftOffice365" TargetMode="Externa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1" kern="1200" dirty="0" smtClean="0">
                <a:solidFill>
                  <a:schemeClr val="tx1"/>
                </a:solidFill>
                <a:effectLst/>
                <a:latin typeface="Segoe UI" pitchFamily="34" charset="0"/>
                <a:ea typeface="+mn-ea"/>
                <a:cs typeface="+mn-cs"/>
              </a:rPr>
              <a:t>Slide purpose:</a:t>
            </a:r>
            <a:r>
              <a:rPr lang="en-US" sz="1100" kern="1200" dirty="0" smtClean="0">
                <a:solidFill>
                  <a:schemeClr val="tx1"/>
                </a:solidFill>
                <a:effectLst/>
                <a:latin typeface="Segoe UI" pitchFamily="34" charset="0"/>
                <a:ea typeface="+mn-ea"/>
                <a:cs typeface="+mn-cs"/>
              </a:rPr>
              <a:t> Use this slide to welcome your guests and to set their expectations for the presentation. </a:t>
            </a:r>
          </a:p>
          <a:p>
            <a:endParaRPr lang="en-US" sz="1100" b="0" i="0" kern="1200" dirty="0" smtClean="0">
              <a:solidFill>
                <a:schemeClr val="tx1"/>
              </a:solidFill>
              <a:effectLst/>
              <a:latin typeface="Segoe UI" pitchFamily="34" charset="0"/>
              <a:ea typeface="+mn-ea"/>
              <a:cs typeface="+mn-cs"/>
            </a:endParaRPr>
          </a:p>
          <a:p>
            <a:r>
              <a:rPr lang="en-US" sz="1100" b="1" kern="1200" dirty="0" smtClean="0">
                <a:solidFill>
                  <a:schemeClr val="tx1"/>
                </a:solidFill>
                <a:effectLst/>
                <a:latin typeface="Segoe UI" pitchFamily="34" charset="0"/>
                <a:ea typeface="+mn-ea"/>
                <a:cs typeface="+mn-cs"/>
              </a:rPr>
              <a:t>Presentation purpose:</a:t>
            </a:r>
            <a:r>
              <a:rPr lang="en-US" sz="1100" b="1" kern="1200" baseline="0" dirty="0" smtClean="0">
                <a:solidFill>
                  <a:schemeClr val="tx1"/>
                </a:solidFill>
                <a:effectLst/>
                <a:latin typeface="Segoe UI" pitchFamily="34" charset="0"/>
                <a:ea typeface="+mn-ea"/>
                <a:cs typeface="+mn-cs"/>
              </a:rPr>
              <a:t> </a:t>
            </a:r>
            <a:r>
              <a:rPr lang="en-US" sz="1100" kern="1200" dirty="0" smtClean="0">
                <a:solidFill>
                  <a:schemeClr val="tx1"/>
                </a:solidFill>
                <a:effectLst/>
                <a:latin typeface="Segoe UI" pitchFamily="34" charset="0"/>
                <a:ea typeface="+mn-ea"/>
                <a:cs typeface="+mn-cs"/>
              </a:rPr>
              <a:t>This presentation is designed to help you introduce the new Office 365</a:t>
            </a:r>
            <a:r>
              <a:rPr lang="en-US" sz="1100" kern="1200" baseline="0" dirty="0" smtClean="0">
                <a:solidFill>
                  <a:schemeClr val="tx1"/>
                </a:solidFill>
                <a:effectLst/>
                <a:latin typeface="Segoe UI" pitchFamily="34" charset="0"/>
                <a:ea typeface="+mn-ea"/>
                <a:cs typeface="+mn-cs"/>
              </a:rPr>
              <a:t> Business </a:t>
            </a:r>
            <a:r>
              <a:rPr lang="en-US" sz="1100" kern="1200" dirty="0" smtClean="0">
                <a:solidFill>
                  <a:schemeClr val="tx1"/>
                </a:solidFill>
                <a:effectLst/>
                <a:latin typeface="Segoe UI" pitchFamily="34" charset="0"/>
                <a:ea typeface="+mn-ea"/>
                <a:cs typeface="+mn-cs"/>
              </a:rPr>
              <a:t>to small </a:t>
            </a:r>
            <a:r>
              <a:rPr lang="en-US" sz="1100" kern="1200" baseline="0" dirty="0" smtClean="0">
                <a:solidFill>
                  <a:schemeClr val="tx1"/>
                </a:solidFill>
                <a:effectLst/>
                <a:latin typeface="Segoe UI" pitchFamily="34" charset="0"/>
                <a:ea typeface="+mn-ea"/>
                <a:cs typeface="+mn-cs"/>
              </a:rPr>
              <a:t>businesses (~1-10 users). This is a SKU-specific deck so it starts with business pains, then goes into how Office 365 can solve those pains, and then goes into the new Business SKU.</a:t>
            </a:r>
          </a:p>
        </p:txBody>
      </p:sp>
      <p:sp>
        <p:nvSpPr>
          <p:cNvPr id="4" name="Date Placeholder 3"/>
          <p:cNvSpPr>
            <a:spLocks noGrp="1"/>
          </p:cNvSpPr>
          <p:nvPr>
            <p:ph type="dt" idx="10"/>
          </p:nvPr>
        </p:nvSpPr>
        <p:spPr/>
        <p:txBody>
          <a:bodyPr/>
          <a:lstStyle/>
          <a:p>
            <a:fld id="{2559DD29-F3E5-4EFD-8B4E-23B968D73D48}" type="datetime1">
              <a:rPr lang="en-US" smtClean="0"/>
              <a:t>9/11/2014</a:t>
            </a:fld>
            <a:endParaRPr lang="en-US" dirty="0"/>
          </a:p>
        </p:txBody>
      </p:sp>
      <p:sp>
        <p:nvSpPr>
          <p:cNvPr id="5" name="Slide Number Placeholder 4"/>
          <p:cNvSpPr>
            <a:spLocks noGrp="1"/>
          </p:cNvSpPr>
          <p:nvPr>
            <p:ph type="sldNum" sz="quarter" idx="11"/>
          </p:nvPr>
        </p:nvSpPr>
        <p:spPr/>
        <p:txBody>
          <a:bodyPr/>
          <a:lstStyle/>
          <a:p>
            <a:fld id="{B4008EB6-D09E-4580-8CD6-DDB14511944F}" type="slidenum">
              <a:rPr lang="en-US" smtClean="0"/>
              <a:t>1</a:t>
            </a:fld>
            <a:endParaRPr lang="en-US" dirty="0"/>
          </a:p>
        </p:txBody>
      </p:sp>
      <p:sp>
        <p:nvSpPr>
          <p:cNvPr id="6" name="Header Placeholder 5"/>
          <p:cNvSpPr>
            <a:spLocks noGrp="1"/>
          </p:cNvSpPr>
          <p:nvPr>
            <p:ph type="hdr" sz="quarter" idx="12"/>
          </p:nvPr>
        </p:nvSpPr>
        <p:spPr/>
        <p:txBody>
          <a:bodyPr/>
          <a:lstStyle/>
          <a:p>
            <a:r>
              <a:rPr lang="en-US" smtClean="0"/>
              <a:t>Microsoft Office365</a:t>
            </a:r>
            <a:endParaRPr lang="en-US" dirty="0"/>
          </a:p>
        </p:txBody>
      </p:sp>
      <p:sp>
        <p:nvSpPr>
          <p:cNvPr id="7" name="Footer Placeholder 6"/>
          <p:cNvSpPr>
            <a:spLocks noGrp="1"/>
          </p:cNvSpPr>
          <p:nvPr>
            <p:ph type="ftr" sz="quarter" idx="13"/>
          </p:nvPr>
        </p:nvSpPr>
        <p:spPr/>
        <p:txBody>
          <a:bodyPr/>
          <a:lstStyle/>
          <a:p>
            <a:pPr marL="231775" defTabSz="914099" eaLnBrk="0" hangingPunct="0"/>
            <a:r>
              <a:rPr lang="en-US" sz="500" smtClean="0">
                <a:gradFill>
                  <a:gsLst>
                    <a:gs pos="0">
                      <a:schemeClr val="tx1"/>
                    </a:gs>
                    <a:gs pos="100000">
                      <a:schemeClr val="tx1"/>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231775" defTabSz="914099" eaLnBrk="0" hangingPunct="0"/>
            <a:r>
              <a:rPr lang="en-US" sz="500" smtClean="0">
                <a:gradFill>
                  <a:gsLst>
                    <a:gs pos="0">
                      <a:schemeClr val="tx1"/>
                    </a:gs>
                    <a:gs pos="100000">
                      <a:schemeClr val="tx1"/>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5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53214529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63" rtl="0" eaLnBrk="1" fontAlgn="auto" latinLnBrk="0" hangingPunct="1">
              <a:lnSpc>
                <a:spcPct val="90000"/>
              </a:lnSpc>
              <a:spcBef>
                <a:spcPts val="0"/>
              </a:spcBef>
              <a:spcAft>
                <a:spcPts val="333"/>
              </a:spcAft>
              <a:buClrTx/>
              <a:buSzTx/>
              <a:buFontTx/>
              <a:buNone/>
              <a:tabLst/>
              <a:defRPr/>
            </a:pPr>
            <a:r>
              <a:rPr lang="en-US" sz="900" kern="1200" dirty="0" smtClean="0">
                <a:solidFill>
                  <a:schemeClr val="tx1"/>
                </a:solidFill>
                <a:effectLst/>
                <a:latin typeface="Segoe UI Light" pitchFamily="34" charset="0"/>
                <a:ea typeface="+mn-ea"/>
                <a:cs typeface="+mn-cs"/>
              </a:rPr>
              <a:t>Get the familiar, installable Office on your laptop or PC along with the best-in class Office tools on all your devices. With features automatically updated to all your Office apps, you’ll have access to latest version of the Office features you need while using the same apps you rely on every day.</a:t>
            </a:r>
          </a:p>
          <a:p>
            <a:pPr marL="0" marR="0" indent="0" algn="l" defTabSz="914363" rtl="0" eaLnBrk="1" fontAlgn="auto" latinLnBrk="0" hangingPunct="1">
              <a:lnSpc>
                <a:spcPct val="90000"/>
              </a:lnSpc>
              <a:spcBef>
                <a:spcPts val="0"/>
              </a:spcBef>
              <a:spcAft>
                <a:spcPts val="333"/>
              </a:spcAft>
              <a:buClrTx/>
              <a:buSzTx/>
              <a:buFontTx/>
              <a:buNone/>
              <a:tabLst/>
              <a:defRPr/>
            </a:pPr>
            <a:endParaRPr lang="en-US" sz="900" kern="1200" dirty="0" smtClean="0">
              <a:solidFill>
                <a:schemeClr val="tx1"/>
              </a:solidFill>
              <a:effectLst/>
              <a:latin typeface="Segoe UI Light" pitchFamily="34" charset="0"/>
              <a:ea typeface="+mn-ea"/>
              <a:cs typeface="+mn-cs"/>
            </a:endParaRPr>
          </a:p>
          <a:p>
            <a:pPr marL="0" marR="0" indent="0" algn="l" defTabSz="914363" rtl="0" eaLnBrk="1" fontAlgn="auto" latinLnBrk="0" hangingPunct="1">
              <a:lnSpc>
                <a:spcPct val="90000"/>
              </a:lnSpc>
              <a:spcBef>
                <a:spcPts val="0"/>
              </a:spcBef>
              <a:spcAft>
                <a:spcPts val="333"/>
              </a:spcAft>
              <a:buClrTx/>
              <a:buSzTx/>
              <a:buFontTx/>
              <a:buNone/>
              <a:tabLst/>
              <a:defRPr/>
            </a:pPr>
            <a:r>
              <a:rPr lang="en-US" sz="900" kern="1200" dirty="0" smtClean="0">
                <a:solidFill>
                  <a:schemeClr val="tx1"/>
                </a:solidFill>
                <a:effectLst/>
                <a:latin typeface="Segoe UI Light" pitchFamily="34" charset="0"/>
                <a:ea typeface="+mn-ea"/>
                <a:cs typeface="+mn-cs"/>
              </a:rPr>
              <a:t>Of course, Office still comes with the best features and tools to get work done</a:t>
            </a:r>
            <a:r>
              <a:rPr lang="en-US" sz="900" kern="1200" baseline="0" dirty="0" smtClean="0">
                <a:solidFill>
                  <a:schemeClr val="tx1"/>
                </a:solidFill>
                <a:effectLst/>
                <a:latin typeface="Segoe UI Light" pitchFamily="34" charset="0"/>
                <a:ea typeface="+mn-ea"/>
                <a:cs typeface="+mn-cs"/>
              </a:rPr>
              <a:t>. </a:t>
            </a:r>
            <a:endParaRPr lang="en-US" sz="900" kern="1200" dirty="0" smtClean="0">
              <a:solidFill>
                <a:schemeClr val="tx1"/>
              </a:solidFill>
              <a:effectLst/>
              <a:latin typeface="Segoe UI Light" pitchFamily="34" charset="0"/>
              <a:ea typeface="+mn-ea"/>
              <a:cs typeface="+mn-cs"/>
            </a:endParaRPr>
          </a:p>
          <a:p>
            <a:endParaRPr lang="en-US" dirty="0"/>
          </a:p>
        </p:txBody>
      </p:sp>
      <p:sp>
        <p:nvSpPr>
          <p:cNvPr id="4" name="Date Placeholder 3"/>
          <p:cNvSpPr>
            <a:spLocks noGrp="1"/>
          </p:cNvSpPr>
          <p:nvPr>
            <p:ph type="dt" idx="10"/>
          </p:nvPr>
        </p:nvSpPr>
        <p:spPr/>
        <p:txBody>
          <a:bodyPr/>
          <a:lstStyle/>
          <a:p>
            <a:fld id="{CA8B5B0B-7951-45E3-97C5-E6D8433B6956}" type="datetime1">
              <a:rPr lang="en-US" smtClean="0"/>
              <a:t>9/11/2014</a:t>
            </a:fld>
            <a:endParaRPr lang="en-US" dirty="0"/>
          </a:p>
        </p:txBody>
      </p:sp>
      <p:sp>
        <p:nvSpPr>
          <p:cNvPr id="5" name="Slide Number Placeholder 4"/>
          <p:cNvSpPr>
            <a:spLocks noGrp="1"/>
          </p:cNvSpPr>
          <p:nvPr>
            <p:ph type="sldNum" sz="quarter" idx="11"/>
          </p:nvPr>
        </p:nvSpPr>
        <p:spPr/>
        <p:txBody>
          <a:bodyPr/>
          <a:lstStyle/>
          <a:p>
            <a:fld id="{B4008EB6-D09E-4580-8CD6-DDB14511944F}" type="slidenum">
              <a:rPr lang="en-US" smtClean="0"/>
              <a:t>10</a:t>
            </a:fld>
            <a:endParaRPr lang="en-US" dirty="0"/>
          </a:p>
        </p:txBody>
      </p:sp>
      <p:sp>
        <p:nvSpPr>
          <p:cNvPr id="6" name="Header Placeholder 5"/>
          <p:cNvSpPr>
            <a:spLocks noGrp="1"/>
          </p:cNvSpPr>
          <p:nvPr>
            <p:ph type="hdr" sz="quarter" idx="12"/>
          </p:nvPr>
        </p:nvSpPr>
        <p:spPr/>
        <p:txBody>
          <a:bodyPr/>
          <a:lstStyle/>
          <a:p>
            <a:r>
              <a:rPr lang="en-US" dirty="0" smtClean="0"/>
              <a:t>Microsoft Office365</a:t>
            </a:r>
            <a:endParaRPr lang="en-US" dirty="0"/>
          </a:p>
        </p:txBody>
      </p:sp>
      <p:sp>
        <p:nvSpPr>
          <p:cNvPr id="7" name="Footer Placeholder 6"/>
          <p:cNvSpPr>
            <a:spLocks noGrp="1"/>
          </p:cNvSpPr>
          <p:nvPr>
            <p:ph type="ftr" sz="quarter" idx="13"/>
          </p:nvPr>
        </p:nvSpPr>
        <p:spPr/>
        <p:txBody>
          <a:bodyPr/>
          <a:lstStyle/>
          <a:p>
            <a:pPr marL="231775" defTabSz="914099" eaLnBrk="0" hangingPunct="0"/>
            <a:r>
              <a:rPr lang="en-US" sz="5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231775" defTabSz="914099" eaLnBrk="0" hangingPunct="0"/>
            <a:r>
              <a:rPr lang="en-US" sz="5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5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421598608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14363" rtl="0" eaLnBrk="1" fontAlgn="auto" latinLnBrk="0" hangingPunct="1">
              <a:lnSpc>
                <a:spcPct val="90000"/>
              </a:lnSpc>
              <a:spcBef>
                <a:spcPts val="0"/>
              </a:spcBef>
              <a:spcAft>
                <a:spcPts val="333"/>
              </a:spcAft>
              <a:buClrTx/>
              <a:buSzTx/>
              <a:buFontTx/>
              <a:buNone/>
              <a:tabLst/>
              <a:defRPr/>
            </a:pPr>
            <a:r>
              <a:rPr lang="en-US" sz="1100" kern="1200" dirty="0" smtClean="0">
                <a:solidFill>
                  <a:schemeClr val="tx1"/>
                </a:solidFill>
                <a:effectLst/>
                <a:latin typeface="Segoe UI" pitchFamily="34" charset="0"/>
                <a:ea typeface="+mn-ea"/>
                <a:cs typeface="+mn-cs"/>
              </a:rPr>
              <a:t>Office</a:t>
            </a:r>
            <a:r>
              <a:rPr lang="en-US" sz="1100" kern="1200" baseline="0" dirty="0" smtClean="0">
                <a:solidFill>
                  <a:schemeClr val="tx1"/>
                </a:solidFill>
                <a:effectLst/>
                <a:latin typeface="Segoe UI" pitchFamily="34" charset="0"/>
                <a:ea typeface="+mn-ea"/>
                <a:cs typeface="+mn-cs"/>
              </a:rPr>
              <a:t> is the common language in business for years – you can now subscribe to Office and always get to use the latest version of the best-in class business productivity software. </a:t>
            </a:r>
          </a:p>
        </p:txBody>
      </p:sp>
      <p:sp>
        <p:nvSpPr>
          <p:cNvPr id="4" name="Date Placeholder 3"/>
          <p:cNvSpPr>
            <a:spLocks noGrp="1"/>
          </p:cNvSpPr>
          <p:nvPr>
            <p:ph type="dt" idx="10"/>
          </p:nvPr>
        </p:nvSpPr>
        <p:spPr/>
        <p:txBody>
          <a:bodyPr/>
          <a:lstStyle/>
          <a:p>
            <a:fld id="{98849D37-3F52-4E67-BD40-1442574DBCC2}" type="datetime1">
              <a:rPr lang="en-US" smtClean="0"/>
              <a:t>9/11/2014</a:t>
            </a:fld>
            <a:endParaRPr lang="en-US" dirty="0"/>
          </a:p>
        </p:txBody>
      </p:sp>
      <p:sp>
        <p:nvSpPr>
          <p:cNvPr id="5" name="Slide Number Placeholder 4"/>
          <p:cNvSpPr>
            <a:spLocks noGrp="1"/>
          </p:cNvSpPr>
          <p:nvPr>
            <p:ph type="sldNum" sz="quarter" idx="11"/>
          </p:nvPr>
        </p:nvSpPr>
        <p:spPr/>
        <p:txBody>
          <a:bodyPr/>
          <a:lstStyle/>
          <a:p>
            <a:fld id="{B4008EB6-D09E-4580-8CD6-DDB14511944F}" type="slidenum">
              <a:rPr lang="en-US" smtClean="0"/>
              <a:t>11</a:t>
            </a:fld>
            <a:endParaRPr lang="en-US" dirty="0"/>
          </a:p>
        </p:txBody>
      </p:sp>
      <p:sp>
        <p:nvSpPr>
          <p:cNvPr id="6" name="Header Placeholder 5"/>
          <p:cNvSpPr>
            <a:spLocks noGrp="1"/>
          </p:cNvSpPr>
          <p:nvPr>
            <p:ph type="hdr" sz="quarter" idx="12"/>
          </p:nvPr>
        </p:nvSpPr>
        <p:spPr/>
        <p:txBody>
          <a:bodyPr/>
          <a:lstStyle/>
          <a:p>
            <a:r>
              <a:rPr lang="en-US" dirty="0" smtClean="0"/>
              <a:t>Microsoft Office365</a:t>
            </a:r>
            <a:endParaRPr lang="en-US" dirty="0"/>
          </a:p>
        </p:txBody>
      </p:sp>
      <p:sp>
        <p:nvSpPr>
          <p:cNvPr id="7" name="Footer Placeholder 6"/>
          <p:cNvSpPr>
            <a:spLocks noGrp="1"/>
          </p:cNvSpPr>
          <p:nvPr>
            <p:ph type="ftr" sz="quarter" idx="13"/>
          </p:nvPr>
        </p:nvSpPr>
        <p:spPr/>
        <p:txBody>
          <a:bodyPr/>
          <a:lstStyle/>
          <a:p>
            <a:pPr marL="231775" defTabSz="914099" eaLnBrk="0" hangingPunct="0"/>
            <a:r>
              <a:rPr lang="en-US" sz="5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231775" defTabSz="914099" eaLnBrk="0" hangingPunct="0"/>
            <a:r>
              <a:rPr lang="en-US" sz="5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5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98511904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63" rtl="0" eaLnBrk="1" fontAlgn="auto" latinLnBrk="0" hangingPunct="1">
              <a:lnSpc>
                <a:spcPct val="90000"/>
              </a:lnSpc>
              <a:spcBef>
                <a:spcPts val="0"/>
              </a:spcBef>
              <a:spcAft>
                <a:spcPts val="333"/>
              </a:spcAft>
              <a:buClrTx/>
              <a:buSzTx/>
              <a:buFontTx/>
              <a:buNone/>
              <a:tabLst/>
              <a:defRPr/>
            </a:pPr>
            <a:r>
              <a:rPr lang="en-US" sz="900" kern="1200" dirty="0" smtClean="0">
                <a:solidFill>
                  <a:schemeClr val="tx1"/>
                </a:solidFill>
                <a:effectLst/>
                <a:latin typeface="Segoe UI Light" pitchFamily="34" charset="0"/>
                <a:ea typeface="+mn-ea"/>
                <a:cs typeface="+mn-cs"/>
              </a:rPr>
              <a:t>With Office 365 Business, you’ll never have to ‘upgrade’ your</a:t>
            </a:r>
            <a:r>
              <a:rPr lang="en-US" sz="900" kern="1200" baseline="0" dirty="0" smtClean="0">
                <a:solidFill>
                  <a:schemeClr val="tx1"/>
                </a:solidFill>
                <a:effectLst/>
                <a:latin typeface="Segoe UI Light" pitchFamily="34" charset="0"/>
                <a:ea typeface="+mn-ea"/>
                <a:cs typeface="+mn-cs"/>
              </a:rPr>
              <a:t> Office apps</a:t>
            </a:r>
            <a:r>
              <a:rPr lang="en-US" sz="900" kern="1200" dirty="0" smtClean="0">
                <a:solidFill>
                  <a:schemeClr val="tx1"/>
                </a:solidFill>
                <a:effectLst/>
                <a:latin typeface="Segoe UI Light" pitchFamily="34" charset="0"/>
                <a:ea typeface="+mn-ea"/>
                <a:cs typeface="+mn-cs"/>
              </a:rPr>
              <a:t> again. Office 365 keep you up to date with new features and tools so you can always deliver your best work.</a:t>
            </a:r>
            <a:r>
              <a:rPr lang="en-US" sz="900" kern="1200" baseline="0" dirty="0" smtClean="0">
                <a:solidFill>
                  <a:schemeClr val="tx1"/>
                </a:solidFill>
                <a:effectLst/>
                <a:latin typeface="Segoe UI Light" pitchFamily="34" charset="0"/>
                <a:ea typeface="+mn-ea"/>
                <a:cs typeface="+mn-cs"/>
              </a:rPr>
              <a:t> </a:t>
            </a:r>
            <a:r>
              <a:rPr lang="en-US" sz="900" b="0" i="0" u="none" strike="noStrike" kern="1200" baseline="0" dirty="0" smtClean="0">
                <a:solidFill>
                  <a:schemeClr val="tx1"/>
                </a:solidFill>
                <a:latin typeface="Segoe UI Light" pitchFamily="34" charset="0"/>
                <a:ea typeface="+mn-ea"/>
                <a:cs typeface="+mn-cs"/>
              </a:rPr>
              <a:t>And because the latest innovation, features, and capabilities are updated to your Office apps every month, you’ll always have the most up to date software while making software updates and downtime a thing of the past. You’ll have more time to focus on your business  and not IT </a:t>
            </a:r>
            <a:r>
              <a:rPr lang="en-US" dirty="0" smtClean="0">
                <a:ea typeface="Segoe UI" pitchFamily="34" charset="0"/>
                <a:cs typeface="Segoe UI" pitchFamily="34" charset="0"/>
              </a:rPr>
              <a:t>with easy-to-use services that keep your</a:t>
            </a:r>
            <a:r>
              <a:rPr lang="en-US" baseline="0" dirty="0" smtClean="0">
                <a:ea typeface="Segoe UI" pitchFamily="34" charset="0"/>
                <a:cs typeface="Segoe UI" pitchFamily="34" charset="0"/>
              </a:rPr>
              <a:t> d</a:t>
            </a:r>
            <a:r>
              <a:rPr lang="en-US" dirty="0" smtClean="0">
                <a:ea typeface="Segoe UI" pitchFamily="34" charset="0"/>
                <a:cs typeface="Segoe UI" pitchFamily="34" charset="0"/>
              </a:rPr>
              <a:t>ata secure and available</a:t>
            </a:r>
          </a:p>
          <a:p>
            <a:pPr lvl="0"/>
            <a:endParaRPr lang="en-US" sz="900" kern="1200" dirty="0" smtClean="0">
              <a:solidFill>
                <a:schemeClr val="tx1"/>
              </a:solidFill>
              <a:effectLst/>
              <a:latin typeface="Segoe UI Light" pitchFamily="34" charset="0"/>
              <a:ea typeface="+mn-ea"/>
              <a:cs typeface="+mn-cs"/>
            </a:endParaRPr>
          </a:p>
          <a:p>
            <a:pPr rtl="0"/>
            <a:endParaRPr lang="en-US" sz="900" b="1" i="0" u="none" strike="noStrike" kern="1200" baseline="0" dirty="0" smtClean="0">
              <a:solidFill>
                <a:schemeClr val="tx1"/>
              </a:solidFill>
              <a:latin typeface="Segoe UI Light" pitchFamily="34" charset="0"/>
              <a:ea typeface="+mn-ea"/>
              <a:cs typeface="+mn-cs"/>
            </a:endParaRPr>
          </a:p>
          <a:p>
            <a:endParaRPr lang="en-US" b="1" dirty="0" smtClean="0">
              <a:latin typeface="Arial" pitchFamily="34" charset="0"/>
              <a:cs typeface="Arial" pitchFamily="34" charset="0"/>
            </a:endParaRPr>
          </a:p>
          <a:p>
            <a:endParaRPr lang="en-US" b="1" dirty="0" smtClean="0">
              <a:latin typeface="Arial" pitchFamily="34" charset="0"/>
              <a:cs typeface="Arial" pitchFamily="34" charset="0"/>
            </a:endParaRPr>
          </a:p>
          <a:p>
            <a:endParaRPr lang="en-US" dirty="0" smtClean="0">
              <a:latin typeface="Arial" pitchFamily="34" charset="0"/>
              <a:cs typeface="Arial" pitchFamily="34" charset="0"/>
            </a:endParaRPr>
          </a:p>
        </p:txBody>
      </p:sp>
      <p:sp>
        <p:nvSpPr>
          <p:cNvPr id="4" name="Date Placeholder 3"/>
          <p:cNvSpPr>
            <a:spLocks noGrp="1"/>
          </p:cNvSpPr>
          <p:nvPr>
            <p:ph type="dt" idx="10"/>
          </p:nvPr>
        </p:nvSpPr>
        <p:spPr/>
        <p:txBody>
          <a:bodyPr/>
          <a:lstStyle/>
          <a:p>
            <a:fld id="{375EDFEC-0DF8-4D0C-BC56-D6F06C5A3714}" type="datetime1">
              <a:rPr lang="en-US" smtClean="0"/>
              <a:t>9/11/2014</a:t>
            </a:fld>
            <a:endParaRPr lang="en-US" dirty="0"/>
          </a:p>
        </p:txBody>
      </p:sp>
      <p:sp>
        <p:nvSpPr>
          <p:cNvPr id="5" name="Slide Number Placeholder 4"/>
          <p:cNvSpPr>
            <a:spLocks noGrp="1"/>
          </p:cNvSpPr>
          <p:nvPr>
            <p:ph type="sldNum" sz="quarter" idx="11"/>
          </p:nvPr>
        </p:nvSpPr>
        <p:spPr/>
        <p:txBody>
          <a:bodyPr/>
          <a:lstStyle/>
          <a:p>
            <a:fld id="{B4008EB6-D09E-4580-8CD6-DDB14511944F}" type="slidenum">
              <a:rPr lang="en-US" smtClean="0"/>
              <a:t>12</a:t>
            </a:fld>
            <a:endParaRPr lang="en-US" dirty="0"/>
          </a:p>
        </p:txBody>
      </p:sp>
      <p:sp>
        <p:nvSpPr>
          <p:cNvPr id="6" name="Header Placeholder 5"/>
          <p:cNvSpPr>
            <a:spLocks noGrp="1"/>
          </p:cNvSpPr>
          <p:nvPr>
            <p:ph type="hdr" sz="quarter" idx="12"/>
          </p:nvPr>
        </p:nvSpPr>
        <p:spPr/>
        <p:txBody>
          <a:bodyPr/>
          <a:lstStyle/>
          <a:p>
            <a:r>
              <a:rPr lang="en-US" dirty="0" smtClean="0"/>
              <a:t>Microsoft Office365</a:t>
            </a:r>
            <a:endParaRPr lang="en-US" dirty="0"/>
          </a:p>
        </p:txBody>
      </p:sp>
      <p:sp>
        <p:nvSpPr>
          <p:cNvPr id="7" name="Footer Placeholder 6"/>
          <p:cNvSpPr>
            <a:spLocks noGrp="1"/>
          </p:cNvSpPr>
          <p:nvPr>
            <p:ph type="ftr" sz="quarter" idx="13"/>
          </p:nvPr>
        </p:nvSpPr>
        <p:spPr/>
        <p:txBody>
          <a:bodyPr/>
          <a:lstStyle/>
          <a:p>
            <a:pPr marL="231775" defTabSz="914099" eaLnBrk="0" hangingPunct="0"/>
            <a:r>
              <a:rPr lang="en-US" sz="5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231775" defTabSz="914099" eaLnBrk="0" hangingPunct="0"/>
            <a:r>
              <a:rPr lang="en-US" sz="5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5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32378991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63" rtl="0" eaLnBrk="1" fontAlgn="auto" latinLnBrk="0" hangingPunct="1">
              <a:lnSpc>
                <a:spcPct val="90000"/>
              </a:lnSpc>
              <a:spcBef>
                <a:spcPts val="0"/>
              </a:spcBef>
              <a:spcAft>
                <a:spcPts val="333"/>
              </a:spcAft>
              <a:buClrTx/>
              <a:buSzTx/>
              <a:buFontTx/>
              <a:buNone/>
              <a:tabLst/>
              <a:defRPr/>
            </a:pPr>
            <a:r>
              <a:rPr lang="en-US" sz="900" dirty="0" smtClean="0">
                <a:solidFill>
                  <a:schemeClr val="bg1">
                    <a:lumMod val="50000"/>
                  </a:schemeClr>
                </a:solidFill>
              </a:rPr>
              <a:t>Today, you want to get work done from anywhere</a:t>
            </a:r>
            <a:r>
              <a:rPr lang="en-US" sz="900" baseline="0" dirty="0" smtClean="0">
                <a:solidFill>
                  <a:schemeClr val="bg1">
                    <a:lumMod val="50000"/>
                  </a:schemeClr>
                </a:solidFill>
              </a:rPr>
              <a:t> and have the ability to collaborate with others on your documents while keeping your files safe and secure. Let’s see how Office 365 let’s you do that with built-in sharing and storage…</a:t>
            </a:r>
            <a:endParaRPr lang="en-US" sz="900" dirty="0" smtClean="0">
              <a:solidFill>
                <a:schemeClr val="bg1">
                  <a:lumMod val="50000"/>
                </a:schemeClr>
              </a:solidFill>
            </a:endParaRPr>
          </a:p>
          <a:p>
            <a:pPr marL="0" marR="0" indent="0" algn="l" defTabSz="914363" rtl="0" eaLnBrk="1" fontAlgn="auto" latinLnBrk="0" hangingPunct="1">
              <a:lnSpc>
                <a:spcPct val="90000"/>
              </a:lnSpc>
              <a:spcBef>
                <a:spcPts val="0"/>
              </a:spcBef>
              <a:spcAft>
                <a:spcPts val="333"/>
              </a:spcAft>
              <a:buClrTx/>
              <a:buSzTx/>
              <a:buFontTx/>
              <a:buNone/>
              <a:tabLst/>
              <a:defRPr/>
            </a:pPr>
            <a:endParaRPr lang="en-US" sz="900" kern="1200" dirty="0" smtClean="0">
              <a:solidFill>
                <a:schemeClr val="bg1">
                  <a:lumMod val="50000"/>
                </a:schemeClr>
              </a:solidFill>
              <a:effectLst/>
              <a:latin typeface="Segoe UI Light" pitchFamily="34" charset="0"/>
              <a:ea typeface="+mn-ea"/>
              <a:cs typeface="+mn-cs"/>
            </a:endParaRPr>
          </a:p>
          <a:p>
            <a:pPr marL="0" marR="0" indent="0" algn="l" defTabSz="914363" rtl="0" eaLnBrk="1" fontAlgn="auto" latinLnBrk="0" hangingPunct="1">
              <a:lnSpc>
                <a:spcPct val="90000"/>
              </a:lnSpc>
              <a:spcBef>
                <a:spcPts val="0"/>
              </a:spcBef>
              <a:spcAft>
                <a:spcPts val="333"/>
              </a:spcAft>
              <a:buClrTx/>
              <a:buSzTx/>
              <a:buFontTx/>
              <a:buNone/>
              <a:tabLst/>
              <a:defRPr/>
            </a:pPr>
            <a:endParaRPr lang="en-US" sz="900" kern="1200" dirty="0" smtClean="0">
              <a:solidFill>
                <a:schemeClr val="bg1">
                  <a:lumMod val="50000"/>
                </a:schemeClr>
              </a:solidFill>
              <a:effectLst/>
              <a:latin typeface="Segoe UI Light" pitchFamily="34" charset="0"/>
              <a:ea typeface="+mn-ea"/>
              <a:cs typeface="+mn-cs"/>
            </a:endParaRPr>
          </a:p>
          <a:p>
            <a:pPr marL="0" marR="0" indent="0" algn="l" defTabSz="914363" rtl="0" eaLnBrk="1" fontAlgn="auto" latinLnBrk="0" hangingPunct="1">
              <a:lnSpc>
                <a:spcPct val="90000"/>
              </a:lnSpc>
              <a:spcBef>
                <a:spcPts val="0"/>
              </a:spcBef>
              <a:spcAft>
                <a:spcPts val="333"/>
              </a:spcAft>
              <a:buClrTx/>
              <a:buSzTx/>
              <a:buFontTx/>
              <a:buNone/>
              <a:tabLst/>
              <a:defRPr/>
            </a:pPr>
            <a:endParaRPr lang="en-US" sz="900" kern="1200" dirty="0" smtClean="0">
              <a:solidFill>
                <a:schemeClr val="bg1">
                  <a:lumMod val="50000"/>
                </a:schemeClr>
              </a:solidFill>
              <a:effectLst/>
              <a:latin typeface="Segoe UI Light" pitchFamily="34" charset="0"/>
              <a:ea typeface="+mn-ea"/>
              <a:cs typeface="+mn-cs"/>
            </a:endParaRPr>
          </a:p>
          <a:p>
            <a:pPr marL="0" marR="0" indent="0" algn="l" defTabSz="914363" rtl="0" eaLnBrk="1" fontAlgn="auto" latinLnBrk="0" hangingPunct="1">
              <a:lnSpc>
                <a:spcPct val="90000"/>
              </a:lnSpc>
              <a:spcBef>
                <a:spcPts val="0"/>
              </a:spcBef>
              <a:spcAft>
                <a:spcPts val="333"/>
              </a:spcAft>
              <a:buClrTx/>
              <a:buSzTx/>
              <a:buFontTx/>
              <a:buNone/>
              <a:tabLst/>
              <a:defRPr/>
            </a:pPr>
            <a:endParaRPr lang="en-US" sz="900" kern="1200" dirty="0" smtClean="0">
              <a:solidFill>
                <a:schemeClr val="tx1"/>
              </a:solidFill>
              <a:effectLst/>
              <a:latin typeface="Segoe UI Light" pitchFamily="34" charset="0"/>
              <a:ea typeface="+mn-ea"/>
              <a:cs typeface="+mn-cs"/>
            </a:endParaRPr>
          </a:p>
          <a:p>
            <a:pPr marL="0" marR="0" indent="0" algn="l" defTabSz="914363" rtl="0" eaLnBrk="1" fontAlgn="auto" latinLnBrk="0" hangingPunct="1">
              <a:lnSpc>
                <a:spcPct val="90000"/>
              </a:lnSpc>
              <a:spcBef>
                <a:spcPts val="0"/>
              </a:spcBef>
              <a:spcAft>
                <a:spcPts val="333"/>
              </a:spcAft>
              <a:buClrTx/>
              <a:buSzTx/>
              <a:buFontTx/>
              <a:buNone/>
              <a:tabLst/>
              <a:defRPr/>
            </a:pPr>
            <a:r>
              <a:rPr lang="en-US" sz="900" kern="1200" dirty="0" smtClean="0">
                <a:solidFill>
                  <a:schemeClr val="tx1"/>
                </a:solidFill>
                <a:effectLst/>
                <a:latin typeface="Segoe UI Light" pitchFamily="34" charset="0"/>
                <a:ea typeface="+mn-ea"/>
                <a:cs typeface="+mn-cs"/>
              </a:rPr>
              <a:t>.</a:t>
            </a:r>
          </a:p>
          <a:p>
            <a:endParaRPr lang="en-US" dirty="0"/>
          </a:p>
        </p:txBody>
      </p:sp>
      <p:sp>
        <p:nvSpPr>
          <p:cNvPr id="4" name="Date Placeholder 3"/>
          <p:cNvSpPr>
            <a:spLocks noGrp="1"/>
          </p:cNvSpPr>
          <p:nvPr>
            <p:ph type="dt" idx="10"/>
          </p:nvPr>
        </p:nvSpPr>
        <p:spPr/>
        <p:txBody>
          <a:bodyPr/>
          <a:lstStyle/>
          <a:p>
            <a:fld id="{693E4914-39E7-4B60-9B55-6416B2F99F4E}" type="datetime1">
              <a:rPr lang="en-US" smtClean="0"/>
              <a:t>9/11/2014</a:t>
            </a:fld>
            <a:endParaRPr lang="en-US" dirty="0"/>
          </a:p>
        </p:txBody>
      </p:sp>
      <p:sp>
        <p:nvSpPr>
          <p:cNvPr id="5" name="Slide Number Placeholder 4"/>
          <p:cNvSpPr>
            <a:spLocks noGrp="1"/>
          </p:cNvSpPr>
          <p:nvPr>
            <p:ph type="sldNum" sz="quarter" idx="11"/>
          </p:nvPr>
        </p:nvSpPr>
        <p:spPr/>
        <p:txBody>
          <a:bodyPr/>
          <a:lstStyle/>
          <a:p>
            <a:fld id="{B4008EB6-D09E-4580-8CD6-DDB14511944F}" type="slidenum">
              <a:rPr lang="en-US" smtClean="0"/>
              <a:t>13</a:t>
            </a:fld>
            <a:endParaRPr lang="en-US" dirty="0"/>
          </a:p>
        </p:txBody>
      </p:sp>
      <p:sp>
        <p:nvSpPr>
          <p:cNvPr id="6" name="Header Placeholder 5"/>
          <p:cNvSpPr>
            <a:spLocks noGrp="1"/>
          </p:cNvSpPr>
          <p:nvPr>
            <p:ph type="hdr" sz="quarter" idx="12"/>
          </p:nvPr>
        </p:nvSpPr>
        <p:spPr/>
        <p:txBody>
          <a:bodyPr/>
          <a:lstStyle/>
          <a:p>
            <a:r>
              <a:rPr lang="en-US" smtClean="0"/>
              <a:t>Microsoft Office365</a:t>
            </a:r>
            <a:endParaRPr lang="en-US" dirty="0"/>
          </a:p>
        </p:txBody>
      </p:sp>
      <p:sp>
        <p:nvSpPr>
          <p:cNvPr id="7" name="Footer Placeholder 6"/>
          <p:cNvSpPr>
            <a:spLocks noGrp="1"/>
          </p:cNvSpPr>
          <p:nvPr>
            <p:ph type="ftr" sz="quarter" idx="13"/>
          </p:nvPr>
        </p:nvSpPr>
        <p:spPr/>
        <p:txBody>
          <a:bodyPr/>
          <a:lstStyle/>
          <a:p>
            <a:pPr marL="231775" defTabSz="914099" eaLnBrk="0" hangingPunct="0"/>
            <a:r>
              <a:rPr lang="en-US" sz="500" smtClean="0">
                <a:gradFill>
                  <a:gsLst>
                    <a:gs pos="0">
                      <a:schemeClr val="tx1"/>
                    </a:gs>
                    <a:gs pos="100000">
                      <a:schemeClr val="tx1"/>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231775" defTabSz="914099" eaLnBrk="0" hangingPunct="0"/>
            <a:r>
              <a:rPr lang="en-US" sz="500" smtClean="0">
                <a:gradFill>
                  <a:gsLst>
                    <a:gs pos="0">
                      <a:schemeClr val="tx1"/>
                    </a:gs>
                    <a:gs pos="100000">
                      <a:schemeClr val="tx1"/>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5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54235916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smtClean="0">
                <a:solidFill>
                  <a:schemeClr val="tx1"/>
                </a:solidFill>
                <a:effectLst/>
                <a:latin typeface="Segoe UI Light" pitchFamily="34" charset="0"/>
                <a:ea typeface="+mn-ea"/>
                <a:cs typeface="+mn-cs"/>
              </a:rPr>
              <a:t>Office 365 Business gives you anywhere, anytime access to your work, helping you stay productive and in sync wherever the day takes you</a:t>
            </a:r>
            <a:r>
              <a:rPr lang="en-US" sz="900" kern="1200" baseline="0" dirty="0" smtClean="0">
                <a:solidFill>
                  <a:schemeClr val="tx1"/>
                </a:solidFill>
                <a:effectLst/>
                <a:latin typeface="Segoe UI Light" pitchFamily="34" charset="0"/>
                <a:ea typeface="+mn-ea"/>
                <a:cs typeface="+mn-cs"/>
              </a:rPr>
              <a:t> so you can work together on the same document with your co-workers or customers.</a:t>
            </a:r>
            <a:endParaRPr lang="en-US" dirty="0" smtClean="0"/>
          </a:p>
          <a:p>
            <a:endParaRPr lang="en-US" baseline="0" dirty="0" smtClean="0"/>
          </a:p>
          <a:p>
            <a:r>
              <a:rPr lang="en-US" baseline="0" dirty="0" smtClean="0"/>
              <a:t>Office Online, the browser based version of our Office applications, allow users to collaborate on a cloud-saved document using real-time co-authoring. This means everyone can contribute and edit documents simultaneously in the Word, PowerPoint, Excel and OneNote Online. Real-time presence helps you see where your co-authors are working in the document so that you don’t save need to save multiple version of the same copy or edit a document that is out of date. Additionally, the ability to see changes to text and formatting as they happen will help you and your co-authors stay on the same page as your ideas develop and evolve.</a:t>
            </a:r>
            <a:endParaRPr lang="en-US" dirty="0" smtClean="0"/>
          </a:p>
          <a:p>
            <a:endParaRPr lang="en-US" dirty="0" smtClean="0"/>
          </a:p>
          <a:p>
            <a:r>
              <a:rPr lang="en-US" b="1" dirty="0" smtClean="0"/>
              <a:t>Of course, users</a:t>
            </a:r>
            <a:r>
              <a:rPr lang="en-US" b="1" baseline="0" dirty="0" smtClean="0"/>
              <a:t> working in the </a:t>
            </a:r>
            <a:r>
              <a:rPr lang="en-US" b="1" dirty="0" smtClean="0"/>
              <a:t>Office desktop applications, or in Office for iPad, can collaborate too.</a:t>
            </a:r>
            <a:r>
              <a:rPr lang="en-US" b="1" baseline="0" dirty="0" smtClean="0"/>
              <a:t> </a:t>
            </a:r>
            <a:endParaRPr lang="en-US" b="1" dirty="0" smtClean="0"/>
          </a:p>
          <a:p>
            <a:endParaRPr lang="en-US" dirty="0"/>
          </a:p>
        </p:txBody>
      </p:sp>
      <p:sp>
        <p:nvSpPr>
          <p:cNvPr id="4" name="Date Placeholder 3"/>
          <p:cNvSpPr>
            <a:spLocks noGrp="1"/>
          </p:cNvSpPr>
          <p:nvPr>
            <p:ph type="dt" idx="10"/>
          </p:nvPr>
        </p:nvSpPr>
        <p:spPr/>
        <p:txBody>
          <a:bodyPr/>
          <a:lstStyle/>
          <a:p>
            <a:fld id="{8FDD7E22-9B7D-4E61-9C95-F21108944AC0}" type="datetime1">
              <a:rPr lang="en-US" smtClean="0">
                <a:solidFill>
                  <a:prstClr val="black"/>
                </a:solidFill>
              </a:rPr>
              <a:pPr/>
              <a:t>9/11/2014</a:t>
            </a:fld>
            <a:endParaRPr lang="en-US" dirty="0">
              <a:solidFill>
                <a:prstClr val="black"/>
              </a:solidFill>
            </a:endParaRPr>
          </a:p>
        </p:txBody>
      </p:sp>
      <p:sp>
        <p:nvSpPr>
          <p:cNvPr id="5" name="Slide Number Placeholder 4"/>
          <p:cNvSpPr>
            <a:spLocks noGrp="1"/>
          </p:cNvSpPr>
          <p:nvPr>
            <p:ph type="sldNum" sz="quarter" idx="11"/>
          </p:nvPr>
        </p:nvSpPr>
        <p:spPr/>
        <p:txBody>
          <a:bodyPr/>
          <a:lstStyle/>
          <a:p>
            <a:fld id="{B4008EB6-D09E-4580-8CD6-DDB14511944F}" type="slidenum">
              <a:rPr lang="en-US" smtClean="0">
                <a:solidFill>
                  <a:prstClr val="black"/>
                </a:solidFill>
              </a:rPr>
              <a:pPr/>
              <a:t>14</a:t>
            </a:fld>
            <a:endParaRPr lang="en-US" dirty="0">
              <a:solidFill>
                <a:prstClr val="black"/>
              </a:solidFill>
            </a:endParaRPr>
          </a:p>
        </p:txBody>
      </p:sp>
      <p:sp>
        <p:nvSpPr>
          <p:cNvPr id="6" name="Header Placeholder 5"/>
          <p:cNvSpPr>
            <a:spLocks noGrp="1"/>
          </p:cNvSpPr>
          <p:nvPr>
            <p:ph type="hdr" sz="quarter" idx="12"/>
          </p:nvPr>
        </p:nvSpPr>
        <p:spPr/>
        <p:txBody>
          <a:bodyPr/>
          <a:lstStyle/>
          <a:p>
            <a:r>
              <a:rPr lang="en-US" dirty="0" smtClean="0">
                <a:solidFill>
                  <a:prstClr val="black"/>
                </a:solidFill>
              </a:rPr>
              <a:t>Microsoft Lync</a:t>
            </a:r>
            <a:endParaRPr lang="en-US" dirty="0">
              <a:solidFill>
                <a:prstClr val="black"/>
              </a:solidFill>
            </a:endParaRPr>
          </a:p>
        </p:txBody>
      </p:sp>
      <p:sp>
        <p:nvSpPr>
          <p:cNvPr id="7" name="Footer Placeholder 6"/>
          <p:cNvSpPr>
            <a:spLocks noGrp="1"/>
          </p:cNvSpPr>
          <p:nvPr>
            <p:ph type="ftr" sz="quarter" idx="13"/>
          </p:nvPr>
        </p:nvSpPr>
        <p:spPr/>
        <p:txBody>
          <a:bodyPr/>
          <a:lstStyle/>
          <a:p>
            <a:pPr marL="231775" defTabSz="914099" eaLnBrk="0" hangingPunct="0"/>
            <a:r>
              <a:rPr lang="en-US" sz="5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231775" defTabSz="914099" eaLnBrk="0" hangingPunct="0"/>
            <a:r>
              <a:rPr lang="en-US" sz="5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5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36327445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63" rtl="0" eaLnBrk="1" fontAlgn="auto" latinLnBrk="0" hangingPunct="1">
              <a:lnSpc>
                <a:spcPct val="90000"/>
              </a:lnSpc>
              <a:spcBef>
                <a:spcPts val="0"/>
              </a:spcBef>
              <a:spcAft>
                <a:spcPts val="333"/>
              </a:spcAft>
              <a:buClrTx/>
              <a:buSzTx/>
              <a:buFontTx/>
              <a:buNone/>
              <a:tabLst/>
              <a:defRPr/>
            </a:pPr>
            <a:r>
              <a:rPr lang="en-US" dirty="0" smtClean="0"/>
              <a:t>There is no use</a:t>
            </a:r>
            <a:r>
              <a:rPr lang="en-US" baseline="0" dirty="0" smtClean="0"/>
              <a:t> for Office on all your devices if you can’t get to your documents.</a:t>
            </a:r>
            <a:r>
              <a:rPr lang="en-US" sz="900" b="0" i="0" u="none" strike="noStrike" kern="1200" baseline="0" dirty="0" smtClean="0">
                <a:solidFill>
                  <a:schemeClr val="tx1"/>
                </a:solidFill>
                <a:latin typeface="Segoe UI Light" pitchFamily="34" charset="0"/>
                <a:ea typeface="+mn-ea"/>
                <a:cs typeface="+mn-cs"/>
              </a:rPr>
              <a:t> Online or off, Office 365 helps you quickly and easily reach, edit, and manage your most important files from any device. As you work, Office 365 automatically updates or syncs when you go back online, so you can stay current and connected, in or out of the office. </a:t>
            </a:r>
          </a:p>
          <a:p>
            <a:endParaRPr lang="en-US" baseline="0" dirty="0" smtClean="0"/>
          </a:p>
          <a:p>
            <a:pPr marL="171450" marR="0" indent="-171450" algn="l" defTabSz="914363" rtl="0" eaLnBrk="1" fontAlgn="auto" latinLnBrk="0" hangingPunct="1">
              <a:lnSpc>
                <a:spcPct val="90000"/>
              </a:lnSpc>
              <a:spcBef>
                <a:spcPts val="0"/>
              </a:spcBef>
              <a:spcAft>
                <a:spcPts val="333"/>
              </a:spcAft>
              <a:buClrTx/>
              <a:buSzTx/>
              <a:buFontTx/>
              <a:buChar char="-"/>
              <a:tabLst/>
              <a:defRPr/>
            </a:pPr>
            <a:r>
              <a:rPr lang="en-US" baseline="0" dirty="0" smtClean="0"/>
              <a:t>With Office 365, you get 1TB of online storage so you can keep all your files secure in one central location online. And because everything is saved online, when you sign into Office 365 from any device or browser, you will always have the latest version of your documents follow you. </a:t>
            </a:r>
          </a:p>
          <a:p>
            <a:pPr marL="171450" indent="-171450">
              <a:buFontTx/>
              <a:buChar char="-"/>
            </a:pPr>
            <a:r>
              <a:rPr lang="en-US" baseline="0" dirty="0" smtClean="0"/>
              <a:t>Documents are saved online by default so they are automatically backed up and you don’t have to worry about losing your files</a:t>
            </a:r>
          </a:p>
          <a:p>
            <a:pPr marL="171450" indent="-171450">
              <a:buFontTx/>
              <a:buChar char="-"/>
            </a:pPr>
            <a:r>
              <a:rPr lang="en-US" baseline="0" dirty="0" smtClean="0"/>
              <a:t>When your documents are saved in the cloud, you can also sync these files to your laptop or mobile devices so you can still access and work on them when you are offline. It will automatically re-sync it back to the cloud when you have your connection back.</a:t>
            </a:r>
            <a:endParaRPr lang="en-US" sz="900" b="0" i="0" u="none" strike="noStrike" kern="1200" baseline="0" dirty="0" smtClean="0">
              <a:solidFill>
                <a:schemeClr val="tx1"/>
              </a:solidFill>
              <a:latin typeface="Segoe UI Light" pitchFamily="34" charset="0"/>
              <a:ea typeface="+mn-ea"/>
              <a:cs typeface="+mn-cs"/>
            </a:endParaRPr>
          </a:p>
          <a:p>
            <a:endParaRPr lang="en-US" dirty="0" smtClean="0"/>
          </a:p>
        </p:txBody>
      </p:sp>
      <p:sp>
        <p:nvSpPr>
          <p:cNvPr id="4" name="Date Placeholder 3"/>
          <p:cNvSpPr>
            <a:spLocks noGrp="1"/>
          </p:cNvSpPr>
          <p:nvPr>
            <p:ph type="dt" idx="10"/>
          </p:nvPr>
        </p:nvSpPr>
        <p:spPr/>
        <p:txBody>
          <a:bodyPr/>
          <a:lstStyle/>
          <a:p>
            <a:fld id="{0489103E-A71E-4F56-BF37-8E90E86AD4A2}" type="datetime1">
              <a:rPr lang="en-US" smtClean="0"/>
              <a:t>9/11/2014</a:t>
            </a:fld>
            <a:endParaRPr lang="en-US" dirty="0"/>
          </a:p>
        </p:txBody>
      </p:sp>
      <p:sp>
        <p:nvSpPr>
          <p:cNvPr id="5" name="Slide Number Placeholder 4"/>
          <p:cNvSpPr>
            <a:spLocks noGrp="1"/>
          </p:cNvSpPr>
          <p:nvPr>
            <p:ph type="sldNum" sz="quarter" idx="11"/>
          </p:nvPr>
        </p:nvSpPr>
        <p:spPr/>
        <p:txBody>
          <a:bodyPr/>
          <a:lstStyle/>
          <a:p>
            <a:fld id="{B4008EB6-D09E-4580-8CD6-DDB14511944F}" type="slidenum">
              <a:rPr lang="en-US" smtClean="0"/>
              <a:t>15</a:t>
            </a:fld>
            <a:endParaRPr lang="en-US" dirty="0"/>
          </a:p>
        </p:txBody>
      </p:sp>
      <p:sp>
        <p:nvSpPr>
          <p:cNvPr id="6" name="Header Placeholder 5"/>
          <p:cNvSpPr>
            <a:spLocks noGrp="1"/>
          </p:cNvSpPr>
          <p:nvPr>
            <p:ph type="hdr" sz="quarter" idx="12"/>
          </p:nvPr>
        </p:nvSpPr>
        <p:spPr/>
        <p:txBody>
          <a:bodyPr/>
          <a:lstStyle/>
          <a:p>
            <a:r>
              <a:rPr lang="en-US" smtClean="0"/>
              <a:t>Microsoft Office365</a:t>
            </a:r>
            <a:endParaRPr lang="en-US" dirty="0"/>
          </a:p>
        </p:txBody>
      </p:sp>
      <p:sp>
        <p:nvSpPr>
          <p:cNvPr id="7" name="Footer Placeholder 6"/>
          <p:cNvSpPr>
            <a:spLocks noGrp="1"/>
          </p:cNvSpPr>
          <p:nvPr>
            <p:ph type="ftr" sz="quarter" idx="13"/>
          </p:nvPr>
        </p:nvSpPr>
        <p:spPr/>
        <p:txBody>
          <a:bodyPr/>
          <a:lstStyle/>
          <a:p>
            <a:pPr marL="231775" defTabSz="914099" eaLnBrk="0" hangingPunct="0"/>
            <a:r>
              <a:rPr lang="en-US" sz="500" smtClean="0">
                <a:gradFill>
                  <a:gsLst>
                    <a:gs pos="0">
                      <a:schemeClr val="tx1"/>
                    </a:gs>
                    <a:gs pos="100000">
                      <a:schemeClr val="tx1"/>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231775" defTabSz="914099" eaLnBrk="0" hangingPunct="0"/>
            <a:r>
              <a:rPr lang="en-US" sz="500" smtClean="0">
                <a:gradFill>
                  <a:gsLst>
                    <a:gs pos="0">
                      <a:schemeClr val="tx1"/>
                    </a:gs>
                    <a:gs pos="100000">
                      <a:schemeClr val="tx1"/>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5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60683264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ith Office 365 Business, </a:t>
            </a:r>
            <a:r>
              <a:rPr lang="en-US" baseline="0" dirty="0" smtClean="0"/>
              <a:t>you can now share large files with your customers and partners simply and securely</a:t>
            </a:r>
          </a:p>
          <a:p>
            <a:endParaRPr lang="en-US" baseline="0" dirty="0" smtClean="0"/>
          </a:p>
          <a:p>
            <a:r>
              <a:rPr lang="en-US" baseline="0" dirty="0" smtClean="0"/>
              <a:t>With OneDrive for Business you can easily s</a:t>
            </a:r>
            <a:r>
              <a:rPr lang="en-US" dirty="0" smtClean="0"/>
              <a:t>hare documents within</a:t>
            </a:r>
            <a:r>
              <a:rPr lang="en-US" baseline="0" dirty="0" smtClean="0"/>
              <a:t> seconds directly from the preview pane built into your Office apps. This preview pane helps ensure it is the right file you want to share.</a:t>
            </a:r>
          </a:p>
          <a:p>
            <a:endParaRPr lang="en-US" baseline="0" dirty="0" smtClean="0"/>
          </a:p>
          <a:p>
            <a:r>
              <a:rPr lang="en-US" baseline="0" dirty="0" smtClean="0"/>
              <a:t>Any external user you shared the file with can open and edit the file directly in the browser using Office Online, making this a better solution than other file sharing sites because documents don’t lose their original formatting.</a:t>
            </a:r>
          </a:p>
          <a:p>
            <a:endParaRPr lang="en-US" baseline="0" dirty="0" smtClean="0"/>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When others access the files from the link you share, they can co-edit the file with you in real time. And when there are comments, you can now reply within comments to make it easier to review all the conversations within the documents.</a:t>
            </a:r>
          </a:p>
          <a:p>
            <a:endParaRPr lang="en-US" dirty="0"/>
          </a:p>
        </p:txBody>
      </p:sp>
      <p:sp>
        <p:nvSpPr>
          <p:cNvPr id="4" name="Date Placeholder 3"/>
          <p:cNvSpPr>
            <a:spLocks noGrp="1"/>
          </p:cNvSpPr>
          <p:nvPr>
            <p:ph type="dt" idx="10"/>
          </p:nvPr>
        </p:nvSpPr>
        <p:spPr/>
        <p:txBody>
          <a:bodyPr/>
          <a:lstStyle/>
          <a:p>
            <a:fld id="{8FDD7E22-9B7D-4E61-9C95-F21108944AC0}" type="datetime1">
              <a:rPr lang="en-US" smtClean="0">
                <a:solidFill>
                  <a:prstClr val="black"/>
                </a:solidFill>
              </a:rPr>
              <a:pPr/>
              <a:t>9/11/2014</a:t>
            </a:fld>
            <a:endParaRPr lang="en-US" dirty="0">
              <a:solidFill>
                <a:prstClr val="black"/>
              </a:solidFill>
            </a:endParaRPr>
          </a:p>
        </p:txBody>
      </p:sp>
      <p:sp>
        <p:nvSpPr>
          <p:cNvPr id="5" name="Slide Number Placeholder 4"/>
          <p:cNvSpPr>
            <a:spLocks noGrp="1"/>
          </p:cNvSpPr>
          <p:nvPr>
            <p:ph type="sldNum" sz="quarter" idx="11"/>
          </p:nvPr>
        </p:nvSpPr>
        <p:spPr/>
        <p:txBody>
          <a:bodyPr/>
          <a:lstStyle/>
          <a:p>
            <a:fld id="{B4008EB6-D09E-4580-8CD6-DDB14511944F}" type="slidenum">
              <a:rPr lang="en-US" smtClean="0">
                <a:solidFill>
                  <a:prstClr val="black"/>
                </a:solidFill>
              </a:rPr>
              <a:pPr/>
              <a:t>16</a:t>
            </a:fld>
            <a:endParaRPr lang="en-US" dirty="0">
              <a:solidFill>
                <a:prstClr val="black"/>
              </a:solidFill>
            </a:endParaRPr>
          </a:p>
        </p:txBody>
      </p:sp>
      <p:sp>
        <p:nvSpPr>
          <p:cNvPr id="6" name="Header Placeholder 5"/>
          <p:cNvSpPr>
            <a:spLocks noGrp="1"/>
          </p:cNvSpPr>
          <p:nvPr>
            <p:ph type="hdr" sz="quarter" idx="12"/>
          </p:nvPr>
        </p:nvSpPr>
        <p:spPr/>
        <p:txBody>
          <a:bodyPr/>
          <a:lstStyle/>
          <a:p>
            <a:r>
              <a:rPr lang="en-US" dirty="0" smtClean="0">
                <a:solidFill>
                  <a:prstClr val="black"/>
                </a:solidFill>
              </a:rPr>
              <a:t>Microsoft Lync</a:t>
            </a:r>
            <a:endParaRPr lang="en-US" dirty="0">
              <a:solidFill>
                <a:prstClr val="black"/>
              </a:solidFill>
            </a:endParaRPr>
          </a:p>
        </p:txBody>
      </p:sp>
      <p:sp>
        <p:nvSpPr>
          <p:cNvPr id="7" name="Footer Placeholder 6"/>
          <p:cNvSpPr>
            <a:spLocks noGrp="1"/>
          </p:cNvSpPr>
          <p:nvPr>
            <p:ph type="ftr" sz="quarter" idx="13"/>
          </p:nvPr>
        </p:nvSpPr>
        <p:spPr/>
        <p:txBody>
          <a:bodyPr/>
          <a:lstStyle/>
          <a:p>
            <a:pPr marL="231775" defTabSz="914099" eaLnBrk="0" hangingPunct="0"/>
            <a:r>
              <a:rPr lang="en-US" sz="5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231775" defTabSz="914099" eaLnBrk="0" hangingPunct="0"/>
            <a:r>
              <a:rPr lang="en-US" sz="5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5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16131131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kern="1200" dirty="0" smtClean="0">
                <a:solidFill>
                  <a:schemeClr val="tx1"/>
                </a:solidFill>
                <a:effectLst/>
                <a:latin typeface="Segoe UI" pitchFamily="34" charset="0"/>
                <a:ea typeface="+mn-ea"/>
                <a:cs typeface="+mn-cs"/>
              </a:rPr>
              <a:t>Presenter guidance: </a:t>
            </a:r>
            <a:r>
              <a:rPr lang="en-US" sz="900" kern="1200" dirty="0" smtClean="0">
                <a:solidFill>
                  <a:schemeClr val="tx1"/>
                </a:solidFill>
                <a:effectLst/>
                <a:latin typeface="Segoe UI" pitchFamily="34" charset="0"/>
                <a:ea typeface="+mn-ea"/>
                <a:cs typeface="+mn-cs"/>
              </a:rPr>
              <a:t>Use this time to demo Office 365 to the audience.</a:t>
            </a:r>
            <a:r>
              <a:rPr lang="en-US" sz="900" b="1" kern="1200" dirty="0" smtClean="0">
                <a:solidFill>
                  <a:schemeClr val="tx1"/>
                </a:solidFill>
                <a:effectLst/>
                <a:latin typeface="Segoe UI" pitchFamily="34" charset="0"/>
                <a:ea typeface="+mn-ea"/>
                <a:cs typeface="+mn-cs"/>
              </a:rPr>
              <a:t> </a:t>
            </a:r>
            <a:endParaRPr lang="en-US" sz="900" kern="1200" dirty="0" smtClean="0">
              <a:solidFill>
                <a:schemeClr val="tx1"/>
              </a:solidFill>
              <a:effectLst/>
              <a:latin typeface="Segoe UI" pitchFamily="34" charset="0"/>
              <a:ea typeface="+mn-ea"/>
              <a:cs typeface="+mn-cs"/>
            </a:endParaRPr>
          </a:p>
          <a:p>
            <a:r>
              <a:rPr lang="en-US" sz="900" kern="1200" dirty="0" smtClean="0">
                <a:solidFill>
                  <a:schemeClr val="tx1"/>
                </a:solidFill>
                <a:effectLst/>
                <a:latin typeface="Segoe UI" pitchFamily="34" charset="0"/>
                <a:ea typeface="+mn-ea"/>
                <a:cs typeface="+mn-cs"/>
              </a:rPr>
              <a:t> </a:t>
            </a:r>
          </a:p>
          <a:p>
            <a:r>
              <a:rPr lang="en-US" sz="900" b="1" kern="1200" dirty="0" smtClean="0">
                <a:solidFill>
                  <a:schemeClr val="tx1"/>
                </a:solidFill>
                <a:effectLst/>
                <a:latin typeface="Segoe UI" pitchFamily="34" charset="0"/>
                <a:ea typeface="+mn-ea"/>
                <a:cs typeface="+mn-cs"/>
              </a:rPr>
              <a:t>How to demo: </a:t>
            </a:r>
            <a:r>
              <a:rPr lang="en-US" sz="900" kern="1200" dirty="0" smtClean="0">
                <a:solidFill>
                  <a:schemeClr val="tx1"/>
                </a:solidFill>
                <a:effectLst/>
                <a:latin typeface="Segoe UI" pitchFamily="34" charset="0"/>
                <a:ea typeface="+mn-ea"/>
                <a:cs typeface="+mn-cs"/>
              </a:rPr>
              <a:t>There are different ways to demo the new Office. It really boils down to how much time you have with the</a:t>
            </a:r>
            <a:r>
              <a:rPr lang="en-US" sz="900" kern="1200" baseline="0" dirty="0" smtClean="0">
                <a:solidFill>
                  <a:schemeClr val="tx1"/>
                </a:solidFill>
                <a:effectLst/>
                <a:latin typeface="Segoe UI" pitchFamily="34" charset="0"/>
                <a:ea typeface="+mn-ea"/>
                <a:cs typeface="+mn-cs"/>
              </a:rPr>
              <a:t> customer(s) and what the customer(s) are interested to see.</a:t>
            </a:r>
            <a:endParaRPr lang="en-US" sz="900" kern="1200" dirty="0" smtClean="0">
              <a:solidFill>
                <a:schemeClr val="tx1"/>
              </a:solidFill>
              <a:effectLst/>
              <a:latin typeface="Segoe UI" pitchFamily="34" charset="0"/>
              <a:ea typeface="+mn-ea"/>
              <a:cs typeface="+mn-cs"/>
            </a:endParaRPr>
          </a:p>
          <a:p>
            <a:pPr marL="171450" indent="-171450">
              <a:buFontTx/>
              <a:buChar char="-"/>
            </a:pPr>
            <a:endParaRPr lang="en-US" sz="900" kern="1200" dirty="0" smtClean="0">
              <a:solidFill>
                <a:schemeClr val="tx1"/>
              </a:solidFill>
              <a:effectLst/>
              <a:latin typeface="Segoe UI" pitchFamily="34" charset="0"/>
              <a:ea typeface="+mn-ea"/>
              <a:cs typeface="+mn-cs"/>
            </a:endParaRPr>
          </a:p>
          <a:p>
            <a:pPr marL="0" marR="0" indent="0" algn="l" defTabSz="914363" rtl="0" eaLnBrk="1" fontAlgn="auto" latinLnBrk="0" hangingPunct="1">
              <a:lnSpc>
                <a:spcPct val="90000"/>
              </a:lnSpc>
              <a:spcBef>
                <a:spcPts val="0"/>
              </a:spcBef>
              <a:spcAft>
                <a:spcPts val="333"/>
              </a:spcAft>
              <a:buClrTx/>
              <a:buSzTx/>
              <a:buFontTx/>
              <a:buNone/>
              <a:tabLst/>
              <a:defRPr/>
            </a:pPr>
            <a:r>
              <a:rPr lang="en-US" dirty="0" smtClean="0"/>
              <a:t>The best way to demo is to set</a:t>
            </a:r>
            <a:r>
              <a:rPr lang="en-US" baseline="0" dirty="0" smtClean="0"/>
              <a:t> up your demo tenant at </a:t>
            </a:r>
            <a:r>
              <a:rPr lang="en-US" sz="900" u="sng" kern="1200" dirty="0" smtClean="0">
                <a:solidFill>
                  <a:schemeClr val="tx1"/>
                </a:solidFill>
                <a:effectLst/>
                <a:latin typeface="Segoe UI Light" pitchFamily="34" charset="0"/>
                <a:ea typeface="+mn-ea"/>
                <a:cs typeface="+mn-cs"/>
                <a:hlinkClick r:id="rId3"/>
              </a:rPr>
              <a:t>http://www.MicrosoftOfficeDemos.com</a:t>
            </a:r>
            <a:r>
              <a:rPr lang="en-US" baseline="0" dirty="0" smtClean="0"/>
              <a:t>. It includes demo content as well as demo script specifically designed for small and midsize businesses.</a:t>
            </a:r>
          </a:p>
          <a:p>
            <a:pPr marL="0" marR="0" indent="0" algn="l" defTabSz="914363" rtl="0" eaLnBrk="1" fontAlgn="auto" latinLnBrk="0" hangingPunct="1">
              <a:lnSpc>
                <a:spcPct val="90000"/>
              </a:lnSpc>
              <a:spcBef>
                <a:spcPts val="0"/>
              </a:spcBef>
              <a:spcAft>
                <a:spcPts val="333"/>
              </a:spcAft>
              <a:buClrTx/>
              <a:buSzTx/>
              <a:buFontTx/>
              <a:buNone/>
              <a:tabLst/>
              <a:defRPr/>
            </a:pPr>
            <a:endParaRPr lang="en-US" baseline="0" dirty="0" smtClean="0"/>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If you are not able to demo, here are other options:</a:t>
            </a:r>
          </a:p>
          <a:p>
            <a:pPr marL="0" marR="0" indent="0" algn="l" defTabSz="914363" rtl="0" eaLnBrk="1" fontAlgn="auto" latinLnBrk="0" hangingPunct="1">
              <a:lnSpc>
                <a:spcPct val="90000"/>
              </a:lnSpc>
              <a:spcBef>
                <a:spcPts val="0"/>
              </a:spcBef>
              <a:spcAft>
                <a:spcPts val="333"/>
              </a:spcAft>
              <a:buClrTx/>
              <a:buSzTx/>
              <a:buFontTx/>
              <a:buNone/>
              <a:tabLst/>
              <a:defRPr/>
            </a:pPr>
            <a:endParaRPr lang="en-US" baseline="0" dirty="0" smtClean="0"/>
          </a:p>
          <a:p>
            <a:pPr marL="0" indent="0">
              <a:buFontTx/>
              <a:buNone/>
            </a:pPr>
            <a:r>
              <a:rPr lang="en-US" baseline="0" dirty="0" smtClean="0"/>
              <a:t>- For one-on-one customer engagement, assuming you use Office 365 for your own company, you can also just show your own environment to demo how you use it.  </a:t>
            </a:r>
          </a:p>
          <a:p>
            <a:pPr marL="0" indent="0">
              <a:buFontTx/>
              <a:buNone/>
            </a:pPr>
            <a:endParaRPr lang="en-US" dirty="0" smtClean="0"/>
          </a:p>
          <a:p>
            <a:pPr marL="0" marR="0" indent="0" algn="l" defTabSz="914363" rtl="0" eaLnBrk="1" fontAlgn="auto" latinLnBrk="0" hangingPunct="1">
              <a:lnSpc>
                <a:spcPct val="90000"/>
              </a:lnSpc>
              <a:spcBef>
                <a:spcPts val="0"/>
              </a:spcBef>
              <a:spcAft>
                <a:spcPts val="333"/>
              </a:spcAft>
              <a:buClrTx/>
              <a:buSzTx/>
              <a:buFontTx/>
              <a:buNone/>
              <a:tabLst/>
              <a:defRPr/>
            </a:pPr>
            <a:r>
              <a:rPr lang="en-US" dirty="0" smtClean="0"/>
              <a:t>- Or pick</a:t>
            </a:r>
            <a:r>
              <a:rPr lang="en-US" baseline="0" dirty="0" smtClean="0"/>
              <a:t> one of the videos from this list:</a:t>
            </a:r>
          </a:p>
          <a:p>
            <a:pPr lvl="1"/>
            <a:r>
              <a:rPr lang="en-US" sz="900" u="sng" kern="1200" dirty="0" smtClean="0">
                <a:solidFill>
                  <a:schemeClr val="tx1"/>
                </a:solidFill>
                <a:effectLst/>
                <a:latin typeface="Segoe UI Light" pitchFamily="34" charset="0"/>
                <a:ea typeface="+mn-ea"/>
                <a:cs typeface="+mn-cs"/>
                <a:hlinkClick r:id="rId4"/>
              </a:rPr>
              <a:t>http://www.youtube.com/user/MicrosoftOffice365</a:t>
            </a:r>
            <a:r>
              <a:rPr lang="en-US" sz="900" kern="1200" dirty="0" smtClean="0">
                <a:solidFill>
                  <a:schemeClr val="tx1"/>
                </a:solidFill>
                <a:effectLst/>
                <a:latin typeface="Segoe UI Light" pitchFamily="34" charset="0"/>
                <a:ea typeface="+mn-ea"/>
                <a:cs typeface="+mn-cs"/>
              </a:rPr>
              <a:t> </a:t>
            </a:r>
          </a:p>
          <a:p>
            <a:pPr lvl="1"/>
            <a:r>
              <a:rPr lang="en-US" sz="900" u="sng" kern="1200" dirty="0" smtClean="0">
                <a:solidFill>
                  <a:schemeClr val="tx1"/>
                </a:solidFill>
                <a:effectLst/>
                <a:latin typeface="Segoe UI Light" pitchFamily="34" charset="0"/>
                <a:ea typeface="+mn-ea"/>
                <a:cs typeface="+mn-cs"/>
                <a:hlinkClick r:id="rId5"/>
              </a:rPr>
              <a:t>http://www.microsoft.com/en-us/office365/customer-stories.aspx</a:t>
            </a:r>
            <a:r>
              <a:rPr lang="en-US" sz="900" kern="1200" dirty="0" smtClean="0">
                <a:solidFill>
                  <a:schemeClr val="tx1"/>
                </a:solidFill>
                <a:effectLst/>
                <a:latin typeface="Segoe UI Light" pitchFamily="34" charset="0"/>
                <a:ea typeface="+mn-ea"/>
                <a:cs typeface="+mn-cs"/>
              </a:rPr>
              <a:t> </a:t>
            </a:r>
          </a:p>
          <a:p>
            <a:pPr lvl="1"/>
            <a:r>
              <a:rPr lang="en-US" sz="900" u="sng" kern="1200" dirty="0" smtClean="0">
                <a:solidFill>
                  <a:schemeClr val="tx1"/>
                </a:solidFill>
                <a:effectLst/>
                <a:latin typeface="Segoe UI Light" pitchFamily="34" charset="0"/>
                <a:ea typeface="+mn-ea"/>
                <a:cs typeface="+mn-cs"/>
                <a:hlinkClick r:id="rId6"/>
              </a:rPr>
              <a:t>http://office.microsoft.com/en-us/support</a:t>
            </a:r>
            <a:r>
              <a:rPr lang="en-US" sz="900" kern="1200" dirty="0" smtClean="0">
                <a:solidFill>
                  <a:schemeClr val="tx1"/>
                </a:solidFill>
                <a:effectLst/>
                <a:latin typeface="Segoe UI Light" pitchFamily="34" charset="0"/>
                <a:ea typeface="+mn-ea"/>
                <a:cs typeface="+mn-cs"/>
              </a:rPr>
              <a:t> </a:t>
            </a:r>
          </a:p>
        </p:txBody>
      </p:sp>
      <p:sp>
        <p:nvSpPr>
          <p:cNvPr id="4" name="Date Placeholder 3"/>
          <p:cNvSpPr>
            <a:spLocks noGrp="1"/>
          </p:cNvSpPr>
          <p:nvPr>
            <p:ph type="dt" idx="10"/>
          </p:nvPr>
        </p:nvSpPr>
        <p:spPr/>
        <p:txBody>
          <a:bodyPr/>
          <a:lstStyle/>
          <a:p>
            <a:fld id="{56A05535-06F9-454B-8A1D-4F6D4EF35875}" type="datetime1">
              <a:rPr lang="en-US" smtClean="0"/>
              <a:t>9/11/2014</a:t>
            </a:fld>
            <a:endParaRPr lang="en-US" dirty="0"/>
          </a:p>
        </p:txBody>
      </p:sp>
      <p:sp>
        <p:nvSpPr>
          <p:cNvPr id="5" name="Slide Number Placeholder 4"/>
          <p:cNvSpPr>
            <a:spLocks noGrp="1"/>
          </p:cNvSpPr>
          <p:nvPr>
            <p:ph type="sldNum" sz="quarter" idx="11"/>
          </p:nvPr>
        </p:nvSpPr>
        <p:spPr/>
        <p:txBody>
          <a:bodyPr/>
          <a:lstStyle/>
          <a:p>
            <a:fld id="{B4008EB6-D09E-4580-8CD6-DDB14511944F}" type="slidenum">
              <a:rPr lang="en-US" smtClean="0"/>
              <a:t>17</a:t>
            </a:fld>
            <a:endParaRPr lang="en-US" dirty="0"/>
          </a:p>
        </p:txBody>
      </p:sp>
      <p:sp>
        <p:nvSpPr>
          <p:cNvPr id="6" name="Header Placeholder 5"/>
          <p:cNvSpPr>
            <a:spLocks noGrp="1"/>
          </p:cNvSpPr>
          <p:nvPr>
            <p:ph type="hdr" sz="quarter" idx="12"/>
          </p:nvPr>
        </p:nvSpPr>
        <p:spPr/>
        <p:txBody>
          <a:bodyPr/>
          <a:lstStyle/>
          <a:p>
            <a:r>
              <a:rPr lang="en-US" smtClean="0"/>
              <a:t>Microsoft Office365</a:t>
            </a:r>
            <a:endParaRPr lang="en-US" dirty="0"/>
          </a:p>
        </p:txBody>
      </p:sp>
      <p:sp>
        <p:nvSpPr>
          <p:cNvPr id="7" name="Footer Placeholder 6"/>
          <p:cNvSpPr>
            <a:spLocks noGrp="1"/>
          </p:cNvSpPr>
          <p:nvPr>
            <p:ph type="ftr" sz="quarter" idx="13"/>
          </p:nvPr>
        </p:nvSpPr>
        <p:spPr/>
        <p:txBody>
          <a:bodyPr/>
          <a:lstStyle/>
          <a:p>
            <a:pPr marL="231775" defTabSz="914099" eaLnBrk="0" hangingPunct="0"/>
            <a:r>
              <a:rPr lang="en-US" sz="500" smtClean="0">
                <a:gradFill>
                  <a:gsLst>
                    <a:gs pos="0">
                      <a:schemeClr val="tx1"/>
                    </a:gs>
                    <a:gs pos="100000">
                      <a:schemeClr val="tx1"/>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231775" defTabSz="914099" eaLnBrk="0" hangingPunct="0"/>
            <a:r>
              <a:rPr lang="en-US" sz="500" smtClean="0">
                <a:gradFill>
                  <a:gsLst>
                    <a:gs pos="0">
                      <a:schemeClr val="tx1"/>
                    </a:gs>
                    <a:gs pos="100000">
                      <a:schemeClr val="tx1"/>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5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90709961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dirty="0" smtClean="0"/>
              <a:t>Based</a:t>
            </a:r>
            <a:r>
              <a:rPr lang="en-US" sz="1100" baseline="0" dirty="0" smtClean="0"/>
              <a:t> on everything we talked about, Office 365 Business is the right choice for your business.</a:t>
            </a:r>
          </a:p>
          <a:p>
            <a:endParaRPr lang="en-US" sz="1100" baseline="0" dirty="0" smtClean="0"/>
          </a:p>
          <a:p>
            <a:pPr marL="171450" indent="-171450">
              <a:buFontTx/>
              <a:buChar char="-"/>
            </a:pPr>
            <a:r>
              <a:rPr lang="en-US" sz="1100" baseline="0" dirty="0" smtClean="0"/>
              <a:t>It includes the full, installable Office- along with great new features and capabilities</a:t>
            </a:r>
          </a:p>
          <a:p>
            <a:pPr marL="171450" indent="-171450">
              <a:buFontTx/>
              <a:buChar char="-"/>
            </a:pPr>
            <a:r>
              <a:rPr lang="en-US" sz="1100" b="1" baseline="0" dirty="0" smtClean="0"/>
              <a:t>It provides turnkey needs for all the users across your company.</a:t>
            </a:r>
          </a:p>
          <a:p>
            <a:pPr marL="171450" indent="-171450">
              <a:buFontTx/>
              <a:buChar char="-"/>
            </a:pPr>
            <a:r>
              <a:rPr lang="en-US" sz="1100" baseline="0" dirty="0" smtClean="0">
                <a:effectLst/>
              </a:rPr>
              <a:t>It includes 24/7 technical phone support for all critical issues</a:t>
            </a:r>
          </a:p>
          <a:p>
            <a:pPr marL="171450" indent="-171450">
              <a:buFontTx/>
              <a:buChar char="-"/>
            </a:pPr>
            <a:r>
              <a:rPr lang="en-US" sz="1100" baseline="0" dirty="0" smtClean="0">
                <a:effectLst/>
              </a:rPr>
              <a:t>It’s available at the low price of $8.25 per user per month</a:t>
            </a:r>
            <a:endParaRPr lang="en-US" sz="1100" dirty="0" smtClean="0"/>
          </a:p>
          <a:p>
            <a:pPr marL="0" marR="0" indent="0" algn="l" defTabSz="914363" rtl="0" eaLnBrk="1" fontAlgn="auto" latinLnBrk="0" hangingPunct="1">
              <a:lnSpc>
                <a:spcPct val="90000"/>
              </a:lnSpc>
              <a:spcBef>
                <a:spcPts val="0"/>
              </a:spcBef>
              <a:spcAft>
                <a:spcPts val="333"/>
              </a:spcAft>
              <a:buClrTx/>
              <a:buSzTx/>
              <a:buFontTx/>
              <a:buNone/>
              <a:tabLst/>
              <a:defRPr/>
            </a:pPr>
            <a:endParaRPr lang="en-US" sz="1100" kern="1200" baseline="0" dirty="0" smtClean="0">
              <a:solidFill>
                <a:schemeClr val="tx1"/>
              </a:solidFill>
              <a:effectLst/>
              <a:latin typeface="Segoe UI" pitchFamily="34" charset="0"/>
              <a:ea typeface="+mn-ea"/>
              <a:cs typeface="+mn-cs"/>
            </a:endParaRPr>
          </a:p>
        </p:txBody>
      </p:sp>
      <p:sp>
        <p:nvSpPr>
          <p:cNvPr id="4" name="Date Placeholder 3"/>
          <p:cNvSpPr>
            <a:spLocks noGrp="1"/>
          </p:cNvSpPr>
          <p:nvPr>
            <p:ph type="dt" idx="10"/>
          </p:nvPr>
        </p:nvSpPr>
        <p:spPr/>
        <p:txBody>
          <a:bodyPr/>
          <a:lstStyle/>
          <a:p>
            <a:fld id="{F36DBDBE-3C47-4418-B406-6E25A5E3B513}" type="datetime1">
              <a:rPr lang="en-US" smtClean="0">
                <a:solidFill>
                  <a:prstClr val="black"/>
                </a:solidFill>
              </a:rPr>
              <a:pPr/>
              <a:t>9/11/2014</a:t>
            </a:fld>
            <a:endParaRPr lang="en-US" dirty="0">
              <a:solidFill>
                <a:prstClr val="black"/>
              </a:solidFill>
            </a:endParaRPr>
          </a:p>
        </p:txBody>
      </p:sp>
      <p:sp>
        <p:nvSpPr>
          <p:cNvPr id="5" name="Slide Number Placeholder 4"/>
          <p:cNvSpPr>
            <a:spLocks noGrp="1"/>
          </p:cNvSpPr>
          <p:nvPr>
            <p:ph type="sldNum" sz="quarter" idx="11"/>
          </p:nvPr>
        </p:nvSpPr>
        <p:spPr/>
        <p:txBody>
          <a:bodyPr/>
          <a:lstStyle/>
          <a:p>
            <a:fld id="{B4008EB6-D09E-4580-8CD6-DDB14511944F}" type="slidenum">
              <a:rPr lang="en-US" smtClean="0">
                <a:solidFill>
                  <a:prstClr val="black"/>
                </a:solidFill>
              </a:rPr>
              <a:pPr/>
              <a:t>18</a:t>
            </a:fld>
            <a:endParaRPr lang="en-US" dirty="0">
              <a:solidFill>
                <a:prstClr val="black"/>
              </a:solidFill>
            </a:endParaRPr>
          </a:p>
        </p:txBody>
      </p:sp>
      <p:sp>
        <p:nvSpPr>
          <p:cNvPr id="6" name="Header Placeholder 5"/>
          <p:cNvSpPr>
            <a:spLocks noGrp="1"/>
          </p:cNvSpPr>
          <p:nvPr>
            <p:ph type="hdr" sz="quarter" idx="12"/>
          </p:nvPr>
        </p:nvSpPr>
        <p:spPr/>
        <p:txBody>
          <a:bodyPr/>
          <a:lstStyle/>
          <a:p>
            <a:r>
              <a:rPr lang="en-US" dirty="0" smtClean="0">
                <a:solidFill>
                  <a:prstClr val="black"/>
                </a:solidFill>
              </a:rPr>
              <a:t>Microsoft Office365</a:t>
            </a:r>
            <a:endParaRPr lang="en-US" dirty="0">
              <a:solidFill>
                <a:prstClr val="black"/>
              </a:solidFill>
            </a:endParaRPr>
          </a:p>
        </p:txBody>
      </p:sp>
      <p:sp>
        <p:nvSpPr>
          <p:cNvPr id="7" name="Footer Placeholder 6"/>
          <p:cNvSpPr>
            <a:spLocks noGrp="1"/>
          </p:cNvSpPr>
          <p:nvPr>
            <p:ph type="ftr" sz="quarter" idx="13"/>
          </p:nvPr>
        </p:nvSpPr>
        <p:spPr/>
        <p:txBody>
          <a:bodyPr/>
          <a:lstStyle/>
          <a:p>
            <a:pPr marL="231775" defTabSz="914099" eaLnBrk="0" hangingPunct="0"/>
            <a:r>
              <a:rPr lang="en-US" sz="5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231775" defTabSz="914099" eaLnBrk="0" hangingPunct="0"/>
            <a:r>
              <a:rPr lang="en-US" sz="5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5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42201677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F6956F3-7789-E044-B7D3-F234CE1177F2}" type="slidenum">
              <a:rPr lang="en-US" smtClean="0"/>
              <a:t>19</a:t>
            </a:fld>
            <a:endParaRPr lang="en-US"/>
          </a:p>
        </p:txBody>
      </p:sp>
    </p:spTree>
    <p:extLst>
      <p:ext uri="{BB962C8B-B14F-4D97-AF65-F5344CB8AC3E}">
        <p14:creationId xmlns:p14="http://schemas.microsoft.com/office/powerpoint/2010/main" val="41990807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b="1" kern="1200" dirty="0" smtClean="0">
                <a:solidFill>
                  <a:schemeClr val="tx1"/>
                </a:solidFill>
                <a:effectLst/>
                <a:latin typeface="Segoe UI" pitchFamily="34" charset="0"/>
                <a:ea typeface="+mn-ea"/>
                <a:cs typeface="+mn-cs"/>
              </a:rPr>
              <a:t>Slide purpose:</a:t>
            </a:r>
            <a:r>
              <a:rPr lang="en-US" sz="800" kern="1200" dirty="0" smtClean="0">
                <a:solidFill>
                  <a:schemeClr val="tx1"/>
                </a:solidFill>
                <a:effectLst/>
                <a:latin typeface="Segoe UI" pitchFamily="34" charset="0"/>
                <a:ea typeface="+mn-ea"/>
                <a:cs typeface="+mn-cs"/>
              </a:rPr>
              <a:t> Establish that you understand the challenges and concerns of</a:t>
            </a:r>
            <a:r>
              <a:rPr lang="en-US" sz="800" kern="1200" baseline="0" dirty="0" smtClean="0">
                <a:solidFill>
                  <a:schemeClr val="tx1"/>
                </a:solidFill>
                <a:effectLst/>
                <a:latin typeface="Segoe UI" pitchFamily="34" charset="0"/>
                <a:ea typeface="+mn-ea"/>
                <a:cs typeface="+mn-cs"/>
              </a:rPr>
              <a:t> small </a:t>
            </a:r>
            <a:r>
              <a:rPr lang="en-US" sz="800" kern="1200" dirty="0" smtClean="0">
                <a:solidFill>
                  <a:schemeClr val="tx1"/>
                </a:solidFill>
                <a:effectLst/>
                <a:latin typeface="Segoe UI" pitchFamily="34" charset="0"/>
                <a:ea typeface="+mn-ea"/>
                <a:cs typeface="+mn-cs"/>
              </a:rPr>
              <a:t>businesses, and why they have unique requirements.</a:t>
            </a:r>
          </a:p>
          <a:p>
            <a:endParaRPr lang="en-US" sz="800" kern="1200" dirty="0" smtClean="0">
              <a:solidFill>
                <a:schemeClr val="tx1"/>
              </a:solidFill>
              <a:effectLst/>
              <a:latin typeface="Segoe UI" pitchFamily="34" charset="0"/>
              <a:ea typeface="+mn-ea"/>
              <a:cs typeface="+mn-cs"/>
            </a:endParaRPr>
          </a:p>
          <a:p>
            <a:r>
              <a:rPr lang="en-US" sz="800" b="1" kern="1200" dirty="0" smtClean="0">
                <a:solidFill>
                  <a:schemeClr val="tx1"/>
                </a:solidFill>
                <a:effectLst/>
                <a:latin typeface="Segoe UI" pitchFamily="34" charset="0"/>
                <a:ea typeface="+mn-ea"/>
                <a:cs typeface="+mn-cs"/>
              </a:rPr>
              <a:t>How to present this slide:</a:t>
            </a:r>
            <a:r>
              <a:rPr lang="en-US" sz="800" kern="1200" dirty="0" smtClean="0">
                <a:solidFill>
                  <a:schemeClr val="tx1"/>
                </a:solidFill>
                <a:effectLst/>
                <a:latin typeface="Segoe UI" pitchFamily="34" charset="0"/>
                <a:ea typeface="+mn-ea"/>
                <a:cs typeface="+mn-cs"/>
              </a:rPr>
              <a:t> Read the</a:t>
            </a:r>
            <a:r>
              <a:rPr lang="en-US" sz="800" kern="1200" baseline="0" dirty="0" smtClean="0">
                <a:solidFill>
                  <a:schemeClr val="tx1"/>
                </a:solidFill>
                <a:effectLst/>
                <a:latin typeface="Segoe UI" pitchFamily="34" charset="0"/>
                <a:ea typeface="+mn-ea"/>
                <a:cs typeface="+mn-cs"/>
              </a:rPr>
              <a:t> pain points out from left to right. Add color to each point using the content below. </a:t>
            </a:r>
            <a:r>
              <a:rPr lang="en-US" sz="800" kern="1200" dirty="0" smtClean="0">
                <a:solidFill>
                  <a:schemeClr val="tx1"/>
                </a:solidFill>
                <a:effectLst/>
                <a:latin typeface="Segoe UI" pitchFamily="34" charset="0"/>
                <a:ea typeface="+mn-ea"/>
                <a:cs typeface="+mn-cs"/>
              </a:rPr>
              <a:t> Use this slide to set up the value</a:t>
            </a:r>
            <a:r>
              <a:rPr lang="en-US" sz="800" kern="1200" baseline="0" dirty="0" smtClean="0">
                <a:solidFill>
                  <a:schemeClr val="tx1"/>
                </a:solidFill>
                <a:effectLst/>
                <a:latin typeface="Segoe UI" pitchFamily="34" charset="0"/>
                <a:ea typeface="+mn-ea"/>
                <a:cs typeface="+mn-cs"/>
              </a:rPr>
              <a:t> prop shown in the next slide</a:t>
            </a:r>
            <a:endParaRPr lang="en-US" sz="800" kern="1200" dirty="0" smtClean="0">
              <a:solidFill>
                <a:schemeClr val="tx1"/>
              </a:solidFill>
              <a:effectLst/>
              <a:latin typeface="Segoe UI" pitchFamily="34" charset="0"/>
              <a:ea typeface="+mn-ea"/>
              <a:cs typeface="+mn-cs"/>
            </a:endParaRPr>
          </a:p>
          <a:p>
            <a:endParaRPr lang="en-US" sz="800" kern="1200" dirty="0" smtClean="0">
              <a:solidFill>
                <a:schemeClr val="tx1"/>
              </a:solidFill>
              <a:effectLst/>
              <a:latin typeface="Segoe UI" pitchFamily="34" charset="0"/>
              <a:ea typeface="+mn-ea"/>
              <a:cs typeface="+mn-cs"/>
            </a:endParaRPr>
          </a:p>
          <a:p>
            <a:r>
              <a:rPr lang="en-US" sz="800" b="1" u="sng" kern="1200" dirty="0" smtClean="0">
                <a:solidFill>
                  <a:schemeClr val="tx1"/>
                </a:solidFill>
                <a:effectLst/>
                <a:latin typeface="Segoe UI" pitchFamily="34" charset="0"/>
                <a:ea typeface="+mn-ea"/>
                <a:cs typeface="+mn-cs"/>
              </a:rPr>
              <a:t>Talk</a:t>
            </a:r>
            <a:r>
              <a:rPr lang="en-US" sz="800" b="1" u="sng" kern="1200" baseline="0" dirty="0" smtClean="0">
                <a:solidFill>
                  <a:schemeClr val="tx1"/>
                </a:solidFill>
                <a:effectLst/>
                <a:latin typeface="Segoe UI" pitchFamily="34" charset="0"/>
                <a:ea typeface="+mn-ea"/>
                <a:cs typeface="+mn-cs"/>
              </a:rPr>
              <a:t> track</a:t>
            </a:r>
          </a:p>
          <a:p>
            <a:pPr rtl="0"/>
            <a:r>
              <a:rPr lang="en-US" sz="800" b="0" i="0" u="none" strike="noStrike" kern="1200" baseline="0" dirty="0" smtClean="0">
                <a:solidFill>
                  <a:schemeClr val="tx1"/>
                </a:solidFill>
                <a:latin typeface="Segoe UI Light" pitchFamily="34" charset="0"/>
                <a:ea typeface="+mn-ea"/>
                <a:cs typeface="+mn-cs"/>
              </a:rPr>
              <a:t>As a modern business, you have an unique set of needs to service customers, grow your business, and remain competitive. These issues pertain to applications, connectivity, IT infrastructure and mobility.</a:t>
            </a:r>
          </a:p>
          <a:p>
            <a:pPr rtl="0"/>
            <a:endParaRPr lang="en-US" sz="800" b="0" i="0" u="none" strike="noStrike" kern="1200" baseline="0" dirty="0" smtClean="0">
              <a:solidFill>
                <a:schemeClr val="tx1"/>
              </a:solidFill>
              <a:latin typeface="Segoe UI Light" pitchFamily="34" charset="0"/>
              <a:ea typeface="+mn-ea"/>
              <a:cs typeface="+mn-cs"/>
            </a:endParaRPr>
          </a:p>
          <a:p>
            <a:pPr rtl="0"/>
            <a:r>
              <a:rPr lang="en-US" sz="800" b="0" i="0" u="none" strike="noStrike" kern="1200" baseline="0" dirty="0" smtClean="0">
                <a:solidFill>
                  <a:schemeClr val="tx1"/>
                </a:solidFill>
                <a:latin typeface="Segoe UI Light" pitchFamily="34" charset="0"/>
                <a:ea typeface="+mn-ea"/>
                <a:cs typeface="+mn-cs"/>
              </a:rPr>
              <a:t>Some of the comments you see are typical ones we hear from our SMB customers and probably familiar to you in some shape or form.</a:t>
            </a:r>
          </a:p>
          <a:p>
            <a:endParaRPr lang="en-US" sz="800" u="sng" kern="1200" dirty="0" smtClean="0">
              <a:solidFill>
                <a:schemeClr val="tx1"/>
              </a:solidFill>
              <a:effectLst/>
              <a:latin typeface="Segoe UI" pitchFamily="34" charset="0"/>
              <a:ea typeface="+mn-ea"/>
              <a:cs typeface="+mn-cs"/>
            </a:endParaRPr>
          </a:p>
          <a:p>
            <a:pPr marL="0" marR="0" indent="0" algn="l" defTabSz="914363" rtl="0" eaLnBrk="1" fontAlgn="t" latinLnBrk="0" hangingPunct="1">
              <a:lnSpc>
                <a:spcPct val="90000"/>
              </a:lnSpc>
              <a:spcBef>
                <a:spcPts val="0"/>
              </a:spcBef>
              <a:spcAft>
                <a:spcPts val="333"/>
              </a:spcAft>
              <a:buClrTx/>
              <a:buSzTx/>
              <a:buFontTx/>
              <a:buNone/>
              <a:tabLst/>
              <a:defRPr/>
            </a:pPr>
            <a:r>
              <a:rPr lang="en-US" sz="800" b="1" kern="1200" dirty="0" smtClean="0">
                <a:solidFill>
                  <a:schemeClr val="bg1"/>
                </a:solidFill>
                <a:latin typeface="Segoe UI Light" pitchFamily="34" charset="0"/>
                <a:ea typeface="Segoe UI" pitchFamily="34" charset="0"/>
                <a:cs typeface="Segoe UI" pitchFamily="34" charset="0"/>
              </a:rPr>
              <a:t>“We need</a:t>
            </a:r>
            <a:r>
              <a:rPr lang="en-US" sz="800" b="1" kern="1200" baseline="0" dirty="0" smtClean="0">
                <a:solidFill>
                  <a:schemeClr val="bg1"/>
                </a:solidFill>
                <a:latin typeface="Segoe UI Light" pitchFamily="34" charset="0"/>
                <a:ea typeface="Segoe UI" pitchFamily="34" charset="0"/>
                <a:cs typeface="Segoe UI" pitchFamily="34" charset="0"/>
              </a:rPr>
              <a:t> anywhere and anytime access to files and business tools to serve our customers and stay competitive.”</a:t>
            </a:r>
            <a:endParaRPr lang="en-US" sz="800" b="1" kern="1200" baseline="0" dirty="0" smtClean="0">
              <a:solidFill>
                <a:schemeClr val="tx1"/>
              </a:solidFill>
              <a:effectLst/>
              <a:latin typeface="Segoe UI" pitchFamily="34" charset="0"/>
              <a:ea typeface="+mn-ea"/>
              <a:cs typeface="+mn-cs"/>
            </a:endParaRPr>
          </a:p>
          <a:p>
            <a:pPr marL="427057" marR="0" lvl="1" indent="-171450" algn="l" defTabSz="1097364" rtl="0" eaLnBrk="1" fontAlgn="auto" latinLnBrk="0" hangingPunct="1">
              <a:lnSpc>
                <a:spcPct val="90000"/>
              </a:lnSpc>
              <a:spcBef>
                <a:spcPts val="0"/>
              </a:spcBef>
              <a:spcAft>
                <a:spcPts val="400"/>
              </a:spcAft>
              <a:buClrTx/>
              <a:buSzTx/>
              <a:tabLst/>
              <a:defRPr/>
            </a:pPr>
            <a:r>
              <a:rPr lang="en-US" sz="800" dirty="0" smtClean="0"/>
              <a:t>We understand that business owners like you rely on technology to give you the edge to compete in your </a:t>
            </a:r>
            <a:r>
              <a:rPr lang="en-US" sz="800" baseline="0" dirty="0" smtClean="0"/>
              <a:t>market. Being able to respond to customer needs and access your important business files quickly and from anywhere is key to your</a:t>
            </a:r>
            <a:r>
              <a:rPr lang="en-US" sz="800" b="0" kern="1200" baseline="0" dirty="0" smtClean="0">
                <a:solidFill>
                  <a:schemeClr val="tx1"/>
                </a:solidFill>
                <a:effectLst/>
                <a:latin typeface="Segoe UI" pitchFamily="34" charset="0"/>
                <a:ea typeface="+mn-ea"/>
                <a:cs typeface="+mn-cs"/>
              </a:rPr>
              <a:t> key to success.</a:t>
            </a:r>
            <a:endParaRPr lang="en-US" sz="800" b="0" kern="1200" dirty="0" smtClean="0">
              <a:solidFill>
                <a:schemeClr val="tx1"/>
              </a:solidFill>
              <a:effectLst/>
              <a:latin typeface="Segoe UI" pitchFamily="34" charset="0"/>
              <a:ea typeface="+mn-ea"/>
              <a:cs typeface="+mn-cs"/>
            </a:endParaRPr>
          </a:p>
          <a:p>
            <a:endParaRPr lang="en-US" sz="800" b="1" kern="1200" dirty="0" smtClean="0">
              <a:solidFill>
                <a:schemeClr val="tx1"/>
              </a:solidFill>
              <a:effectLst/>
              <a:latin typeface="Segoe UI" pitchFamily="34" charset="0"/>
              <a:ea typeface="+mn-ea"/>
              <a:cs typeface="+mn-cs"/>
            </a:endParaRPr>
          </a:p>
          <a:p>
            <a:pPr rtl="0" fontAlgn="t"/>
            <a:r>
              <a:rPr lang="en-US" sz="800" b="1" kern="1200" dirty="0" smtClean="0">
                <a:solidFill>
                  <a:schemeClr val="tx1"/>
                </a:solidFill>
                <a:effectLst/>
                <a:latin typeface="Segoe UI" pitchFamily="34" charset="0"/>
                <a:ea typeface="+mn-ea"/>
                <a:cs typeface="+mn-cs"/>
              </a:rPr>
              <a:t>“We need to be using the cloud to our advantage</a:t>
            </a:r>
            <a:r>
              <a:rPr lang="en-US" sz="800" b="1" kern="1200" baseline="0" dirty="0" smtClean="0">
                <a:solidFill>
                  <a:schemeClr val="tx1"/>
                </a:solidFill>
                <a:effectLst/>
                <a:latin typeface="Segoe UI" pitchFamily="34" charset="0"/>
                <a:ea typeface="+mn-ea"/>
                <a:cs typeface="+mn-cs"/>
              </a:rPr>
              <a:t> – and save money along the way.”</a:t>
            </a:r>
            <a:endParaRPr lang="en-US" sz="800" b="1" kern="1200" dirty="0" smtClean="0">
              <a:solidFill>
                <a:schemeClr val="tx1"/>
              </a:solidFill>
              <a:effectLst/>
              <a:latin typeface="Segoe UI" pitchFamily="34" charset="0"/>
              <a:ea typeface="+mn-ea"/>
              <a:cs typeface="+mn-cs"/>
            </a:endParaRPr>
          </a:p>
          <a:p>
            <a:pPr marL="427057" marR="0" lvl="1" indent="-171450" algn="l" defTabSz="1097364" rtl="0" eaLnBrk="1" fontAlgn="t" latinLnBrk="0" hangingPunct="1">
              <a:lnSpc>
                <a:spcPct val="90000"/>
              </a:lnSpc>
              <a:spcBef>
                <a:spcPts val="0"/>
              </a:spcBef>
              <a:spcAft>
                <a:spcPts val="400"/>
              </a:spcAft>
              <a:buClrTx/>
              <a:buSzTx/>
              <a:buFont typeface="Arial" pitchFamily="34" charset="0"/>
              <a:buChar char="•"/>
              <a:tabLst/>
              <a:defRPr/>
            </a:pPr>
            <a:r>
              <a:rPr lang="en-US" sz="800" b="0" kern="1200" dirty="0" smtClean="0">
                <a:solidFill>
                  <a:schemeClr val="tx1"/>
                </a:solidFill>
                <a:effectLst/>
                <a:latin typeface="Segoe UI" pitchFamily="34" charset="0"/>
                <a:ea typeface="+mn-ea"/>
                <a:cs typeface="+mn-cs"/>
              </a:rPr>
              <a:t>Every dollar</a:t>
            </a:r>
            <a:r>
              <a:rPr lang="en-US" sz="800" b="0" kern="1200" baseline="0" dirty="0" smtClean="0">
                <a:solidFill>
                  <a:schemeClr val="tx1"/>
                </a:solidFill>
                <a:effectLst/>
                <a:latin typeface="Segoe UI" pitchFamily="34" charset="0"/>
                <a:ea typeface="+mn-ea"/>
                <a:cs typeface="+mn-cs"/>
              </a:rPr>
              <a:t> counts </a:t>
            </a:r>
          </a:p>
          <a:p>
            <a:endParaRPr lang="en-US" sz="800" kern="1200" dirty="0" smtClean="0">
              <a:solidFill>
                <a:schemeClr val="tx1"/>
              </a:solidFill>
              <a:effectLst/>
              <a:latin typeface="Segoe UI" pitchFamily="34" charset="0"/>
              <a:ea typeface="+mn-ea"/>
              <a:cs typeface="+mn-cs"/>
            </a:endParaRPr>
          </a:p>
          <a:p>
            <a:pPr lvl="0"/>
            <a:r>
              <a:rPr lang="en-US" sz="800" b="1" kern="1200" dirty="0" smtClean="0">
                <a:solidFill>
                  <a:schemeClr val="tx1"/>
                </a:solidFill>
                <a:effectLst/>
                <a:latin typeface="Segoe UI" pitchFamily="34" charset="0"/>
                <a:ea typeface="+mn-ea"/>
                <a:cs typeface="+mn-cs"/>
              </a:rPr>
              <a:t>“Zero downtime is</a:t>
            </a:r>
            <a:r>
              <a:rPr lang="en-US" sz="800" b="1" kern="1200" baseline="0" dirty="0" smtClean="0">
                <a:solidFill>
                  <a:schemeClr val="tx1"/>
                </a:solidFill>
                <a:effectLst/>
                <a:latin typeface="Segoe UI" pitchFamily="34" charset="0"/>
                <a:ea typeface="+mn-ea"/>
                <a:cs typeface="+mn-cs"/>
              </a:rPr>
              <a:t> a must</a:t>
            </a:r>
            <a:r>
              <a:rPr lang="en-US" sz="800" b="1" kern="1200" dirty="0" smtClean="0">
                <a:solidFill>
                  <a:schemeClr val="tx1"/>
                </a:solidFill>
                <a:effectLst/>
                <a:latin typeface="Segoe UI" pitchFamily="34" charset="0"/>
                <a:ea typeface="+mn-ea"/>
                <a:cs typeface="+mn-cs"/>
              </a:rPr>
              <a:t>…”</a:t>
            </a:r>
          </a:p>
          <a:p>
            <a:pPr marL="427057" marR="0" lvl="1" indent="-171450" algn="l" defTabSz="1097364" rtl="0" eaLnBrk="1" fontAlgn="auto" latinLnBrk="0" hangingPunct="1">
              <a:lnSpc>
                <a:spcPct val="90000"/>
              </a:lnSpc>
              <a:spcBef>
                <a:spcPts val="0"/>
              </a:spcBef>
              <a:spcAft>
                <a:spcPts val="400"/>
              </a:spcAft>
              <a:buClrTx/>
              <a:buSzTx/>
              <a:buFont typeface="Arial" pitchFamily="34" charset="0"/>
              <a:buChar char="•"/>
              <a:tabLst/>
              <a:defRPr/>
            </a:pPr>
            <a:r>
              <a:rPr lang="en-US" sz="800" b="0" kern="1200" dirty="0" smtClean="0">
                <a:solidFill>
                  <a:schemeClr val="tx1"/>
                </a:solidFill>
                <a:effectLst/>
                <a:latin typeface="Segoe UI" pitchFamily="34" charset="0"/>
                <a:ea typeface="+mn-ea"/>
                <a:cs typeface="+mn-cs"/>
              </a:rPr>
              <a:t>You need technology to work for you, not for you to worry about it. </a:t>
            </a:r>
            <a:endParaRPr lang="en-US" sz="800" b="0" kern="1200" baseline="0" dirty="0" smtClean="0">
              <a:solidFill>
                <a:schemeClr val="tx1"/>
              </a:solidFill>
              <a:effectLst/>
              <a:latin typeface="Segoe UI" pitchFamily="34" charset="0"/>
              <a:ea typeface="+mn-ea"/>
              <a:cs typeface="+mn-cs"/>
            </a:endParaRPr>
          </a:p>
          <a:p>
            <a:pPr rtl="0" fontAlgn="t"/>
            <a:endParaRPr lang="en-US" sz="800" b="1" kern="1200" baseline="0" dirty="0" smtClean="0">
              <a:solidFill>
                <a:schemeClr val="tx1"/>
              </a:solidFill>
              <a:effectLst/>
              <a:latin typeface="Segoe UI" pitchFamily="34" charset="0"/>
              <a:ea typeface="+mn-ea"/>
              <a:cs typeface="+mn-cs"/>
            </a:endParaRPr>
          </a:p>
          <a:p>
            <a:pPr marL="0" marR="0" indent="0" algn="l" defTabSz="914363" rtl="0" eaLnBrk="1" fontAlgn="auto" latinLnBrk="0" hangingPunct="1">
              <a:lnSpc>
                <a:spcPct val="90000"/>
              </a:lnSpc>
              <a:spcBef>
                <a:spcPts val="0"/>
              </a:spcBef>
              <a:spcAft>
                <a:spcPts val="333"/>
              </a:spcAft>
              <a:buClrTx/>
              <a:buSzTx/>
              <a:buFontTx/>
              <a:buNone/>
              <a:tabLst/>
              <a:defRPr/>
            </a:pPr>
            <a:r>
              <a:rPr lang="en-US" sz="800" b="0" kern="1200" baseline="0" dirty="0" smtClean="0">
                <a:solidFill>
                  <a:schemeClr val="tx1"/>
                </a:solidFill>
                <a:effectLst/>
                <a:latin typeface="Segoe UI" pitchFamily="34" charset="0"/>
                <a:ea typeface="+mn-ea"/>
                <a:cs typeface="+mn-cs"/>
              </a:rPr>
              <a:t>Given all these challenges, what you are really looking for is technology that meets the needs of your business. [click]</a:t>
            </a:r>
            <a:endParaRPr lang="en-US" dirty="0" smtClean="0"/>
          </a:p>
          <a:p>
            <a:endParaRPr lang="en-US" dirty="0"/>
          </a:p>
        </p:txBody>
      </p:sp>
      <p:sp>
        <p:nvSpPr>
          <p:cNvPr id="4" name="Date Placeholder 3"/>
          <p:cNvSpPr>
            <a:spLocks noGrp="1"/>
          </p:cNvSpPr>
          <p:nvPr>
            <p:ph type="dt" idx="10"/>
          </p:nvPr>
        </p:nvSpPr>
        <p:spPr/>
        <p:txBody>
          <a:bodyPr/>
          <a:lstStyle/>
          <a:p>
            <a:fld id="{E0BC5A4D-B65C-42EA-934D-08A8905A0630}" type="datetime1">
              <a:rPr lang="en-US" smtClean="0"/>
              <a:t>9/11/2014</a:t>
            </a:fld>
            <a:endParaRPr lang="en-US" dirty="0"/>
          </a:p>
        </p:txBody>
      </p:sp>
      <p:sp>
        <p:nvSpPr>
          <p:cNvPr id="5" name="Slide Number Placeholder 4"/>
          <p:cNvSpPr>
            <a:spLocks noGrp="1"/>
          </p:cNvSpPr>
          <p:nvPr>
            <p:ph type="sldNum" sz="quarter" idx="11"/>
          </p:nvPr>
        </p:nvSpPr>
        <p:spPr/>
        <p:txBody>
          <a:bodyPr/>
          <a:lstStyle/>
          <a:p>
            <a:fld id="{B4008EB6-D09E-4580-8CD6-DDB14511944F}" type="slidenum">
              <a:rPr lang="en-US" smtClean="0"/>
              <a:t>2</a:t>
            </a:fld>
            <a:endParaRPr lang="en-US" dirty="0"/>
          </a:p>
        </p:txBody>
      </p:sp>
      <p:sp>
        <p:nvSpPr>
          <p:cNvPr id="6" name="Header Placeholder 5"/>
          <p:cNvSpPr>
            <a:spLocks noGrp="1"/>
          </p:cNvSpPr>
          <p:nvPr>
            <p:ph type="hdr" sz="quarter" idx="12"/>
          </p:nvPr>
        </p:nvSpPr>
        <p:spPr/>
        <p:txBody>
          <a:bodyPr/>
          <a:lstStyle/>
          <a:p>
            <a:r>
              <a:rPr lang="en-US" smtClean="0"/>
              <a:t>Microsoft Office365</a:t>
            </a:r>
            <a:endParaRPr lang="en-US" dirty="0"/>
          </a:p>
        </p:txBody>
      </p:sp>
      <p:sp>
        <p:nvSpPr>
          <p:cNvPr id="7" name="Footer Placeholder 6"/>
          <p:cNvSpPr>
            <a:spLocks noGrp="1"/>
          </p:cNvSpPr>
          <p:nvPr>
            <p:ph type="ftr" sz="quarter" idx="13"/>
          </p:nvPr>
        </p:nvSpPr>
        <p:spPr/>
        <p:txBody>
          <a:bodyPr/>
          <a:lstStyle/>
          <a:p>
            <a:pPr marL="231775" defTabSz="914099" eaLnBrk="0" hangingPunct="0"/>
            <a:r>
              <a:rPr lang="en-US" sz="500" smtClean="0">
                <a:gradFill>
                  <a:gsLst>
                    <a:gs pos="0">
                      <a:schemeClr val="tx1"/>
                    </a:gs>
                    <a:gs pos="100000">
                      <a:schemeClr val="tx1"/>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231775" defTabSz="914099" eaLnBrk="0" hangingPunct="0"/>
            <a:r>
              <a:rPr lang="en-US" sz="500" smtClean="0">
                <a:gradFill>
                  <a:gsLst>
                    <a:gs pos="0">
                      <a:schemeClr val="tx1"/>
                    </a:gs>
                    <a:gs pos="100000">
                      <a:schemeClr val="tx1"/>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5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34891328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fld id="{56A05535-06F9-454B-8A1D-4F6D4EF35875}" type="datetime1">
              <a:rPr lang="en-US" smtClean="0"/>
              <a:t>9/11/2014</a:t>
            </a:fld>
            <a:endParaRPr lang="en-US" dirty="0"/>
          </a:p>
        </p:txBody>
      </p:sp>
      <p:sp>
        <p:nvSpPr>
          <p:cNvPr id="5" name="Slide Number Placeholder 4"/>
          <p:cNvSpPr>
            <a:spLocks noGrp="1"/>
          </p:cNvSpPr>
          <p:nvPr>
            <p:ph type="sldNum" sz="quarter" idx="11"/>
          </p:nvPr>
        </p:nvSpPr>
        <p:spPr/>
        <p:txBody>
          <a:bodyPr/>
          <a:lstStyle/>
          <a:p>
            <a:fld id="{B4008EB6-D09E-4580-8CD6-DDB14511944F}" type="slidenum">
              <a:rPr lang="en-US" smtClean="0"/>
              <a:t>21</a:t>
            </a:fld>
            <a:endParaRPr lang="en-US" dirty="0"/>
          </a:p>
        </p:txBody>
      </p:sp>
      <p:sp>
        <p:nvSpPr>
          <p:cNvPr id="6" name="Header Placeholder 5"/>
          <p:cNvSpPr>
            <a:spLocks noGrp="1"/>
          </p:cNvSpPr>
          <p:nvPr>
            <p:ph type="hdr" sz="quarter" idx="12"/>
          </p:nvPr>
        </p:nvSpPr>
        <p:spPr/>
        <p:txBody>
          <a:bodyPr/>
          <a:lstStyle/>
          <a:p>
            <a:r>
              <a:rPr lang="en-US" smtClean="0"/>
              <a:t>Microsoft Office365</a:t>
            </a:r>
            <a:endParaRPr lang="en-US" dirty="0"/>
          </a:p>
        </p:txBody>
      </p:sp>
      <p:sp>
        <p:nvSpPr>
          <p:cNvPr id="7" name="Footer Placeholder 6"/>
          <p:cNvSpPr>
            <a:spLocks noGrp="1"/>
          </p:cNvSpPr>
          <p:nvPr>
            <p:ph type="ftr" sz="quarter" idx="13"/>
          </p:nvPr>
        </p:nvSpPr>
        <p:spPr/>
        <p:txBody>
          <a:bodyPr/>
          <a:lstStyle/>
          <a:p>
            <a:pPr marL="231775" defTabSz="914099" eaLnBrk="0" hangingPunct="0"/>
            <a:r>
              <a:rPr lang="en-US" sz="500" smtClean="0">
                <a:gradFill>
                  <a:gsLst>
                    <a:gs pos="0">
                      <a:schemeClr val="tx1"/>
                    </a:gs>
                    <a:gs pos="100000">
                      <a:schemeClr val="tx1"/>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231775" defTabSz="914099" eaLnBrk="0" hangingPunct="0"/>
            <a:r>
              <a:rPr lang="en-US" sz="500" smtClean="0">
                <a:gradFill>
                  <a:gsLst>
                    <a:gs pos="0">
                      <a:schemeClr val="tx1"/>
                    </a:gs>
                    <a:gs pos="100000">
                      <a:schemeClr val="tx1"/>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5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64339388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sz="900" b="0" i="0" u="none" strike="noStrike" kern="1200" baseline="0" dirty="0" smtClean="0">
                <a:solidFill>
                  <a:schemeClr val="tx1"/>
                </a:solidFill>
                <a:latin typeface="Segoe UI Light" pitchFamily="34" charset="0"/>
                <a:ea typeface="+mn-ea"/>
                <a:cs typeface="+mn-cs"/>
              </a:rPr>
              <a:t>Here’s a side by side comparison of some of the Office 365 plans.</a:t>
            </a:r>
          </a:p>
          <a:p>
            <a:pPr rtl="0"/>
            <a:endParaRPr lang="en-US" sz="900" b="0" i="0" u="none" strike="noStrike" kern="1200" baseline="0" dirty="0" smtClean="0">
              <a:solidFill>
                <a:schemeClr val="tx1"/>
              </a:solidFill>
              <a:latin typeface="Segoe UI Light" pitchFamily="34" charset="0"/>
              <a:ea typeface="+mn-ea"/>
              <a:cs typeface="+mn-cs"/>
            </a:endParaRPr>
          </a:p>
          <a:p>
            <a:pPr marL="0" indent="0">
              <a:buFontTx/>
              <a:buNone/>
            </a:pPr>
            <a:endParaRPr lang="en-US" sz="900" dirty="0" smtClean="0">
              <a:solidFill>
                <a:prstClr val="black"/>
              </a:solidFill>
            </a:endParaRPr>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9/11/2014</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22</a:t>
            </a:fld>
            <a:endParaRPr lang="en-US" dirty="0"/>
          </a:p>
        </p:txBody>
      </p:sp>
    </p:spTree>
    <p:extLst>
      <p:ext uri="{BB962C8B-B14F-4D97-AF65-F5344CB8AC3E}">
        <p14:creationId xmlns:p14="http://schemas.microsoft.com/office/powerpoint/2010/main" val="75432197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eaLnBrk="1" fontAlgn="t" latinLnBrk="0" hangingPunct="1"/>
            <a:r>
              <a:rPr lang="en-US" sz="900" b="1" i="0" u="none" strike="noStrike" kern="1200" dirty="0" smtClean="0">
                <a:solidFill>
                  <a:schemeClr val="tx1"/>
                </a:solidFill>
                <a:effectLst/>
                <a:latin typeface="Segoe UI Light" pitchFamily="34" charset="0"/>
                <a:ea typeface="+mn-ea"/>
                <a:cs typeface="+mn-cs"/>
              </a:rPr>
              <a:t>Excel 2013:</a:t>
            </a:r>
            <a:r>
              <a:rPr lang="en-US" sz="900" b="0" i="0" u="none" strike="noStrike" kern="1200" baseline="0" dirty="0" smtClean="0">
                <a:solidFill>
                  <a:schemeClr val="tx1"/>
                </a:solidFill>
                <a:effectLst/>
                <a:latin typeface="Segoe UI Light" pitchFamily="34" charset="0"/>
                <a:ea typeface="+mn-ea"/>
                <a:cs typeface="+mn-cs"/>
              </a:rPr>
              <a:t> E</a:t>
            </a:r>
            <a:r>
              <a:rPr lang="en-US" sz="900" b="0" i="0" u="none" strike="noStrike" kern="1200" dirty="0" smtClean="0">
                <a:solidFill>
                  <a:schemeClr val="tx1"/>
                </a:solidFill>
                <a:effectLst/>
                <a:latin typeface="Segoe UI Light" pitchFamily="34" charset="0"/>
                <a:ea typeface="+mn-ea"/>
                <a:cs typeface="+mn-cs"/>
              </a:rPr>
              <a:t>asily discover, visualize and share insights from your data. </a:t>
            </a:r>
            <a:r>
              <a:rPr lang="en-US" sz="900" b="1" i="0" u="none" strike="noStrike" kern="1200" dirty="0" smtClean="0">
                <a:solidFill>
                  <a:schemeClr val="tx1"/>
                </a:solidFill>
                <a:effectLst/>
                <a:latin typeface="Segoe UI Light" pitchFamily="34" charset="0"/>
                <a:ea typeface="+mn-ea"/>
                <a:cs typeface="+mn-cs"/>
              </a:rPr>
              <a:t>Quick Analysis</a:t>
            </a:r>
            <a:r>
              <a:rPr lang="en-US" sz="900" b="0" i="0" u="none" strike="noStrike" kern="1200" dirty="0" smtClean="0">
                <a:solidFill>
                  <a:schemeClr val="tx1"/>
                </a:solidFill>
                <a:effectLst/>
                <a:latin typeface="Segoe UI Light" pitchFamily="34" charset="0"/>
                <a:ea typeface="+mn-ea"/>
                <a:cs typeface="+mn-cs"/>
              </a:rPr>
              <a:t> converts your data into a chart or table in two steps. </a:t>
            </a:r>
            <a:r>
              <a:rPr lang="en-US" sz="900" b="1" i="0" u="none" strike="noStrike" kern="1200" dirty="0" smtClean="0">
                <a:solidFill>
                  <a:schemeClr val="tx1"/>
                </a:solidFill>
                <a:effectLst/>
                <a:latin typeface="Segoe UI Light" pitchFamily="34" charset="0"/>
                <a:ea typeface="+mn-ea"/>
                <a:cs typeface="+mn-cs"/>
              </a:rPr>
              <a:t>Flash Fill </a:t>
            </a:r>
            <a:r>
              <a:rPr lang="en-US" sz="900" b="0" i="0" u="none" strike="noStrike" kern="1200" dirty="0" smtClean="0">
                <a:solidFill>
                  <a:schemeClr val="tx1"/>
                </a:solidFill>
                <a:effectLst/>
                <a:latin typeface="Segoe UI Light" pitchFamily="34" charset="0"/>
                <a:ea typeface="+mn-ea"/>
                <a:cs typeface="+mn-cs"/>
              </a:rPr>
              <a:t>recognizes your action patterns and auto-completes the remaining data for you, while </a:t>
            </a:r>
            <a:r>
              <a:rPr lang="en-US" sz="900" b="1" i="0" u="none" strike="noStrike" kern="1200" dirty="0" smtClean="0">
                <a:solidFill>
                  <a:schemeClr val="tx1"/>
                </a:solidFill>
                <a:effectLst/>
                <a:latin typeface="Segoe UI Light" pitchFamily="34" charset="0"/>
                <a:ea typeface="+mn-ea"/>
                <a:cs typeface="+mn-cs"/>
              </a:rPr>
              <a:t>Recommended Charts </a:t>
            </a:r>
            <a:r>
              <a:rPr lang="en-US" sz="900" b="0" i="0" u="none" strike="noStrike" kern="1200" dirty="0" smtClean="0">
                <a:solidFill>
                  <a:schemeClr val="tx1"/>
                </a:solidFill>
                <a:effectLst/>
                <a:latin typeface="Segoe UI Light" pitchFamily="34" charset="0"/>
                <a:ea typeface="+mn-ea"/>
                <a:cs typeface="+mn-cs"/>
              </a:rPr>
              <a:t>recommends the most suitable charts based on patterns in your data.</a:t>
            </a:r>
          </a:p>
          <a:p>
            <a:pPr rtl="0" eaLnBrk="1" fontAlgn="t" latinLnBrk="0" hangingPunct="1"/>
            <a:endParaRPr lang="en-US" sz="900" b="0" i="0" u="none" strike="noStrike" kern="1200" dirty="0" smtClean="0">
              <a:solidFill>
                <a:schemeClr val="tx1"/>
              </a:solidFill>
              <a:effectLst/>
              <a:latin typeface="Segoe UI Light" pitchFamily="34" charset="0"/>
              <a:ea typeface="+mn-ea"/>
              <a:cs typeface="+mn-cs"/>
            </a:endParaRPr>
          </a:p>
          <a:p>
            <a:pPr rtl="0" eaLnBrk="1" fontAlgn="t" latinLnBrk="0" hangingPunct="1"/>
            <a:r>
              <a:rPr lang="en-US" sz="900" b="1" i="0" u="none" strike="noStrike" kern="1200" dirty="0" smtClean="0">
                <a:solidFill>
                  <a:schemeClr val="tx1"/>
                </a:solidFill>
                <a:effectLst/>
                <a:latin typeface="Segoe UI Light" pitchFamily="34" charset="0"/>
                <a:ea typeface="+mn-ea"/>
                <a:cs typeface="+mn-cs"/>
              </a:rPr>
              <a:t>Outlook 2013:</a:t>
            </a:r>
            <a:r>
              <a:rPr lang="en-US" sz="900" b="0" i="0" u="none" strike="noStrike" kern="1200" dirty="0" smtClean="0">
                <a:solidFill>
                  <a:schemeClr val="tx1"/>
                </a:solidFill>
                <a:effectLst/>
                <a:latin typeface="Segoe UI Light" pitchFamily="34" charset="0"/>
                <a:ea typeface="+mn-ea"/>
                <a:cs typeface="+mn-cs"/>
              </a:rPr>
              <a:t> Take control of your day. Manage your email, schedules, contacts, and to-do items.</a:t>
            </a:r>
            <a:r>
              <a:rPr lang="en-US" sz="900" b="0" i="0" u="none" strike="noStrike" kern="1200" baseline="0" dirty="0" smtClean="0">
                <a:solidFill>
                  <a:schemeClr val="tx1"/>
                </a:solidFill>
                <a:effectLst/>
                <a:latin typeface="Segoe UI Light" pitchFamily="34" charset="0"/>
                <a:ea typeface="+mn-ea"/>
                <a:cs typeface="+mn-cs"/>
              </a:rPr>
              <a:t> Respond faster with </a:t>
            </a:r>
            <a:r>
              <a:rPr lang="en-US" sz="900" b="1" i="0" u="none" strike="noStrike" kern="1200" baseline="0" dirty="0" smtClean="0">
                <a:solidFill>
                  <a:schemeClr val="tx1"/>
                </a:solidFill>
                <a:effectLst/>
                <a:latin typeface="Segoe UI Light" pitchFamily="34" charset="0"/>
                <a:ea typeface="+mn-ea"/>
                <a:cs typeface="+mn-cs"/>
              </a:rPr>
              <a:t>Inline Replies</a:t>
            </a:r>
            <a:r>
              <a:rPr lang="en-US" sz="900" b="0" i="0" u="none" strike="noStrike" kern="1200" baseline="0" dirty="0" smtClean="0">
                <a:solidFill>
                  <a:schemeClr val="tx1"/>
                </a:solidFill>
                <a:effectLst/>
                <a:latin typeface="Segoe UI Light" pitchFamily="34" charset="0"/>
                <a:ea typeface="+mn-ea"/>
                <a:cs typeface="+mn-cs"/>
              </a:rPr>
              <a:t>, typing your response right in the reading pane. </a:t>
            </a:r>
            <a:r>
              <a:rPr lang="en-US" sz="900" b="1" i="0" u="none" strike="noStrike" kern="1200" baseline="0" dirty="0" smtClean="0">
                <a:solidFill>
                  <a:schemeClr val="tx1"/>
                </a:solidFill>
                <a:effectLst/>
                <a:latin typeface="Segoe UI Light" pitchFamily="34" charset="0"/>
                <a:ea typeface="+mn-ea"/>
                <a:cs typeface="+mn-cs"/>
              </a:rPr>
              <a:t>Sneak a peak </a:t>
            </a:r>
            <a:r>
              <a:rPr lang="en-US" sz="900" b="0" i="0" u="none" strike="noStrike" kern="1200" baseline="0" dirty="0" smtClean="0">
                <a:solidFill>
                  <a:schemeClr val="tx1"/>
                </a:solidFill>
                <a:effectLst/>
                <a:latin typeface="Segoe UI Light" pitchFamily="34" charset="0"/>
                <a:ea typeface="+mn-ea"/>
                <a:cs typeface="+mn-cs"/>
              </a:rPr>
              <a:t>at your schedule, appointments, contacts and more without having to switch from email to calendar, contacts or tasks, and </a:t>
            </a:r>
            <a:r>
              <a:rPr lang="en-US" sz="900" b="1" i="0" u="none" strike="noStrike" kern="1200" baseline="0" dirty="0" smtClean="0">
                <a:solidFill>
                  <a:schemeClr val="tx1"/>
                </a:solidFill>
                <a:effectLst/>
                <a:latin typeface="Segoe UI Light" pitchFamily="34" charset="0"/>
                <a:ea typeface="+mn-ea"/>
                <a:cs typeface="+mn-cs"/>
              </a:rPr>
              <a:t>Quick action commands </a:t>
            </a:r>
            <a:r>
              <a:rPr lang="en-US" sz="900" b="0" i="0" u="none" strike="noStrike" kern="1200" baseline="0" dirty="0" smtClean="0">
                <a:solidFill>
                  <a:schemeClr val="tx1"/>
                </a:solidFill>
                <a:effectLst/>
                <a:latin typeface="Segoe UI Light" pitchFamily="34" charset="0"/>
                <a:ea typeface="+mn-ea"/>
                <a:cs typeface="+mn-cs"/>
              </a:rPr>
              <a:t>let you flag, delete or mark your messages with handy commands in the message list. </a:t>
            </a:r>
            <a:endParaRPr lang="en-US" sz="900" b="0" i="0" u="none" strike="noStrike" kern="1200" dirty="0" smtClean="0">
              <a:solidFill>
                <a:schemeClr val="tx1"/>
              </a:solidFill>
              <a:effectLst/>
              <a:latin typeface="Segoe UI Light" pitchFamily="34" charset="0"/>
              <a:ea typeface="+mn-ea"/>
              <a:cs typeface="+mn-cs"/>
            </a:endParaRPr>
          </a:p>
          <a:p>
            <a:pPr rtl="0" eaLnBrk="1" fontAlgn="t" latinLnBrk="0" hangingPunct="1"/>
            <a:endParaRPr lang="en-US" sz="900" b="1" i="0" u="none" strike="noStrike" kern="1200" dirty="0" smtClean="0">
              <a:solidFill>
                <a:schemeClr val="tx1"/>
              </a:solidFill>
              <a:effectLst/>
              <a:latin typeface="Segoe UI Light" pitchFamily="34" charset="0"/>
              <a:ea typeface="+mn-ea"/>
              <a:cs typeface="+mn-cs"/>
            </a:endParaRPr>
          </a:p>
          <a:p>
            <a:pPr rtl="0" eaLnBrk="1" fontAlgn="t" latinLnBrk="0" hangingPunct="1"/>
            <a:r>
              <a:rPr lang="en-US" sz="900" b="1" i="0" u="none" strike="noStrike" kern="1200" dirty="0" smtClean="0">
                <a:solidFill>
                  <a:schemeClr val="tx1"/>
                </a:solidFill>
                <a:effectLst/>
                <a:latin typeface="Segoe UI Light" pitchFamily="34" charset="0"/>
                <a:ea typeface="+mn-ea"/>
                <a:cs typeface="+mn-cs"/>
              </a:rPr>
              <a:t>PowerPoint</a:t>
            </a:r>
            <a:r>
              <a:rPr lang="en-US" sz="900" b="1" i="0" u="none" strike="noStrike" kern="1200" baseline="0" dirty="0" smtClean="0">
                <a:solidFill>
                  <a:schemeClr val="tx1"/>
                </a:solidFill>
                <a:effectLst/>
                <a:latin typeface="Segoe UI Light" pitchFamily="34" charset="0"/>
                <a:ea typeface="+mn-ea"/>
                <a:cs typeface="+mn-cs"/>
              </a:rPr>
              <a:t> 2013:</a:t>
            </a:r>
            <a:r>
              <a:rPr lang="en-US" sz="900" b="0" i="0" u="none" strike="noStrike" kern="1200" baseline="0" dirty="0" smtClean="0">
                <a:solidFill>
                  <a:schemeClr val="tx1"/>
                </a:solidFill>
                <a:effectLst/>
                <a:latin typeface="Segoe UI Light" pitchFamily="34" charset="0"/>
                <a:ea typeface="+mn-ea"/>
                <a:cs typeface="+mn-cs"/>
              </a:rPr>
              <a:t> Design and work together with intuitive tools that help your presentation stand out. </a:t>
            </a:r>
            <a:r>
              <a:rPr lang="en-US" sz="900" b="1" i="0" u="none" strike="noStrike" kern="1200" baseline="0" dirty="0" smtClean="0">
                <a:solidFill>
                  <a:schemeClr val="tx1"/>
                </a:solidFill>
                <a:effectLst/>
                <a:latin typeface="Segoe UI Light" pitchFamily="34" charset="0"/>
                <a:ea typeface="+mn-ea"/>
                <a:cs typeface="+mn-cs"/>
              </a:rPr>
              <a:t>Presenter View</a:t>
            </a:r>
            <a:r>
              <a:rPr lang="en-US" sz="900" b="0" i="0" u="none" strike="noStrike" kern="1200" baseline="0" dirty="0" smtClean="0">
                <a:solidFill>
                  <a:schemeClr val="tx1"/>
                </a:solidFill>
                <a:effectLst/>
                <a:latin typeface="Segoe UI Light" pitchFamily="34" charset="0"/>
                <a:ea typeface="+mn-ea"/>
                <a:cs typeface="+mn-cs"/>
              </a:rPr>
              <a:t> lets you see your notes, jump between non-consecutive slides, swap presentation displays and annotate directly on your slides to nail your presentation. Improved design tools like </a:t>
            </a:r>
            <a:r>
              <a:rPr lang="en-US" sz="900" b="1" i="0" u="none" strike="noStrike" kern="1200" baseline="0" dirty="0" smtClean="0">
                <a:solidFill>
                  <a:schemeClr val="tx1"/>
                </a:solidFill>
                <a:effectLst/>
                <a:latin typeface="Segoe UI Light" pitchFamily="34" charset="0"/>
                <a:ea typeface="+mn-ea"/>
                <a:cs typeface="+mn-cs"/>
              </a:rPr>
              <a:t>Alignment Guides</a:t>
            </a:r>
            <a:r>
              <a:rPr lang="en-US" sz="900" b="0" i="0" u="none" strike="noStrike" kern="1200" baseline="0" dirty="0" smtClean="0">
                <a:solidFill>
                  <a:schemeClr val="tx1"/>
                </a:solidFill>
                <a:effectLst/>
                <a:latin typeface="Segoe UI Light" pitchFamily="34" charset="0"/>
                <a:ea typeface="+mn-ea"/>
                <a:cs typeface="+mn-cs"/>
              </a:rPr>
              <a:t> and</a:t>
            </a:r>
            <a:r>
              <a:rPr lang="en-US" sz="900" b="1" i="0" u="none" strike="noStrike" kern="1200" baseline="0" dirty="0" smtClean="0">
                <a:solidFill>
                  <a:schemeClr val="tx1"/>
                </a:solidFill>
                <a:effectLst/>
                <a:latin typeface="Segoe UI Light" pitchFamily="34" charset="0"/>
                <a:ea typeface="+mn-ea"/>
                <a:cs typeface="+mn-cs"/>
              </a:rPr>
              <a:t> Eyedropper</a:t>
            </a:r>
            <a:r>
              <a:rPr lang="en-US" sz="900" b="0" i="0" u="none" strike="noStrike" kern="1200" baseline="0" dirty="0" smtClean="0">
                <a:solidFill>
                  <a:schemeClr val="tx1"/>
                </a:solidFill>
                <a:effectLst/>
                <a:latin typeface="Segoe UI Light" pitchFamily="34" charset="0"/>
                <a:ea typeface="+mn-ea"/>
                <a:cs typeface="+mn-cs"/>
              </a:rPr>
              <a:t> simplify slide design, and </a:t>
            </a:r>
            <a:r>
              <a:rPr lang="en-US" sz="900" b="1" i="0" u="none" strike="noStrike" kern="1200" baseline="0" dirty="0" smtClean="0">
                <a:solidFill>
                  <a:schemeClr val="tx1"/>
                </a:solidFill>
                <a:effectLst/>
                <a:latin typeface="Segoe UI Light" pitchFamily="34" charset="0"/>
                <a:ea typeface="+mn-ea"/>
                <a:cs typeface="+mn-cs"/>
              </a:rPr>
              <a:t>Reply Comment</a:t>
            </a:r>
            <a:r>
              <a:rPr lang="en-US" sz="900" b="0" i="0" u="none" strike="noStrike" kern="1200" baseline="0" dirty="0" smtClean="0">
                <a:solidFill>
                  <a:schemeClr val="tx1"/>
                </a:solidFill>
                <a:effectLst/>
                <a:latin typeface="Segoe UI Light" pitchFamily="34" charset="0"/>
                <a:ea typeface="+mn-ea"/>
                <a:cs typeface="+mn-cs"/>
              </a:rPr>
              <a:t> tracks comments and replies right next to the relevant text or graphic.</a:t>
            </a:r>
            <a:endParaRPr lang="en-US" sz="900" b="0" i="0" u="none" strike="noStrike" kern="1200" dirty="0" smtClean="0">
              <a:solidFill>
                <a:schemeClr val="tx1"/>
              </a:solidFill>
              <a:effectLst/>
              <a:latin typeface="Segoe UI Light" pitchFamily="34" charset="0"/>
              <a:ea typeface="+mn-ea"/>
              <a:cs typeface="+mn-cs"/>
            </a:endParaRPr>
          </a:p>
          <a:p>
            <a:pPr rtl="0" eaLnBrk="1" fontAlgn="t" latinLnBrk="0" hangingPunct="1"/>
            <a:endParaRPr lang="en-US" sz="900" b="1" i="0" u="none" strike="noStrike" kern="1200" dirty="0" smtClean="0">
              <a:solidFill>
                <a:schemeClr val="tx1"/>
              </a:solidFill>
              <a:effectLst/>
              <a:latin typeface="Segoe UI Light" pitchFamily="34" charset="0"/>
              <a:ea typeface="+mn-ea"/>
              <a:cs typeface="+mn-cs"/>
            </a:endParaRPr>
          </a:p>
          <a:p>
            <a:pPr rtl="0" eaLnBrk="1" fontAlgn="t" latinLnBrk="0" hangingPunct="1"/>
            <a:r>
              <a:rPr lang="en-US" sz="900" b="1" i="0" u="none" strike="noStrike" kern="1200" dirty="0" smtClean="0">
                <a:solidFill>
                  <a:schemeClr val="tx1"/>
                </a:solidFill>
                <a:effectLst/>
                <a:latin typeface="Segoe UI Light" pitchFamily="34" charset="0"/>
                <a:ea typeface="+mn-ea"/>
                <a:cs typeface="+mn-cs"/>
              </a:rPr>
              <a:t>Word 2013:</a:t>
            </a:r>
            <a:r>
              <a:rPr lang="en-US" sz="900" b="0" i="0" u="none" strike="noStrike" kern="1200" dirty="0" smtClean="0">
                <a:solidFill>
                  <a:schemeClr val="tx1"/>
                </a:solidFill>
                <a:effectLst/>
                <a:latin typeface="Segoe UI Light" pitchFamily="34" charset="0"/>
                <a:ea typeface="+mn-ea"/>
                <a:cs typeface="+mn-cs"/>
              </a:rPr>
              <a:t> Create beautiful documents, easily work with others and enjoy reading. </a:t>
            </a:r>
            <a:r>
              <a:rPr lang="en-US" sz="900" b="1" i="0" u="none" strike="noStrike" kern="1200" dirty="0" smtClean="0">
                <a:solidFill>
                  <a:schemeClr val="tx1"/>
                </a:solidFill>
                <a:effectLst/>
                <a:latin typeface="Segoe UI Light" pitchFamily="34" charset="0"/>
                <a:ea typeface="+mn-ea"/>
                <a:cs typeface="+mn-cs"/>
              </a:rPr>
              <a:t>PDF Reflow</a:t>
            </a:r>
            <a:r>
              <a:rPr lang="en-US" sz="900" b="0" i="0" u="none" strike="noStrike" kern="1200" dirty="0" smtClean="0">
                <a:solidFill>
                  <a:schemeClr val="tx1"/>
                </a:solidFill>
                <a:effectLst/>
                <a:latin typeface="Segoe UI Light" pitchFamily="34" charset="0"/>
                <a:ea typeface="+mn-ea"/>
                <a:cs typeface="+mn-cs"/>
              </a:rPr>
              <a:t> lets</a:t>
            </a:r>
            <a:r>
              <a:rPr lang="en-US" sz="900" b="0" i="0" u="none" strike="noStrike" kern="1200" baseline="0" dirty="0" smtClean="0">
                <a:solidFill>
                  <a:schemeClr val="tx1"/>
                </a:solidFill>
                <a:effectLst/>
                <a:latin typeface="Segoe UI Light" pitchFamily="34" charset="0"/>
                <a:ea typeface="+mn-ea"/>
                <a:cs typeface="+mn-cs"/>
              </a:rPr>
              <a:t> you o</a:t>
            </a:r>
            <a:r>
              <a:rPr lang="en-US" sz="900" b="0" i="0" u="none" strike="noStrike" kern="1200" dirty="0" smtClean="0">
                <a:solidFill>
                  <a:schemeClr val="tx1"/>
                </a:solidFill>
                <a:effectLst/>
                <a:latin typeface="Segoe UI Light" pitchFamily="34" charset="0"/>
                <a:ea typeface="+mn-ea"/>
                <a:cs typeface="+mn-cs"/>
              </a:rPr>
              <a:t>pen and edit a PDF in Word. </a:t>
            </a:r>
            <a:r>
              <a:rPr lang="en-US" sz="900" b="1" i="0" u="none" strike="noStrike" kern="1200" dirty="0" smtClean="0">
                <a:solidFill>
                  <a:schemeClr val="tx1"/>
                </a:solidFill>
                <a:effectLst/>
                <a:latin typeface="Segoe UI Light" pitchFamily="34" charset="0"/>
                <a:ea typeface="+mn-ea"/>
                <a:cs typeface="+mn-cs"/>
              </a:rPr>
              <a:t>Live Layout</a:t>
            </a:r>
            <a:r>
              <a:rPr lang="en-US" sz="900" b="0" i="0" u="none" strike="noStrike" kern="1200" dirty="0" smtClean="0">
                <a:solidFill>
                  <a:schemeClr val="tx1"/>
                </a:solidFill>
                <a:effectLst/>
                <a:latin typeface="Segoe UI Light" pitchFamily="34" charset="0"/>
                <a:ea typeface="+mn-ea"/>
                <a:cs typeface="+mn-cs"/>
              </a:rPr>
              <a:t> and</a:t>
            </a:r>
            <a:r>
              <a:rPr lang="en-US" sz="900" b="0" i="0" u="none" strike="noStrike" kern="1200" baseline="0" dirty="0" smtClean="0">
                <a:solidFill>
                  <a:schemeClr val="tx1"/>
                </a:solidFill>
                <a:effectLst/>
                <a:latin typeface="Segoe UI Light" pitchFamily="34" charset="0"/>
                <a:ea typeface="+mn-ea"/>
                <a:cs typeface="+mn-cs"/>
              </a:rPr>
              <a:t> </a:t>
            </a:r>
            <a:r>
              <a:rPr lang="en-US" sz="900" b="1" i="0" u="none" strike="noStrike" kern="1200" dirty="0" smtClean="0">
                <a:solidFill>
                  <a:schemeClr val="tx1"/>
                </a:solidFill>
                <a:effectLst/>
                <a:latin typeface="Segoe UI Light" pitchFamily="34" charset="0"/>
                <a:ea typeface="+mn-ea"/>
                <a:cs typeface="+mn-cs"/>
              </a:rPr>
              <a:t>Alignment guides</a:t>
            </a:r>
            <a:r>
              <a:rPr lang="en-US" sz="900" b="0" i="0" u="none" strike="noStrike" kern="1200" dirty="0" smtClean="0">
                <a:solidFill>
                  <a:schemeClr val="tx1"/>
                </a:solidFill>
                <a:effectLst/>
                <a:latin typeface="Segoe UI Light" pitchFamily="34" charset="0"/>
                <a:ea typeface="+mn-ea"/>
                <a:cs typeface="+mn-cs"/>
              </a:rPr>
              <a:t> make it easy to line up charts</a:t>
            </a:r>
            <a:r>
              <a:rPr lang="en-US" sz="900" b="0" i="0" u="none" strike="noStrike" kern="1200" baseline="0" dirty="0" smtClean="0">
                <a:solidFill>
                  <a:schemeClr val="tx1"/>
                </a:solidFill>
                <a:effectLst/>
                <a:latin typeface="Segoe UI Light" pitchFamily="34" charset="0"/>
                <a:ea typeface="+mn-ea"/>
                <a:cs typeface="+mn-cs"/>
              </a:rPr>
              <a:t> and </a:t>
            </a:r>
            <a:r>
              <a:rPr lang="en-US" sz="900" b="0" i="0" u="none" strike="noStrike" kern="1200" dirty="0" smtClean="0">
                <a:solidFill>
                  <a:schemeClr val="tx1"/>
                </a:solidFill>
                <a:effectLst/>
                <a:latin typeface="Segoe UI Light" pitchFamily="34" charset="0"/>
                <a:ea typeface="+mn-ea"/>
                <a:cs typeface="+mn-cs"/>
              </a:rPr>
              <a:t>photos with and through your text, while</a:t>
            </a:r>
            <a:r>
              <a:rPr lang="en-US" sz="900" b="0" i="0" u="none" strike="noStrike" kern="1200" baseline="0" dirty="0" smtClean="0">
                <a:solidFill>
                  <a:schemeClr val="tx1"/>
                </a:solidFill>
                <a:effectLst/>
                <a:latin typeface="Segoe UI Light" pitchFamily="34" charset="0"/>
                <a:ea typeface="+mn-ea"/>
                <a:cs typeface="+mn-cs"/>
              </a:rPr>
              <a:t> </a:t>
            </a:r>
            <a:r>
              <a:rPr lang="en-US" sz="900" b="1" i="0" u="none" strike="noStrike" kern="1200" dirty="0" smtClean="0">
                <a:solidFill>
                  <a:schemeClr val="tx1"/>
                </a:solidFill>
                <a:effectLst/>
                <a:latin typeface="Segoe UI Light" pitchFamily="34" charset="0"/>
                <a:ea typeface="+mn-ea"/>
                <a:cs typeface="+mn-cs"/>
              </a:rPr>
              <a:t>Reply</a:t>
            </a:r>
            <a:r>
              <a:rPr lang="en-US" sz="900" b="1" i="0" u="none" strike="noStrike" kern="1200" baseline="0" dirty="0" smtClean="0">
                <a:solidFill>
                  <a:schemeClr val="tx1"/>
                </a:solidFill>
                <a:effectLst/>
                <a:latin typeface="Segoe UI Light" pitchFamily="34" charset="0"/>
                <a:ea typeface="+mn-ea"/>
                <a:cs typeface="+mn-cs"/>
              </a:rPr>
              <a:t> Comment</a:t>
            </a:r>
            <a:r>
              <a:rPr lang="en-US" sz="900" b="0" i="0" u="none" strike="noStrike" kern="1200" baseline="0" dirty="0" smtClean="0">
                <a:solidFill>
                  <a:schemeClr val="tx1"/>
                </a:solidFill>
                <a:effectLst/>
                <a:latin typeface="Segoe UI Light" pitchFamily="34" charset="0"/>
                <a:ea typeface="+mn-ea"/>
                <a:cs typeface="+mn-cs"/>
              </a:rPr>
              <a:t> simplifies reading and tracking comments</a:t>
            </a:r>
            <a:r>
              <a:rPr lang="en-US" sz="900" b="0" i="0" u="none" strike="noStrike" kern="1200" dirty="0" smtClean="0">
                <a:solidFill>
                  <a:schemeClr val="tx1"/>
                </a:solidFill>
                <a:effectLst/>
                <a:latin typeface="Segoe UI Light" pitchFamily="34" charset="0"/>
                <a:ea typeface="+mn-ea"/>
                <a:cs typeface="+mn-cs"/>
              </a:rPr>
              <a:t>. In </a:t>
            </a:r>
            <a:r>
              <a:rPr lang="en-US" sz="900" b="1" i="0" u="none" strike="noStrike" kern="1200" dirty="0" smtClean="0">
                <a:solidFill>
                  <a:schemeClr val="tx1"/>
                </a:solidFill>
                <a:effectLst/>
                <a:latin typeface="Segoe UI Light" pitchFamily="34" charset="0"/>
                <a:ea typeface="+mn-ea"/>
                <a:cs typeface="+mn-cs"/>
              </a:rPr>
              <a:t>Read Mode</a:t>
            </a:r>
            <a:r>
              <a:rPr lang="en-US" sz="900" b="0" i="0" u="none" strike="noStrike" kern="1200" dirty="0" smtClean="0">
                <a:solidFill>
                  <a:schemeClr val="tx1"/>
                </a:solidFill>
                <a:effectLst/>
                <a:latin typeface="Segoe UI Light" pitchFamily="34" charset="0"/>
                <a:ea typeface="+mn-ea"/>
                <a:cs typeface="+mn-cs"/>
              </a:rPr>
              <a:t>,</a:t>
            </a:r>
            <a:r>
              <a:rPr lang="en-US" sz="900" b="0" i="0" u="none" strike="noStrike" kern="1200" baseline="0" dirty="0" smtClean="0">
                <a:solidFill>
                  <a:schemeClr val="tx1"/>
                </a:solidFill>
                <a:effectLst/>
                <a:latin typeface="Segoe UI Light" pitchFamily="34" charset="0"/>
                <a:ea typeface="+mn-ea"/>
                <a:cs typeface="+mn-cs"/>
              </a:rPr>
              <a:t> text reflows automatically in columns for easier on-screen reading, and you can easily zoom in on tables, charts, and images, and have them fill the screen.</a:t>
            </a:r>
            <a:endParaRPr lang="en-US" sz="900" b="0" i="0" u="none" strike="noStrike" kern="1200" dirty="0" smtClean="0">
              <a:solidFill>
                <a:schemeClr val="tx1"/>
              </a:solidFill>
              <a:effectLst/>
              <a:latin typeface="Segoe UI Light" pitchFamily="34" charset="0"/>
              <a:ea typeface="+mn-ea"/>
              <a:cs typeface="+mn-cs"/>
            </a:endParaRPr>
          </a:p>
          <a:p>
            <a:pPr rtl="0" eaLnBrk="1" fontAlgn="t" latinLnBrk="0" hangingPunct="1"/>
            <a:endParaRPr lang="en-US" sz="900" b="1" i="0" u="none" strike="noStrike" kern="1200" dirty="0" smtClean="0">
              <a:solidFill>
                <a:schemeClr val="tx1"/>
              </a:solidFill>
              <a:effectLst/>
              <a:latin typeface="Segoe UI Light" pitchFamily="34" charset="0"/>
              <a:ea typeface="+mn-ea"/>
              <a:cs typeface="+mn-cs"/>
            </a:endParaRPr>
          </a:p>
          <a:p>
            <a:pPr rtl="0" eaLnBrk="1" fontAlgn="t" latinLnBrk="0" hangingPunct="1"/>
            <a:r>
              <a:rPr lang="en-US" sz="900" b="1" i="0" u="none" strike="noStrike" kern="1200" dirty="0" smtClean="0">
                <a:solidFill>
                  <a:schemeClr val="tx1"/>
                </a:solidFill>
                <a:effectLst/>
                <a:latin typeface="Segoe UI Light" pitchFamily="34" charset="0"/>
                <a:ea typeface="+mn-ea"/>
                <a:cs typeface="+mn-cs"/>
              </a:rPr>
              <a:t>OneNote 2013:</a:t>
            </a:r>
            <a:r>
              <a:rPr lang="en-US" sz="900" b="0" i="0" u="none" strike="noStrike" kern="1200" dirty="0" smtClean="0">
                <a:solidFill>
                  <a:schemeClr val="tx1"/>
                </a:solidFill>
                <a:effectLst/>
                <a:latin typeface="Segoe UI Light" pitchFamily="34" charset="0"/>
                <a:ea typeface="+mn-ea"/>
                <a:cs typeface="+mn-cs"/>
              </a:rPr>
              <a:t> Take your notes with you wherever you go. </a:t>
            </a:r>
            <a:r>
              <a:rPr lang="en-US" sz="900" b="1" i="0" u="none" strike="noStrike" kern="1200" dirty="0" smtClean="0">
                <a:solidFill>
                  <a:schemeClr val="tx1"/>
                </a:solidFill>
                <a:effectLst/>
                <a:latin typeface="Segoe UI Light" pitchFamily="34" charset="0"/>
                <a:ea typeface="+mn-ea"/>
                <a:cs typeface="+mn-cs"/>
              </a:rPr>
              <a:t>Capture</a:t>
            </a:r>
            <a:r>
              <a:rPr lang="en-US" sz="900" b="0" i="0" u="none" strike="noStrike" kern="1200" dirty="0" smtClean="0">
                <a:solidFill>
                  <a:schemeClr val="tx1"/>
                </a:solidFill>
                <a:effectLst/>
                <a:latin typeface="Segoe UI Light" pitchFamily="34" charset="0"/>
                <a:ea typeface="+mn-ea"/>
                <a:cs typeface="+mn-cs"/>
              </a:rPr>
              <a:t> typed and handwritten notes, links, web pages, sketches, and videos and other media and assemble it in one handy place. </a:t>
            </a:r>
            <a:r>
              <a:rPr lang="en-US" sz="900" b="1" i="0" u="none" strike="noStrike" kern="1200" dirty="0" smtClean="0">
                <a:solidFill>
                  <a:schemeClr val="tx1"/>
                </a:solidFill>
                <a:effectLst/>
                <a:latin typeface="Segoe UI Light" pitchFamily="34" charset="0"/>
                <a:ea typeface="+mn-ea"/>
                <a:cs typeface="+mn-cs"/>
              </a:rPr>
              <a:t>Search</a:t>
            </a:r>
            <a:r>
              <a:rPr lang="en-US" sz="900" b="0" i="0" u="none" strike="noStrike" kern="1200" dirty="0" smtClean="0">
                <a:solidFill>
                  <a:schemeClr val="tx1"/>
                </a:solidFill>
                <a:effectLst/>
                <a:latin typeface="Segoe UI Light" pitchFamily="34" charset="0"/>
                <a:ea typeface="+mn-ea"/>
                <a:cs typeface="+mn-cs"/>
              </a:rPr>
              <a:t> your notes and files for anything you’ve captured—a particular term in a note, words in a picture, or a title of a file. </a:t>
            </a:r>
            <a:r>
              <a:rPr lang="en-US" sz="900" b="1" i="0" u="none" strike="noStrike" kern="1200" dirty="0" smtClean="0">
                <a:solidFill>
                  <a:schemeClr val="tx1"/>
                </a:solidFill>
                <a:effectLst/>
                <a:latin typeface="Segoe UI Light" pitchFamily="34" charset="0"/>
                <a:ea typeface="+mn-ea"/>
                <a:cs typeface="+mn-cs"/>
              </a:rPr>
              <a:t>Inking</a:t>
            </a:r>
            <a:r>
              <a:rPr lang="en-US" sz="900" b="0" i="0" u="none" strike="noStrike" kern="1200" dirty="0" smtClean="0">
                <a:solidFill>
                  <a:schemeClr val="tx1"/>
                </a:solidFill>
                <a:effectLst/>
                <a:latin typeface="Segoe UI Light" pitchFamily="34" charset="0"/>
                <a:ea typeface="+mn-ea"/>
                <a:cs typeface="+mn-cs"/>
              </a:rPr>
              <a:t> lets you take notes your way – draw, erase, edit with your finger, or convert your handwriting into text. </a:t>
            </a:r>
          </a:p>
          <a:p>
            <a:pPr rtl="0" eaLnBrk="1" fontAlgn="t" latinLnBrk="0" hangingPunct="1"/>
            <a:endParaRPr lang="en-US" sz="900" b="1" i="0" u="none" strike="noStrike" kern="1200" dirty="0" smtClean="0">
              <a:solidFill>
                <a:schemeClr val="tx1"/>
              </a:solidFill>
              <a:effectLst/>
              <a:latin typeface="Segoe UI Light" pitchFamily="34" charset="0"/>
              <a:ea typeface="+mn-ea"/>
              <a:cs typeface="+mn-cs"/>
            </a:endParaRPr>
          </a:p>
          <a:p>
            <a:pPr rtl="0" eaLnBrk="1" fontAlgn="t" latinLnBrk="0" hangingPunct="1"/>
            <a:r>
              <a:rPr lang="en-US" sz="900" b="1" i="0" u="none" strike="noStrike" kern="1200" dirty="0" smtClean="0">
                <a:solidFill>
                  <a:schemeClr val="tx1"/>
                </a:solidFill>
                <a:effectLst/>
                <a:latin typeface="Segoe UI Light" pitchFamily="34" charset="0"/>
                <a:ea typeface="+mn-ea"/>
                <a:cs typeface="+mn-cs"/>
              </a:rPr>
              <a:t>Publisher 2013</a:t>
            </a:r>
            <a:r>
              <a:rPr lang="en-US" sz="900" b="0" i="0" u="none" strike="noStrike" kern="1200" dirty="0" smtClean="0">
                <a:solidFill>
                  <a:schemeClr val="tx1"/>
                </a:solidFill>
                <a:effectLst/>
                <a:latin typeface="Segoe UI Light" pitchFamily="34" charset="0"/>
                <a:ea typeface="+mn-ea"/>
                <a:cs typeface="+mn-cs"/>
              </a:rPr>
              <a:t> Use familiar, simple tools to create and share professional-looking, personalized publications that make an impact. Experiment to find the right image using </a:t>
            </a:r>
            <a:r>
              <a:rPr lang="en-US" sz="900" b="1" i="0" u="none" strike="noStrike" kern="1200" dirty="0" smtClean="0">
                <a:solidFill>
                  <a:schemeClr val="tx1"/>
                </a:solidFill>
                <a:effectLst/>
                <a:latin typeface="Segoe UI Light" pitchFamily="34" charset="0"/>
                <a:ea typeface="+mn-ea"/>
                <a:cs typeface="+mn-cs"/>
              </a:rPr>
              <a:t>Swap Picture</a:t>
            </a:r>
            <a:r>
              <a:rPr lang="en-US" sz="900" b="0" i="0" u="none" strike="noStrike" kern="1200" dirty="0" smtClean="0">
                <a:solidFill>
                  <a:schemeClr val="tx1"/>
                </a:solidFill>
                <a:effectLst/>
                <a:latin typeface="Segoe UI Light" pitchFamily="34" charset="0"/>
                <a:ea typeface="+mn-ea"/>
                <a:cs typeface="+mn-cs"/>
              </a:rPr>
              <a:t> to import all your pictures to a single canvas and swap them in and out of your design with a simple drag and drop, without wasting time. Use expert, attention-grabbing </a:t>
            </a:r>
            <a:r>
              <a:rPr lang="en-US" sz="900" b="1" i="0" u="none" strike="noStrike" kern="1200" dirty="0" smtClean="0">
                <a:solidFill>
                  <a:schemeClr val="tx1"/>
                </a:solidFill>
                <a:effectLst/>
                <a:latin typeface="Segoe UI Light" pitchFamily="34" charset="0"/>
                <a:ea typeface="+mn-ea"/>
                <a:cs typeface="+mn-cs"/>
              </a:rPr>
              <a:t>Effects </a:t>
            </a:r>
            <a:r>
              <a:rPr lang="en-US" sz="900" b="0" i="0" u="none" strike="noStrike" kern="1200" dirty="0" smtClean="0">
                <a:solidFill>
                  <a:schemeClr val="tx1"/>
                </a:solidFill>
                <a:effectLst/>
                <a:latin typeface="Segoe UI Light" pitchFamily="34" charset="0"/>
                <a:ea typeface="+mn-ea"/>
                <a:cs typeface="+mn-cs"/>
              </a:rPr>
              <a:t>for text, shapes and pictures to polish your publication.</a:t>
            </a:r>
            <a:r>
              <a:rPr lang="en-US" sz="900" b="0" i="0" u="none" strike="noStrike" kern="1200" baseline="0" dirty="0" smtClean="0">
                <a:solidFill>
                  <a:schemeClr val="tx1"/>
                </a:solidFill>
                <a:effectLst/>
                <a:latin typeface="Segoe UI Light" pitchFamily="34" charset="0"/>
                <a:ea typeface="+mn-ea"/>
                <a:cs typeface="+mn-cs"/>
              </a:rPr>
              <a:t> </a:t>
            </a:r>
            <a:endParaRPr lang="en-US" sz="900" b="0" i="0" u="none" strike="noStrike" kern="1200" dirty="0" smtClean="0">
              <a:solidFill>
                <a:schemeClr val="tx1"/>
              </a:solidFill>
              <a:effectLst/>
              <a:latin typeface="Segoe UI Light" pitchFamily="34" charset="0"/>
              <a:ea typeface="+mn-ea"/>
              <a:cs typeface="+mn-cs"/>
            </a:endParaRPr>
          </a:p>
          <a:p>
            <a:endParaRPr lang="en-US" dirty="0"/>
          </a:p>
        </p:txBody>
      </p:sp>
      <p:sp>
        <p:nvSpPr>
          <p:cNvPr id="4" name="Date Placeholder 3"/>
          <p:cNvSpPr>
            <a:spLocks noGrp="1"/>
          </p:cNvSpPr>
          <p:nvPr>
            <p:ph type="dt" idx="10"/>
          </p:nvPr>
        </p:nvSpPr>
        <p:spPr/>
        <p:txBody>
          <a:bodyPr/>
          <a:lstStyle/>
          <a:p>
            <a:fld id="{A3038564-28D7-4D14-B9AF-7884C6EBE91D}" type="datetime1">
              <a:rPr lang="en-US" smtClean="0">
                <a:solidFill>
                  <a:prstClr val="black"/>
                </a:solidFill>
              </a:rPr>
              <a:pPr/>
              <a:t>9/11/2014</a:t>
            </a:fld>
            <a:endParaRPr lang="en-US" dirty="0">
              <a:solidFill>
                <a:prstClr val="black"/>
              </a:solidFill>
            </a:endParaRPr>
          </a:p>
        </p:txBody>
      </p:sp>
      <p:sp>
        <p:nvSpPr>
          <p:cNvPr id="5" name="Slide Number Placeholder 4"/>
          <p:cNvSpPr>
            <a:spLocks noGrp="1"/>
          </p:cNvSpPr>
          <p:nvPr>
            <p:ph type="sldNum" sz="quarter" idx="11"/>
          </p:nvPr>
        </p:nvSpPr>
        <p:spPr/>
        <p:txBody>
          <a:bodyPr/>
          <a:lstStyle/>
          <a:p>
            <a:fld id="{B4008EB6-D09E-4580-8CD6-DDB14511944F}" type="slidenum">
              <a:rPr lang="en-US" smtClean="0">
                <a:solidFill>
                  <a:prstClr val="black"/>
                </a:solidFill>
              </a:rPr>
              <a:pPr/>
              <a:t>23</a:t>
            </a:fld>
            <a:endParaRPr lang="en-US" dirty="0">
              <a:solidFill>
                <a:prstClr val="black"/>
              </a:solidFill>
            </a:endParaRPr>
          </a:p>
        </p:txBody>
      </p:sp>
      <p:sp>
        <p:nvSpPr>
          <p:cNvPr id="6" name="Header Placeholder 5"/>
          <p:cNvSpPr>
            <a:spLocks noGrp="1"/>
          </p:cNvSpPr>
          <p:nvPr>
            <p:ph type="hdr" sz="quarter" idx="12"/>
          </p:nvPr>
        </p:nvSpPr>
        <p:spPr/>
        <p:txBody>
          <a:bodyPr/>
          <a:lstStyle/>
          <a:p>
            <a:r>
              <a:rPr lang="en-US" dirty="0" smtClean="0">
                <a:solidFill>
                  <a:prstClr val="black"/>
                </a:solidFill>
              </a:rPr>
              <a:t>Microsoft Office365</a:t>
            </a:r>
            <a:endParaRPr lang="en-US" dirty="0">
              <a:solidFill>
                <a:prstClr val="black"/>
              </a:solidFill>
            </a:endParaRPr>
          </a:p>
        </p:txBody>
      </p:sp>
      <p:sp>
        <p:nvSpPr>
          <p:cNvPr id="7" name="Footer Placeholder 6"/>
          <p:cNvSpPr>
            <a:spLocks noGrp="1"/>
          </p:cNvSpPr>
          <p:nvPr>
            <p:ph type="ftr" sz="quarter" idx="13"/>
          </p:nvPr>
        </p:nvSpPr>
        <p:spPr/>
        <p:txBody>
          <a:bodyPr/>
          <a:lstStyle/>
          <a:p>
            <a:pPr marL="231775" defTabSz="914099" eaLnBrk="0" hangingPunct="0"/>
            <a:r>
              <a:rPr lang="en-US" sz="5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231775" defTabSz="914099" eaLnBrk="0" hangingPunct="0"/>
            <a:r>
              <a:rPr lang="en-US" sz="5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5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55684840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effectLst/>
              </a:rPr>
              <a:t>Be</a:t>
            </a:r>
            <a:r>
              <a:rPr lang="en-US" baseline="0" dirty="0" smtClean="0">
                <a:effectLst/>
              </a:rPr>
              <a:t> more productive without leaving your Office apps. You can download hundreds of applications from the Office store that </a:t>
            </a:r>
            <a:r>
              <a:rPr lang="en-US" dirty="0" smtClean="0">
                <a:effectLst/>
              </a:rPr>
              <a:t>extend what you can do with the latest</a:t>
            </a:r>
            <a:r>
              <a:rPr lang="en-US" baseline="0" dirty="0" smtClean="0">
                <a:effectLst/>
              </a:rPr>
              <a:t> </a:t>
            </a:r>
            <a:r>
              <a:rPr lang="en-US" dirty="0" smtClean="0">
                <a:effectLst/>
              </a:rPr>
              <a:t>version of Office. For example, with apps you can use </a:t>
            </a:r>
            <a:r>
              <a:rPr lang="en-US" dirty="0" smtClean="0">
                <a:effectLst/>
              </a:rPr>
              <a:t>DocuSign </a:t>
            </a:r>
            <a:r>
              <a:rPr lang="en-US" dirty="0" err="1" smtClean="0">
                <a:effectLst/>
              </a:rPr>
              <a:t>eSignature</a:t>
            </a:r>
            <a:r>
              <a:rPr lang="en-US" baseline="0" dirty="0" smtClean="0">
                <a:effectLst/>
              </a:rPr>
              <a:t> </a:t>
            </a:r>
            <a:r>
              <a:rPr lang="en-US" baseline="0" dirty="0" smtClean="0">
                <a:effectLst/>
              </a:rPr>
              <a:t>to save time signing and sending documents without leaving Microsoft Word or create and email profession invoices in just minutes with the PayPal Invoicing app in Excel. </a:t>
            </a:r>
            <a:r>
              <a:rPr lang="en-US" dirty="0" smtClean="0">
                <a:effectLst/>
              </a:rPr>
              <a:t>Apps are available for Word, Excel, Outlook, and PowerPoint.</a:t>
            </a:r>
            <a:r>
              <a:rPr lang="en-US" baseline="0" dirty="0" smtClean="0">
                <a:effectLst/>
              </a:rPr>
              <a:t> </a:t>
            </a:r>
          </a:p>
        </p:txBody>
      </p:sp>
      <p:sp>
        <p:nvSpPr>
          <p:cNvPr id="4" name="Date Placeholder 3"/>
          <p:cNvSpPr>
            <a:spLocks noGrp="1"/>
          </p:cNvSpPr>
          <p:nvPr>
            <p:ph type="dt" idx="10"/>
          </p:nvPr>
        </p:nvSpPr>
        <p:spPr/>
        <p:txBody>
          <a:bodyPr/>
          <a:lstStyle/>
          <a:p>
            <a:fld id="{CA8B5B0B-7951-45E3-97C5-E6D8433B6956}" type="datetime1">
              <a:rPr lang="en-US" smtClean="0"/>
              <a:t>9/11/2014</a:t>
            </a:fld>
            <a:endParaRPr lang="en-US" dirty="0"/>
          </a:p>
        </p:txBody>
      </p:sp>
      <p:sp>
        <p:nvSpPr>
          <p:cNvPr id="5" name="Slide Number Placeholder 4"/>
          <p:cNvSpPr>
            <a:spLocks noGrp="1"/>
          </p:cNvSpPr>
          <p:nvPr>
            <p:ph type="sldNum" sz="quarter" idx="11"/>
          </p:nvPr>
        </p:nvSpPr>
        <p:spPr/>
        <p:txBody>
          <a:bodyPr/>
          <a:lstStyle/>
          <a:p>
            <a:fld id="{B4008EB6-D09E-4580-8CD6-DDB14511944F}" type="slidenum">
              <a:rPr lang="en-US" smtClean="0"/>
              <a:t>24</a:t>
            </a:fld>
            <a:endParaRPr lang="en-US" dirty="0"/>
          </a:p>
        </p:txBody>
      </p:sp>
      <p:sp>
        <p:nvSpPr>
          <p:cNvPr id="6" name="Header Placeholder 5"/>
          <p:cNvSpPr>
            <a:spLocks noGrp="1"/>
          </p:cNvSpPr>
          <p:nvPr>
            <p:ph type="hdr" sz="quarter" idx="12"/>
          </p:nvPr>
        </p:nvSpPr>
        <p:spPr/>
        <p:txBody>
          <a:bodyPr/>
          <a:lstStyle/>
          <a:p>
            <a:r>
              <a:rPr lang="en-US" dirty="0" smtClean="0"/>
              <a:t>Microsoft Office365</a:t>
            </a:r>
            <a:endParaRPr lang="en-US" dirty="0"/>
          </a:p>
        </p:txBody>
      </p:sp>
      <p:sp>
        <p:nvSpPr>
          <p:cNvPr id="7" name="Footer Placeholder 6"/>
          <p:cNvSpPr>
            <a:spLocks noGrp="1"/>
          </p:cNvSpPr>
          <p:nvPr>
            <p:ph type="ftr" sz="quarter" idx="13"/>
          </p:nvPr>
        </p:nvSpPr>
        <p:spPr/>
        <p:txBody>
          <a:bodyPr/>
          <a:lstStyle/>
          <a:p>
            <a:pPr marL="231775" defTabSz="914099" eaLnBrk="0" hangingPunct="0"/>
            <a:r>
              <a:rPr lang="en-US" sz="5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231775" defTabSz="914099" eaLnBrk="0" hangingPunct="0"/>
            <a:r>
              <a:rPr lang="en-US" sz="5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5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8504105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1" kern="1200" dirty="0" smtClean="0">
                <a:solidFill>
                  <a:schemeClr val="tx1"/>
                </a:solidFill>
                <a:effectLst/>
                <a:latin typeface="Segoe UI" pitchFamily="34" charset="0"/>
                <a:ea typeface="+mn-ea"/>
                <a:cs typeface="+mn-cs"/>
              </a:rPr>
              <a:t>Slide purpose:</a:t>
            </a:r>
            <a:r>
              <a:rPr lang="en-US" sz="1100" b="0" kern="1200" baseline="0" dirty="0" smtClean="0">
                <a:solidFill>
                  <a:schemeClr val="tx1"/>
                </a:solidFill>
                <a:effectLst/>
                <a:latin typeface="Segoe UI" pitchFamily="34" charset="0"/>
                <a:ea typeface="+mn-ea"/>
                <a:cs typeface="+mn-cs"/>
              </a:rPr>
              <a:t> Introduce Office 365 Business. Explain what is included in the plan. (note: the following slide helps explain the benefits of Office 365, so don’t feel pressured to tell that story on this slide). </a:t>
            </a:r>
          </a:p>
          <a:p>
            <a:endParaRPr lang="en-US" sz="1100" b="0" kern="1200" dirty="0" smtClean="0">
              <a:solidFill>
                <a:schemeClr val="tx1"/>
              </a:solidFill>
              <a:effectLst/>
              <a:latin typeface="Segoe UI" pitchFamily="34" charset="0"/>
              <a:ea typeface="+mn-ea"/>
              <a:cs typeface="+mn-cs"/>
            </a:endParaRPr>
          </a:p>
          <a:p>
            <a:pPr marL="0" marR="0" indent="0" algn="l" defTabSz="914363" rtl="0" eaLnBrk="1" fontAlgn="auto" latinLnBrk="0" hangingPunct="1">
              <a:lnSpc>
                <a:spcPct val="90000"/>
              </a:lnSpc>
              <a:spcBef>
                <a:spcPts val="0"/>
              </a:spcBef>
              <a:spcAft>
                <a:spcPts val="333"/>
              </a:spcAft>
              <a:buClrTx/>
              <a:buSzTx/>
              <a:buFontTx/>
              <a:buNone/>
              <a:tabLst/>
              <a:defRPr/>
            </a:pPr>
            <a:r>
              <a:rPr lang="en-US" sz="1100" b="1" u="sng" kern="1200" dirty="0" smtClean="0">
                <a:solidFill>
                  <a:schemeClr val="tx1"/>
                </a:solidFill>
                <a:effectLst/>
                <a:latin typeface="Segoe UI" pitchFamily="34" charset="0"/>
                <a:ea typeface="+mn-ea"/>
                <a:cs typeface="+mn-cs"/>
              </a:rPr>
              <a:t>Talk</a:t>
            </a:r>
            <a:r>
              <a:rPr lang="en-US" sz="1100" b="1" u="sng" kern="1200" baseline="0" dirty="0" smtClean="0">
                <a:solidFill>
                  <a:schemeClr val="tx1"/>
                </a:solidFill>
                <a:effectLst/>
                <a:latin typeface="Segoe UI" pitchFamily="34" charset="0"/>
                <a:ea typeface="+mn-ea"/>
                <a:cs typeface="+mn-cs"/>
              </a:rPr>
              <a:t> track</a:t>
            </a:r>
          </a:p>
          <a:p>
            <a:pPr marL="0" marR="0" indent="0" algn="l" defTabSz="914363" rtl="0" eaLnBrk="1" fontAlgn="auto" latinLnBrk="0" hangingPunct="1">
              <a:lnSpc>
                <a:spcPct val="90000"/>
              </a:lnSpc>
              <a:spcBef>
                <a:spcPts val="0"/>
              </a:spcBef>
              <a:spcAft>
                <a:spcPts val="333"/>
              </a:spcAft>
              <a:buClrTx/>
              <a:buSzTx/>
              <a:buFontTx/>
              <a:buNone/>
              <a:tabLst/>
              <a:defRPr/>
            </a:pPr>
            <a:r>
              <a:rPr lang="en-US" sz="1100" kern="1200" baseline="0" dirty="0" smtClean="0">
                <a:solidFill>
                  <a:schemeClr val="tx1"/>
                </a:solidFill>
                <a:effectLst/>
                <a:latin typeface="Segoe UI" pitchFamily="34" charset="0"/>
                <a:ea typeface="+mn-ea"/>
                <a:cs typeface="+mn-cs"/>
              </a:rPr>
              <a:t>Office 365 Business is your familiar Office, but improved. It includes:</a:t>
            </a:r>
          </a:p>
          <a:p>
            <a:pPr marL="0" marR="0" indent="0" algn="l" defTabSz="914363" rtl="0" eaLnBrk="1" fontAlgn="auto" latinLnBrk="0" hangingPunct="1">
              <a:lnSpc>
                <a:spcPct val="90000"/>
              </a:lnSpc>
              <a:spcBef>
                <a:spcPts val="0"/>
              </a:spcBef>
              <a:spcAft>
                <a:spcPts val="333"/>
              </a:spcAft>
              <a:buClrTx/>
              <a:buSzTx/>
              <a:buFontTx/>
              <a:buNone/>
              <a:tabLst/>
              <a:defRPr/>
            </a:pPr>
            <a:endParaRPr lang="en-US" sz="1100" kern="1200" baseline="0" dirty="0" smtClean="0">
              <a:solidFill>
                <a:schemeClr val="tx1"/>
              </a:solidFill>
              <a:effectLst/>
              <a:latin typeface="Segoe UI" pitchFamily="34" charset="0"/>
              <a:ea typeface="+mn-ea"/>
              <a:cs typeface="+mn-cs"/>
            </a:endParaRPr>
          </a:p>
          <a:p>
            <a:pPr marL="228600" marR="0" indent="-228600" algn="l" defTabSz="914363" rtl="0" eaLnBrk="1" fontAlgn="auto" latinLnBrk="0" hangingPunct="1">
              <a:lnSpc>
                <a:spcPct val="90000"/>
              </a:lnSpc>
              <a:spcBef>
                <a:spcPts val="0"/>
              </a:spcBef>
              <a:spcAft>
                <a:spcPts val="333"/>
              </a:spcAft>
              <a:buClrTx/>
              <a:buSzTx/>
              <a:buFontTx/>
              <a:buAutoNum type="arabicParenR"/>
              <a:tabLst/>
              <a:defRPr/>
            </a:pPr>
            <a:r>
              <a:rPr lang="en-US" sz="1100" kern="1200" baseline="0" dirty="0" smtClean="0">
                <a:solidFill>
                  <a:schemeClr val="tx1"/>
                </a:solidFill>
                <a:effectLst/>
                <a:latin typeface="Segoe UI" pitchFamily="34" charset="0"/>
                <a:ea typeface="+mn-ea"/>
                <a:cs typeface="+mn-cs"/>
              </a:rPr>
              <a:t>When we say “familiar office”, first of all, we mean the full, installable Office apps that you know and love – Word, PowerPoint, Excel, Outlook, etc. With Office 365 Business, you get the most up to date desktop Office apps you have always used, along with great new additional features and capabilities. </a:t>
            </a:r>
          </a:p>
          <a:p>
            <a:pPr marL="228600" marR="0" indent="-228600" algn="l" defTabSz="914363" rtl="0" eaLnBrk="1" fontAlgn="auto" latinLnBrk="0" hangingPunct="1">
              <a:lnSpc>
                <a:spcPct val="90000"/>
              </a:lnSpc>
              <a:spcBef>
                <a:spcPts val="0"/>
              </a:spcBef>
              <a:spcAft>
                <a:spcPts val="333"/>
              </a:spcAft>
              <a:buClrTx/>
              <a:buSzTx/>
              <a:buFontTx/>
              <a:buAutoNum type="arabicParenR"/>
              <a:tabLst/>
              <a:defRPr/>
            </a:pPr>
            <a:r>
              <a:rPr lang="en-US" sz="1100" kern="1200" baseline="0" dirty="0" smtClean="0">
                <a:solidFill>
                  <a:schemeClr val="tx1"/>
                </a:solidFill>
                <a:effectLst/>
                <a:latin typeface="Segoe UI" pitchFamily="34" charset="0"/>
                <a:ea typeface="+mn-ea"/>
                <a:cs typeface="+mn-cs"/>
              </a:rPr>
              <a:t>In addition to desktop apps, you also get </a:t>
            </a:r>
            <a:r>
              <a:rPr lang="en-US" sz="1100" b="1" kern="1200" baseline="0" dirty="0" smtClean="0">
                <a:solidFill>
                  <a:schemeClr val="tx1"/>
                </a:solidFill>
                <a:effectLst/>
                <a:latin typeface="Segoe UI" pitchFamily="34" charset="0"/>
                <a:ea typeface="+mn-ea"/>
                <a:cs typeface="+mn-cs"/>
              </a:rPr>
              <a:t>Office apps </a:t>
            </a:r>
            <a:r>
              <a:rPr lang="en-US" sz="1100" kern="1200" baseline="0" dirty="0" smtClean="0">
                <a:solidFill>
                  <a:schemeClr val="tx1"/>
                </a:solidFill>
                <a:effectLst/>
                <a:latin typeface="Segoe UI" pitchFamily="34" charset="0"/>
                <a:ea typeface="+mn-ea"/>
                <a:cs typeface="+mn-cs"/>
              </a:rPr>
              <a:t>on your tablet and smartphones for viewing and editing on the go. </a:t>
            </a:r>
          </a:p>
          <a:p>
            <a:pPr marL="228600" marR="0" indent="-228600" algn="l" defTabSz="914363" rtl="0" eaLnBrk="1" fontAlgn="auto" latinLnBrk="0" hangingPunct="1">
              <a:lnSpc>
                <a:spcPct val="90000"/>
              </a:lnSpc>
              <a:spcBef>
                <a:spcPts val="0"/>
              </a:spcBef>
              <a:spcAft>
                <a:spcPts val="333"/>
              </a:spcAft>
              <a:buClrTx/>
              <a:buSzTx/>
              <a:buFontTx/>
              <a:buAutoNum type="arabicParenR"/>
              <a:tabLst/>
              <a:defRPr/>
            </a:pPr>
            <a:r>
              <a:rPr lang="en-US" sz="1100" kern="1200" baseline="0" dirty="0" smtClean="0">
                <a:solidFill>
                  <a:schemeClr val="tx1"/>
                </a:solidFill>
                <a:effectLst/>
                <a:latin typeface="Segoe UI" pitchFamily="34" charset="0"/>
                <a:ea typeface="+mn-ea"/>
                <a:cs typeface="+mn-cs"/>
              </a:rPr>
              <a:t>And if you forget your laptop at home, or leave it at the Office and need to access or edit your files, you have Office Online which allows you to access, edit, and share your documents by simply logging into you Office Online account from any browser.\</a:t>
            </a:r>
          </a:p>
          <a:p>
            <a:pPr marL="228600" marR="0" indent="-228600" algn="l" defTabSz="914363" rtl="0" eaLnBrk="1" fontAlgn="auto" latinLnBrk="0" hangingPunct="1">
              <a:lnSpc>
                <a:spcPct val="90000"/>
              </a:lnSpc>
              <a:spcBef>
                <a:spcPts val="0"/>
              </a:spcBef>
              <a:spcAft>
                <a:spcPts val="333"/>
              </a:spcAft>
              <a:buClrTx/>
              <a:buSzTx/>
              <a:buFontTx/>
              <a:buAutoNum type="arabicParenR"/>
              <a:tabLst/>
              <a:defRPr/>
            </a:pPr>
            <a:r>
              <a:rPr lang="en-US" sz="1100" b="0" kern="1200" baseline="0" dirty="0" smtClean="0">
                <a:solidFill>
                  <a:schemeClr val="tx1"/>
                </a:solidFill>
                <a:effectLst/>
                <a:latin typeface="Segoe UI" pitchFamily="34" charset="0"/>
                <a:ea typeface="+mn-ea"/>
                <a:cs typeface="+mn-cs"/>
              </a:rPr>
              <a:t>Lastly, with Office 365 Business you get </a:t>
            </a:r>
            <a:r>
              <a:rPr lang="en-US" sz="1100" b="1" kern="1200" baseline="0" dirty="0" smtClean="0">
                <a:solidFill>
                  <a:schemeClr val="tx1"/>
                </a:solidFill>
                <a:effectLst/>
                <a:latin typeface="Segoe UI" pitchFamily="34" charset="0"/>
                <a:ea typeface="+mn-ea"/>
                <a:cs typeface="+mn-cs"/>
              </a:rPr>
              <a:t>1TB of OneDrive for Business online storage </a:t>
            </a:r>
            <a:r>
              <a:rPr lang="en-US" sz="1100" b="0" kern="1200" baseline="0" dirty="0" smtClean="0">
                <a:solidFill>
                  <a:schemeClr val="tx1"/>
                </a:solidFill>
                <a:effectLst/>
                <a:latin typeface="Segoe UI" pitchFamily="34" charset="0"/>
                <a:ea typeface="+mn-ea"/>
                <a:cs typeface="+mn-cs"/>
              </a:rPr>
              <a:t>so you can safely and securely save your files online and share them with others.</a:t>
            </a:r>
          </a:p>
          <a:p>
            <a:pPr marL="0" marR="0" indent="0" algn="l" defTabSz="914363" rtl="0" eaLnBrk="1" fontAlgn="auto" latinLnBrk="0" hangingPunct="1">
              <a:lnSpc>
                <a:spcPct val="90000"/>
              </a:lnSpc>
              <a:spcBef>
                <a:spcPts val="0"/>
              </a:spcBef>
              <a:spcAft>
                <a:spcPts val="333"/>
              </a:spcAft>
              <a:buClrTx/>
              <a:buSzTx/>
              <a:buFontTx/>
              <a:buNone/>
              <a:tabLst/>
              <a:defRPr/>
            </a:pPr>
            <a:endParaRPr lang="en-US" sz="1100" b="1" kern="1200" baseline="0" dirty="0" smtClean="0">
              <a:solidFill>
                <a:schemeClr val="tx1"/>
              </a:solidFill>
              <a:effectLst/>
              <a:latin typeface="Segoe UI" pitchFamily="34" charset="0"/>
              <a:ea typeface="+mn-ea"/>
              <a:cs typeface="+mn-cs"/>
            </a:endParaRPr>
          </a:p>
          <a:p>
            <a:pPr marL="0" marR="0" indent="0" algn="l" defTabSz="914363" rtl="0" eaLnBrk="1" fontAlgn="auto" latinLnBrk="0" hangingPunct="1">
              <a:lnSpc>
                <a:spcPct val="90000"/>
              </a:lnSpc>
              <a:spcBef>
                <a:spcPts val="0"/>
              </a:spcBef>
              <a:spcAft>
                <a:spcPts val="333"/>
              </a:spcAft>
              <a:buClrTx/>
              <a:buSzTx/>
              <a:buFontTx/>
              <a:buNone/>
              <a:tabLst/>
              <a:defRPr/>
            </a:pPr>
            <a:r>
              <a:rPr lang="en-US" sz="1100" b="0" kern="1200" baseline="0" dirty="0" smtClean="0">
                <a:solidFill>
                  <a:schemeClr val="tx1"/>
                </a:solidFill>
                <a:effectLst/>
                <a:latin typeface="Segoe UI" pitchFamily="34" charset="0"/>
                <a:ea typeface="+mn-ea"/>
                <a:cs typeface="+mn-cs"/>
              </a:rPr>
              <a:t>This plan is easy to set up and manage, with a financially-backed SLA and 24/7 technical phone support for critical issues. </a:t>
            </a:r>
          </a:p>
          <a:p>
            <a:pPr marL="0" marR="0" indent="0" algn="l" defTabSz="914363" rtl="0" eaLnBrk="1" fontAlgn="auto" latinLnBrk="0" hangingPunct="1">
              <a:lnSpc>
                <a:spcPct val="90000"/>
              </a:lnSpc>
              <a:spcBef>
                <a:spcPts val="0"/>
              </a:spcBef>
              <a:spcAft>
                <a:spcPts val="333"/>
              </a:spcAft>
              <a:buClrTx/>
              <a:buSzTx/>
              <a:buFontTx/>
              <a:buNone/>
              <a:tabLst/>
              <a:defRPr/>
            </a:pPr>
            <a:endParaRPr lang="en-US" sz="1100" kern="1200" baseline="0" dirty="0" smtClean="0">
              <a:solidFill>
                <a:schemeClr val="tx1"/>
              </a:solidFill>
              <a:effectLst/>
              <a:latin typeface="Segoe UI" pitchFamily="34" charset="0"/>
              <a:ea typeface="+mn-ea"/>
              <a:cs typeface="+mn-cs"/>
            </a:endParaRPr>
          </a:p>
          <a:p>
            <a:pPr marL="0" marR="0" indent="0" algn="l" defTabSz="914363" rtl="0" eaLnBrk="1" fontAlgn="auto" latinLnBrk="0" hangingPunct="1">
              <a:lnSpc>
                <a:spcPct val="90000"/>
              </a:lnSpc>
              <a:spcBef>
                <a:spcPts val="0"/>
              </a:spcBef>
              <a:spcAft>
                <a:spcPts val="333"/>
              </a:spcAft>
              <a:buClrTx/>
              <a:buSzTx/>
              <a:buFontTx/>
              <a:buNone/>
              <a:tabLst/>
              <a:defRPr/>
            </a:pPr>
            <a:r>
              <a:rPr lang="en-US" sz="1100" kern="1200" baseline="0" dirty="0" smtClean="0">
                <a:solidFill>
                  <a:schemeClr val="tx1"/>
                </a:solidFill>
                <a:effectLst/>
                <a:latin typeface="Segoe UI" pitchFamily="34" charset="0"/>
                <a:ea typeface="+mn-ea"/>
                <a:cs typeface="+mn-cs"/>
              </a:rPr>
              <a:t>You may be familiar with Office. Office 365 Business is that same familiar Office with new features. But more importantly, Office 365 Business provides a few great new benefits [click to the next slide].</a:t>
            </a:r>
          </a:p>
          <a:p>
            <a:pPr marL="0" marR="0" indent="0" algn="l" defTabSz="914363" rtl="0" eaLnBrk="1" fontAlgn="auto" latinLnBrk="0" hangingPunct="1">
              <a:lnSpc>
                <a:spcPct val="90000"/>
              </a:lnSpc>
              <a:spcBef>
                <a:spcPts val="0"/>
              </a:spcBef>
              <a:spcAft>
                <a:spcPts val="333"/>
              </a:spcAft>
              <a:buClrTx/>
              <a:buSzTx/>
              <a:buFontTx/>
              <a:buNone/>
              <a:tabLst/>
              <a:defRPr/>
            </a:pPr>
            <a:endParaRPr lang="en-US" sz="1100" kern="1200" baseline="0" dirty="0" smtClean="0">
              <a:solidFill>
                <a:schemeClr val="tx1"/>
              </a:solidFill>
              <a:effectLst/>
              <a:latin typeface="Segoe UI" pitchFamily="34" charset="0"/>
              <a:ea typeface="+mn-ea"/>
              <a:cs typeface="+mn-cs"/>
            </a:endParaRPr>
          </a:p>
          <a:p>
            <a:pPr marL="0" marR="0" indent="0" algn="l" defTabSz="914363" rtl="0" eaLnBrk="1" fontAlgn="auto" latinLnBrk="0" hangingPunct="1">
              <a:lnSpc>
                <a:spcPct val="90000"/>
              </a:lnSpc>
              <a:spcBef>
                <a:spcPts val="0"/>
              </a:spcBef>
              <a:spcAft>
                <a:spcPts val="333"/>
              </a:spcAft>
              <a:buClrTx/>
              <a:buSzTx/>
              <a:buFontTx/>
              <a:buNone/>
              <a:tabLst/>
              <a:defRPr/>
            </a:pPr>
            <a:endParaRPr lang="en-US" sz="1100" kern="1200" baseline="0" dirty="0" smtClean="0">
              <a:solidFill>
                <a:schemeClr val="tx1"/>
              </a:solidFill>
              <a:effectLst/>
              <a:latin typeface="Segoe UI" pitchFamily="34" charset="0"/>
              <a:ea typeface="+mn-ea"/>
              <a:cs typeface="+mn-cs"/>
            </a:endParaRPr>
          </a:p>
          <a:p>
            <a:pPr marL="0" marR="0" indent="0" algn="l" defTabSz="914363" rtl="0" eaLnBrk="1" fontAlgn="auto" latinLnBrk="0" hangingPunct="1">
              <a:lnSpc>
                <a:spcPct val="90000"/>
              </a:lnSpc>
              <a:spcBef>
                <a:spcPts val="0"/>
              </a:spcBef>
              <a:spcAft>
                <a:spcPts val="333"/>
              </a:spcAft>
              <a:buClrTx/>
              <a:buSzTx/>
              <a:buFontTx/>
              <a:buNone/>
              <a:tabLst/>
              <a:defRPr/>
            </a:pPr>
            <a:r>
              <a:rPr lang="en-US" sz="1100" b="1" kern="1200" baseline="0" dirty="0" smtClean="0">
                <a:solidFill>
                  <a:schemeClr val="tx1"/>
                </a:solidFill>
                <a:effectLst/>
                <a:latin typeface="Segoe UI" pitchFamily="34" charset="0"/>
                <a:ea typeface="+mn-ea"/>
                <a:cs typeface="+mn-cs"/>
              </a:rPr>
              <a:t>Note for presenter: </a:t>
            </a:r>
            <a:r>
              <a:rPr lang="en-US" sz="1100" b="0" kern="1200" baseline="0" dirty="0" smtClean="0">
                <a:solidFill>
                  <a:schemeClr val="tx1"/>
                </a:solidFill>
                <a:effectLst/>
                <a:latin typeface="Segoe UI" pitchFamily="34" charset="0"/>
                <a:ea typeface="+mn-ea"/>
                <a:cs typeface="+mn-cs"/>
              </a:rPr>
              <a:t>Keep in mind that most people, when they hear “Office 365”, only hear “Office” and think “Word, PowerPoint, Excel”. And when they hear “cloud”, they think “browser based apps” only, thinking this is only a browser-based version of Office, similar to Google Apps. So it’s important to take your time and labor on these 2 points specifically. </a:t>
            </a:r>
            <a:r>
              <a:rPr lang="en-US" sz="1100" kern="1200" dirty="0" smtClean="0">
                <a:solidFill>
                  <a:schemeClr val="tx1"/>
                </a:solidFill>
                <a:effectLst/>
                <a:latin typeface="Segoe UI" pitchFamily="34" charset="0"/>
                <a:ea typeface="+mn-ea"/>
                <a:cs typeface="+mn-cs"/>
              </a:rPr>
              <a:t>Transition</a:t>
            </a:r>
            <a:r>
              <a:rPr lang="en-US" sz="1100" kern="1200" baseline="0" dirty="0" smtClean="0">
                <a:solidFill>
                  <a:schemeClr val="tx1"/>
                </a:solidFill>
                <a:effectLst/>
                <a:latin typeface="Segoe UI" pitchFamily="34" charset="0"/>
                <a:ea typeface="+mn-ea"/>
                <a:cs typeface="+mn-cs"/>
              </a:rPr>
              <a:t> from previous slide by saying, “We understand what technology you need to help you manage the business challenges you are facing. We are excited that there is a new offering in the market that has been designed specifically for you….”</a:t>
            </a:r>
            <a:endParaRPr lang="en-US" sz="1100" kern="1200" dirty="0" smtClean="0">
              <a:solidFill>
                <a:schemeClr val="tx1"/>
              </a:solidFill>
              <a:effectLst/>
              <a:latin typeface="Segoe UI" pitchFamily="34" charset="0"/>
              <a:ea typeface="+mn-ea"/>
              <a:cs typeface="+mn-cs"/>
            </a:endParaRPr>
          </a:p>
          <a:p>
            <a:pPr marL="0" marR="0" indent="0" algn="l" defTabSz="914363" rtl="0" eaLnBrk="1" fontAlgn="auto" latinLnBrk="0" hangingPunct="1">
              <a:lnSpc>
                <a:spcPct val="90000"/>
              </a:lnSpc>
              <a:spcBef>
                <a:spcPts val="0"/>
              </a:spcBef>
              <a:spcAft>
                <a:spcPts val="333"/>
              </a:spcAft>
              <a:buClrTx/>
              <a:buSzTx/>
              <a:buFontTx/>
              <a:buNone/>
              <a:tabLst/>
              <a:defRPr/>
            </a:pPr>
            <a:endParaRPr lang="en-US" sz="1100" kern="1200" baseline="0" dirty="0" smtClean="0">
              <a:solidFill>
                <a:schemeClr val="tx1"/>
              </a:solidFill>
              <a:effectLst/>
              <a:latin typeface="Segoe UI" pitchFamily="34" charset="0"/>
              <a:ea typeface="+mn-ea"/>
              <a:cs typeface="+mn-cs"/>
            </a:endParaRPr>
          </a:p>
        </p:txBody>
      </p:sp>
      <p:sp>
        <p:nvSpPr>
          <p:cNvPr id="4" name="Date Placeholder 3"/>
          <p:cNvSpPr>
            <a:spLocks noGrp="1"/>
          </p:cNvSpPr>
          <p:nvPr>
            <p:ph type="dt" idx="10"/>
          </p:nvPr>
        </p:nvSpPr>
        <p:spPr/>
        <p:txBody>
          <a:bodyPr/>
          <a:lstStyle/>
          <a:p>
            <a:fld id="{F36DBDBE-3C47-4418-B406-6E25A5E3B513}" type="datetime1">
              <a:rPr lang="en-US" smtClean="0">
                <a:solidFill>
                  <a:prstClr val="black"/>
                </a:solidFill>
              </a:rPr>
              <a:pPr/>
              <a:t>9/11/2014</a:t>
            </a:fld>
            <a:endParaRPr lang="en-US" dirty="0">
              <a:solidFill>
                <a:prstClr val="black"/>
              </a:solidFill>
            </a:endParaRPr>
          </a:p>
        </p:txBody>
      </p:sp>
      <p:sp>
        <p:nvSpPr>
          <p:cNvPr id="5" name="Slide Number Placeholder 4"/>
          <p:cNvSpPr>
            <a:spLocks noGrp="1"/>
          </p:cNvSpPr>
          <p:nvPr>
            <p:ph type="sldNum" sz="quarter" idx="11"/>
          </p:nvPr>
        </p:nvSpPr>
        <p:spPr/>
        <p:txBody>
          <a:bodyPr/>
          <a:lstStyle/>
          <a:p>
            <a:fld id="{B4008EB6-D09E-4580-8CD6-DDB14511944F}" type="slidenum">
              <a:rPr lang="en-US" smtClean="0">
                <a:solidFill>
                  <a:prstClr val="black"/>
                </a:solidFill>
              </a:rPr>
              <a:pPr/>
              <a:t>3</a:t>
            </a:fld>
            <a:endParaRPr lang="en-US" dirty="0">
              <a:solidFill>
                <a:prstClr val="black"/>
              </a:solidFill>
            </a:endParaRPr>
          </a:p>
        </p:txBody>
      </p:sp>
      <p:sp>
        <p:nvSpPr>
          <p:cNvPr id="6" name="Header Placeholder 5"/>
          <p:cNvSpPr>
            <a:spLocks noGrp="1"/>
          </p:cNvSpPr>
          <p:nvPr>
            <p:ph type="hdr" sz="quarter" idx="12"/>
          </p:nvPr>
        </p:nvSpPr>
        <p:spPr/>
        <p:txBody>
          <a:bodyPr/>
          <a:lstStyle/>
          <a:p>
            <a:r>
              <a:rPr lang="en-US" dirty="0" smtClean="0">
                <a:solidFill>
                  <a:prstClr val="black"/>
                </a:solidFill>
              </a:rPr>
              <a:t>Microsoft Office365</a:t>
            </a:r>
            <a:endParaRPr lang="en-US" dirty="0">
              <a:solidFill>
                <a:prstClr val="black"/>
              </a:solidFill>
            </a:endParaRPr>
          </a:p>
        </p:txBody>
      </p:sp>
      <p:sp>
        <p:nvSpPr>
          <p:cNvPr id="7" name="Footer Placeholder 6"/>
          <p:cNvSpPr>
            <a:spLocks noGrp="1"/>
          </p:cNvSpPr>
          <p:nvPr>
            <p:ph type="ftr" sz="quarter" idx="13"/>
          </p:nvPr>
        </p:nvSpPr>
        <p:spPr/>
        <p:txBody>
          <a:bodyPr/>
          <a:lstStyle/>
          <a:p>
            <a:pPr marL="231775" defTabSz="914099" eaLnBrk="0" hangingPunct="0"/>
            <a:r>
              <a:rPr lang="en-US" sz="5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231775" defTabSz="914099" eaLnBrk="0" hangingPunct="0"/>
            <a:r>
              <a:rPr lang="en-US" sz="5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5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705469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63" rtl="0" eaLnBrk="1" fontAlgn="auto" latinLnBrk="0" hangingPunct="1">
              <a:lnSpc>
                <a:spcPct val="90000"/>
              </a:lnSpc>
              <a:spcBef>
                <a:spcPts val="504"/>
              </a:spcBef>
              <a:spcAft>
                <a:spcPts val="333"/>
              </a:spcAft>
              <a:buClrTx/>
              <a:buSzTx/>
              <a:buFontTx/>
              <a:buNone/>
              <a:tabLst/>
              <a:defRPr/>
            </a:pPr>
            <a:r>
              <a:rPr lang="en-US" sz="900" b="1" u="sng" kern="1200" baseline="0" dirty="0" smtClean="0">
                <a:solidFill>
                  <a:schemeClr val="tx1"/>
                </a:solidFill>
                <a:effectLst/>
                <a:latin typeface="Segoe UI" pitchFamily="34" charset="0"/>
                <a:ea typeface="+mn-ea"/>
                <a:cs typeface="+mn-cs"/>
              </a:rPr>
              <a:t>Talk track</a:t>
            </a:r>
          </a:p>
          <a:p>
            <a:pPr marL="0" marR="0" indent="0" algn="l" defTabSz="914363" rtl="0" eaLnBrk="1" fontAlgn="auto" latinLnBrk="0" hangingPunct="1">
              <a:lnSpc>
                <a:spcPct val="90000"/>
              </a:lnSpc>
              <a:spcBef>
                <a:spcPts val="504"/>
              </a:spcBef>
              <a:spcAft>
                <a:spcPts val="333"/>
              </a:spcAft>
              <a:buClrTx/>
              <a:buSzTx/>
              <a:buFontTx/>
              <a:buNone/>
              <a:tabLst/>
              <a:defRPr/>
            </a:pPr>
            <a:r>
              <a:rPr lang="en-US" sz="900" kern="1200" baseline="0" dirty="0" smtClean="0">
                <a:solidFill>
                  <a:schemeClr val="tx1"/>
                </a:solidFill>
                <a:effectLst/>
                <a:latin typeface="Segoe UI" pitchFamily="34" charset="0"/>
                <a:ea typeface="+mn-ea"/>
                <a:cs typeface="+mn-cs"/>
              </a:rPr>
              <a:t>Now that you are familiar with in included in Office 365 Business, let’s drill down on why Office 365 Business is a better solution that buying traditional Office applications.</a:t>
            </a:r>
          </a:p>
          <a:p>
            <a:pPr marL="0" marR="0" indent="0" algn="l" defTabSz="914363" rtl="0" eaLnBrk="1" fontAlgn="auto" latinLnBrk="0" hangingPunct="1">
              <a:lnSpc>
                <a:spcPct val="90000"/>
              </a:lnSpc>
              <a:spcBef>
                <a:spcPts val="504"/>
              </a:spcBef>
              <a:spcAft>
                <a:spcPts val="333"/>
              </a:spcAft>
              <a:buClrTx/>
              <a:buSzTx/>
              <a:buFontTx/>
              <a:buNone/>
              <a:tabLst/>
              <a:defRPr/>
            </a:pPr>
            <a:endParaRPr lang="en-US" sz="900" kern="1200" baseline="0" dirty="0" smtClean="0">
              <a:solidFill>
                <a:schemeClr val="tx1"/>
              </a:solidFill>
              <a:effectLst/>
              <a:latin typeface="Segoe UI" pitchFamily="34" charset="0"/>
              <a:ea typeface="+mn-ea"/>
              <a:cs typeface="+mn-cs"/>
            </a:endParaRPr>
          </a:p>
          <a:p>
            <a:pPr marL="0" marR="0" indent="0" algn="l" defTabSz="914363" rtl="0" eaLnBrk="1" fontAlgn="auto" latinLnBrk="0" hangingPunct="1">
              <a:lnSpc>
                <a:spcPct val="90000"/>
              </a:lnSpc>
              <a:spcBef>
                <a:spcPts val="504"/>
              </a:spcBef>
              <a:spcAft>
                <a:spcPts val="333"/>
              </a:spcAft>
              <a:buClrTx/>
              <a:buSzTx/>
              <a:buFontTx/>
              <a:buNone/>
              <a:tabLst/>
              <a:defRPr/>
            </a:pPr>
            <a:r>
              <a:rPr lang="en-US" sz="900" b="1" kern="1200" baseline="0" dirty="0" smtClean="0">
                <a:solidFill>
                  <a:schemeClr val="tx1"/>
                </a:solidFill>
                <a:effectLst/>
                <a:latin typeface="Segoe UI" pitchFamily="34" charset="0"/>
                <a:ea typeface="+mn-ea"/>
                <a:cs typeface="+mn-cs"/>
              </a:rPr>
              <a:t>Office where and when you need it</a:t>
            </a:r>
          </a:p>
          <a:p>
            <a:pPr marL="0" marR="0" indent="0" algn="l" defTabSz="914363" rtl="0" eaLnBrk="1" fontAlgn="auto" latinLnBrk="0" hangingPunct="1">
              <a:lnSpc>
                <a:spcPct val="90000"/>
              </a:lnSpc>
              <a:spcBef>
                <a:spcPts val="504"/>
              </a:spcBef>
              <a:spcAft>
                <a:spcPts val="333"/>
              </a:spcAft>
              <a:buClrTx/>
              <a:buSzTx/>
              <a:buFontTx/>
              <a:buNone/>
              <a:tabLst/>
              <a:defRPr/>
            </a:pPr>
            <a:r>
              <a:rPr lang="en-US" sz="900" kern="1200" baseline="0" dirty="0" smtClean="0">
                <a:solidFill>
                  <a:schemeClr val="tx1"/>
                </a:solidFill>
                <a:effectLst/>
                <a:latin typeface="Segoe UI" pitchFamily="34" charset="0"/>
                <a:ea typeface="+mn-ea"/>
                <a:cs typeface="+mn-cs"/>
              </a:rPr>
              <a:t>Office 365 Business gives you the freedom to be productive wherever, whenever, using the familiar Office apps. With the ability to easily access, edit, and share your files from any device, you can get work done in the office and on the go, online or off. </a:t>
            </a:r>
          </a:p>
          <a:p>
            <a:pPr marL="0" marR="0" indent="0" algn="l" defTabSz="914363" rtl="0" eaLnBrk="1" fontAlgn="auto" latinLnBrk="0" hangingPunct="1">
              <a:lnSpc>
                <a:spcPct val="90000"/>
              </a:lnSpc>
              <a:spcBef>
                <a:spcPts val="504"/>
              </a:spcBef>
              <a:spcAft>
                <a:spcPts val="333"/>
              </a:spcAft>
              <a:buClrTx/>
              <a:buSzTx/>
              <a:buFontTx/>
              <a:buNone/>
              <a:tabLst/>
              <a:defRPr/>
            </a:pPr>
            <a:endParaRPr lang="en-US" spc="-17" dirty="0" smtClean="0">
              <a:solidFill>
                <a:schemeClr val="tx2">
                  <a:lumMod val="50000"/>
                  <a:alpha val="99000"/>
                </a:schemeClr>
              </a:solidFill>
            </a:endParaRPr>
          </a:p>
          <a:p>
            <a:pPr marL="0" marR="0" indent="0" algn="l" defTabSz="914363" rtl="0" eaLnBrk="1" fontAlgn="auto" latinLnBrk="0" hangingPunct="1">
              <a:lnSpc>
                <a:spcPct val="90000"/>
              </a:lnSpc>
              <a:spcBef>
                <a:spcPts val="504"/>
              </a:spcBef>
              <a:spcAft>
                <a:spcPts val="333"/>
              </a:spcAft>
              <a:buClrTx/>
              <a:buSzTx/>
              <a:buFontTx/>
              <a:buNone/>
              <a:tabLst/>
              <a:defRPr/>
            </a:pPr>
            <a:r>
              <a:rPr lang="en-US" b="1" spc="-17" dirty="0" smtClean="0">
                <a:solidFill>
                  <a:schemeClr val="tx2">
                    <a:lumMod val="50000"/>
                    <a:alpha val="99000"/>
                  </a:schemeClr>
                </a:solidFill>
              </a:rPr>
              <a:t>The best &amp; latest version of Office</a:t>
            </a:r>
          </a:p>
          <a:p>
            <a:pPr marL="0" indent="0">
              <a:spcBef>
                <a:spcPts val="504"/>
              </a:spcBef>
            </a:pPr>
            <a:r>
              <a:rPr lang="en-US" spc="-17" dirty="0" smtClean="0">
                <a:solidFill>
                  <a:schemeClr val="tx2">
                    <a:lumMod val="50000"/>
                    <a:alpha val="99000"/>
                  </a:schemeClr>
                </a:solidFill>
              </a:rPr>
              <a:t>Always have the best and </a:t>
            </a:r>
            <a:r>
              <a:rPr lang="en-US" spc="-17" dirty="0" err="1" smtClean="0">
                <a:solidFill>
                  <a:schemeClr val="tx2">
                    <a:lumMod val="50000"/>
                    <a:alpha val="99000"/>
                  </a:schemeClr>
                </a:solidFill>
              </a:rPr>
              <a:t>lastest</a:t>
            </a:r>
            <a:r>
              <a:rPr lang="en-US" spc="-17" dirty="0" smtClean="0">
                <a:solidFill>
                  <a:schemeClr val="tx2">
                    <a:lumMod val="50000"/>
                    <a:alpha val="99000"/>
                  </a:schemeClr>
                </a:solidFill>
              </a:rPr>
              <a:t> version of Office on your desktop and in the cloud. Don’t worry about being out of date with new features</a:t>
            </a:r>
            <a:r>
              <a:rPr lang="en-US" spc="-17" baseline="0" dirty="0" smtClean="0">
                <a:solidFill>
                  <a:schemeClr val="tx2">
                    <a:lumMod val="50000"/>
                    <a:alpha val="99000"/>
                  </a:schemeClr>
                </a:solidFill>
              </a:rPr>
              <a:t> </a:t>
            </a:r>
            <a:r>
              <a:rPr lang="en-US" spc="-17" dirty="0" smtClean="0">
                <a:solidFill>
                  <a:schemeClr val="tx2">
                    <a:lumMod val="50000"/>
                    <a:alpha val="99000"/>
                  </a:schemeClr>
                </a:solidFill>
              </a:rPr>
              <a:t>automatically synced to your desktop, tablets, and smart phones.</a:t>
            </a:r>
          </a:p>
          <a:p>
            <a:pPr marL="0" indent="0">
              <a:spcBef>
                <a:spcPts val="504"/>
              </a:spcBef>
            </a:pPr>
            <a:endParaRPr lang="en-US" spc="-17" dirty="0" smtClean="0">
              <a:solidFill>
                <a:schemeClr val="tx2">
                  <a:lumMod val="50000"/>
                  <a:alpha val="99000"/>
                </a:schemeClr>
              </a:solidFill>
            </a:endParaRPr>
          </a:p>
          <a:p>
            <a:pPr marL="0" indent="0">
              <a:spcBef>
                <a:spcPts val="504"/>
              </a:spcBef>
            </a:pPr>
            <a:r>
              <a:rPr lang="en-US" b="1" spc="-17" dirty="0" smtClean="0">
                <a:solidFill>
                  <a:schemeClr val="tx2">
                    <a:lumMod val="50000"/>
                    <a:alpha val="99000"/>
                  </a:schemeClr>
                </a:solidFill>
              </a:rPr>
              <a:t>Built-in sharing &amp; file storage</a:t>
            </a:r>
          </a:p>
          <a:p>
            <a:pPr marL="0" indent="0">
              <a:spcBef>
                <a:spcPts val="504"/>
              </a:spcBef>
            </a:pPr>
            <a:r>
              <a:rPr lang="en-US" spc="-17" dirty="0" smtClean="0">
                <a:solidFill>
                  <a:schemeClr val="tx2">
                    <a:lumMod val="50000"/>
                    <a:alpha val="99000"/>
                  </a:schemeClr>
                </a:solidFill>
              </a:rPr>
              <a:t>Work together easily and securely in real-time with built-in sharing and cloud storage in all your Office apps. With 1TB of storage,  you can save files to the cloud, share files with the click of a button, and avoid the confusion of working on different versions of the same file.</a:t>
            </a:r>
          </a:p>
        </p:txBody>
      </p:sp>
      <p:sp>
        <p:nvSpPr>
          <p:cNvPr id="4" name="Date Placeholder 3"/>
          <p:cNvSpPr>
            <a:spLocks noGrp="1"/>
          </p:cNvSpPr>
          <p:nvPr>
            <p:ph type="dt" idx="10"/>
          </p:nvPr>
        </p:nvSpPr>
        <p:spPr/>
        <p:txBody>
          <a:bodyPr/>
          <a:lstStyle/>
          <a:p>
            <a:fld id="{20FC792F-F8A5-486F-AD55-7D2F47316BE8}" type="datetime1">
              <a:rPr lang="en-US" smtClean="0">
                <a:solidFill>
                  <a:prstClr val="black"/>
                </a:solidFill>
              </a:rPr>
              <a:pPr/>
              <a:t>9/11/2014</a:t>
            </a:fld>
            <a:endParaRPr lang="en-US" dirty="0">
              <a:solidFill>
                <a:prstClr val="black"/>
              </a:solidFill>
            </a:endParaRPr>
          </a:p>
        </p:txBody>
      </p:sp>
      <p:sp>
        <p:nvSpPr>
          <p:cNvPr id="5" name="Slide Number Placeholder 4"/>
          <p:cNvSpPr>
            <a:spLocks noGrp="1"/>
          </p:cNvSpPr>
          <p:nvPr>
            <p:ph type="sldNum" sz="quarter" idx="11"/>
          </p:nvPr>
        </p:nvSpPr>
        <p:spPr/>
        <p:txBody>
          <a:bodyPr/>
          <a:lstStyle/>
          <a:p>
            <a:fld id="{B4008EB6-D09E-4580-8CD6-DDB14511944F}" type="slidenum">
              <a:rPr lang="en-US" smtClean="0">
                <a:solidFill>
                  <a:prstClr val="black"/>
                </a:solidFill>
              </a:rPr>
              <a:pPr/>
              <a:t>4</a:t>
            </a:fld>
            <a:endParaRPr lang="en-US" dirty="0">
              <a:solidFill>
                <a:prstClr val="black"/>
              </a:solidFill>
            </a:endParaRPr>
          </a:p>
        </p:txBody>
      </p:sp>
      <p:sp>
        <p:nvSpPr>
          <p:cNvPr id="6" name="Header Placeholder 5"/>
          <p:cNvSpPr>
            <a:spLocks noGrp="1"/>
          </p:cNvSpPr>
          <p:nvPr>
            <p:ph type="hdr" sz="quarter" idx="12"/>
          </p:nvPr>
        </p:nvSpPr>
        <p:spPr/>
        <p:txBody>
          <a:bodyPr/>
          <a:lstStyle/>
          <a:p>
            <a:r>
              <a:rPr lang="en-US" dirty="0" smtClean="0">
                <a:solidFill>
                  <a:prstClr val="black"/>
                </a:solidFill>
              </a:rPr>
              <a:t>Microsoft Office365</a:t>
            </a:r>
            <a:endParaRPr lang="en-US" dirty="0">
              <a:solidFill>
                <a:prstClr val="black"/>
              </a:solidFill>
            </a:endParaRPr>
          </a:p>
        </p:txBody>
      </p:sp>
      <p:sp>
        <p:nvSpPr>
          <p:cNvPr id="7" name="Footer Placeholder 6"/>
          <p:cNvSpPr>
            <a:spLocks noGrp="1"/>
          </p:cNvSpPr>
          <p:nvPr>
            <p:ph type="ftr" sz="quarter" idx="13"/>
          </p:nvPr>
        </p:nvSpPr>
        <p:spPr/>
        <p:txBody>
          <a:bodyPr/>
          <a:lstStyle/>
          <a:p>
            <a:pPr marL="231775" defTabSz="914099" eaLnBrk="0" hangingPunct="0"/>
            <a:r>
              <a:rPr lang="en-US" sz="5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231775" defTabSz="914099" eaLnBrk="0" hangingPunct="0"/>
            <a:r>
              <a:rPr lang="en-US" sz="5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5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4118538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smtClean="0">
                <a:solidFill>
                  <a:schemeClr val="tx1"/>
                </a:solidFill>
                <a:effectLst/>
                <a:latin typeface="Segoe UI Light" pitchFamily="34" charset="0"/>
                <a:ea typeface="+mn-ea"/>
                <a:cs typeface="+mn-cs"/>
              </a:rPr>
              <a:t>­­Office 365 Business gives you the freedom to be productive wherever, whenever, using the familiar Office apps. With the ability to easily access, edit, and share your files from any device, you can get work done in the office and on the go, online or off. </a:t>
            </a:r>
          </a:p>
          <a:p>
            <a:endParaRPr lang="en-US" sz="900" kern="1200" dirty="0" smtClean="0">
              <a:solidFill>
                <a:schemeClr val="tx1"/>
              </a:solidFill>
              <a:effectLst/>
              <a:latin typeface="Segoe UI Light" pitchFamily="34" charset="0"/>
              <a:ea typeface="+mn-ea"/>
              <a:cs typeface="+mn-cs"/>
            </a:endParaRPr>
          </a:p>
          <a:p>
            <a:pPr marL="0" marR="0" indent="0" algn="l" defTabSz="914363" rtl="0" eaLnBrk="1" fontAlgn="auto" latinLnBrk="0" hangingPunct="1">
              <a:lnSpc>
                <a:spcPct val="90000"/>
              </a:lnSpc>
              <a:spcBef>
                <a:spcPts val="0"/>
              </a:spcBef>
              <a:spcAft>
                <a:spcPts val="333"/>
              </a:spcAft>
              <a:buClrTx/>
              <a:buSzTx/>
              <a:buFontTx/>
              <a:buNone/>
              <a:tabLst/>
              <a:defRPr/>
            </a:pPr>
            <a:r>
              <a:rPr lang="en-US" sz="900" kern="1200" spc="-50" baseline="0" dirty="0" smtClean="0">
                <a:solidFill>
                  <a:schemeClr val="bg1"/>
                </a:solidFill>
                <a:latin typeface="Segoe UI Light" pitchFamily="34" charset="0"/>
                <a:ea typeface="Segoe UI" pitchFamily="34" charset="0"/>
                <a:cs typeface="Segoe UI" pitchFamily="34" charset="0"/>
              </a:rPr>
              <a:t>Let’s see how Office 365 Business can give you anywhere and anytime access to your familiar Office so you can keep your business running at all times…</a:t>
            </a:r>
          </a:p>
          <a:p>
            <a:endParaRPr lang="en-US" dirty="0"/>
          </a:p>
        </p:txBody>
      </p:sp>
      <p:sp>
        <p:nvSpPr>
          <p:cNvPr id="4" name="Date Placeholder 3"/>
          <p:cNvSpPr>
            <a:spLocks noGrp="1"/>
          </p:cNvSpPr>
          <p:nvPr>
            <p:ph type="dt" idx="10"/>
          </p:nvPr>
        </p:nvSpPr>
        <p:spPr/>
        <p:txBody>
          <a:bodyPr/>
          <a:lstStyle/>
          <a:p>
            <a:fld id="{14597BD5-B71A-44AE-8CEC-FD14CF6046E2}" type="datetime1">
              <a:rPr lang="en-US" smtClean="0"/>
              <a:t>9/11/2014</a:t>
            </a:fld>
            <a:endParaRPr lang="en-US" dirty="0"/>
          </a:p>
        </p:txBody>
      </p:sp>
      <p:sp>
        <p:nvSpPr>
          <p:cNvPr id="5" name="Slide Number Placeholder 4"/>
          <p:cNvSpPr>
            <a:spLocks noGrp="1"/>
          </p:cNvSpPr>
          <p:nvPr>
            <p:ph type="sldNum" sz="quarter" idx="11"/>
          </p:nvPr>
        </p:nvSpPr>
        <p:spPr/>
        <p:txBody>
          <a:bodyPr/>
          <a:lstStyle/>
          <a:p>
            <a:fld id="{B4008EB6-D09E-4580-8CD6-DDB14511944F}" type="slidenum">
              <a:rPr lang="en-US" smtClean="0"/>
              <a:t>5</a:t>
            </a:fld>
            <a:endParaRPr lang="en-US" dirty="0"/>
          </a:p>
        </p:txBody>
      </p:sp>
      <p:sp>
        <p:nvSpPr>
          <p:cNvPr id="6" name="Header Placeholder 5"/>
          <p:cNvSpPr>
            <a:spLocks noGrp="1"/>
          </p:cNvSpPr>
          <p:nvPr>
            <p:ph type="hdr" sz="quarter" idx="12"/>
          </p:nvPr>
        </p:nvSpPr>
        <p:spPr/>
        <p:txBody>
          <a:bodyPr/>
          <a:lstStyle/>
          <a:p>
            <a:r>
              <a:rPr lang="en-US" smtClean="0"/>
              <a:t>Microsoft Office365</a:t>
            </a:r>
            <a:endParaRPr lang="en-US" dirty="0"/>
          </a:p>
        </p:txBody>
      </p:sp>
      <p:sp>
        <p:nvSpPr>
          <p:cNvPr id="7" name="Footer Placeholder 6"/>
          <p:cNvSpPr>
            <a:spLocks noGrp="1"/>
          </p:cNvSpPr>
          <p:nvPr>
            <p:ph type="ftr" sz="quarter" idx="13"/>
          </p:nvPr>
        </p:nvSpPr>
        <p:spPr/>
        <p:txBody>
          <a:bodyPr/>
          <a:lstStyle/>
          <a:p>
            <a:pPr marL="231775" defTabSz="914099" eaLnBrk="0" hangingPunct="0"/>
            <a:r>
              <a:rPr lang="en-US" sz="500" smtClean="0">
                <a:gradFill>
                  <a:gsLst>
                    <a:gs pos="0">
                      <a:schemeClr val="tx1"/>
                    </a:gs>
                    <a:gs pos="100000">
                      <a:schemeClr val="tx1"/>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231775" defTabSz="914099" eaLnBrk="0" hangingPunct="0"/>
            <a:r>
              <a:rPr lang="en-US" sz="500" smtClean="0">
                <a:gradFill>
                  <a:gsLst>
                    <a:gs pos="0">
                      <a:schemeClr val="tx1"/>
                    </a:gs>
                    <a:gs pos="100000">
                      <a:schemeClr val="tx1"/>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5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65332210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63" rtl="0" eaLnBrk="1" fontAlgn="auto" latinLnBrk="0" hangingPunct="1">
              <a:lnSpc>
                <a:spcPct val="90000"/>
              </a:lnSpc>
              <a:spcBef>
                <a:spcPts val="0"/>
              </a:spcBef>
              <a:spcAft>
                <a:spcPts val="333"/>
              </a:spcAft>
              <a:buClrTx/>
              <a:buSzTx/>
              <a:buFontTx/>
              <a:buNone/>
              <a:tabLst/>
              <a:defRPr/>
            </a:pPr>
            <a:r>
              <a:rPr lang="en-US" sz="900" kern="1200" dirty="0" smtClean="0">
                <a:solidFill>
                  <a:schemeClr val="tx1"/>
                </a:solidFill>
                <a:effectLst/>
                <a:latin typeface="Segoe UI Light" pitchFamily="34" charset="0"/>
                <a:ea typeface="+mn-ea"/>
                <a:cs typeface="+mn-cs"/>
              </a:rPr>
              <a:t>Online or off, Office 365 Business allows you to quickly and easily access and edit your documents from anywhere so you can always be connected to your important business information. </a:t>
            </a:r>
            <a:r>
              <a:rPr lang="en-US" baseline="0" dirty="0" smtClean="0"/>
              <a:t>Office 365 Business includes the latest version of </a:t>
            </a:r>
            <a:r>
              <a:rPr lang="en-US" u="sng" baseline="0" dirty="0" smtClean="0"/>
              <a:t>all</a:t>
            </a:r>
            <a:r>
              <a:rPr lang="en-US" baseline="0" dirty="0" smtClean="0"/>
              <a:t> the familiar Office applications – including Word, PowerPoint, Excel, Outlook, and more – for each user to install and use on up to 5 PCs or Macs. </a:t>
            </a:r>
            <a:r>
              <a:rPr lang="en-US" b="1" baseline="0" dirty="0" smtClean="0"/>
              <a:t>These fully-featured, rich client Office apps install</a:t>
            </a:r>
            <a:r>
              <a:rPr lang="en-US" baseline="0" dirty="0" smtClean="0"/>
              <a:t> and stay on your machines so you can use them online or offline, the same way you have used Office in the past. </a:t>
            </a:r>
          </a:p>
          <a:p>
            <a:pPr marL="0" marR="0" indent="0" algn="l" defTabSz="914363" rtl="0" eaLnBrk="1" fontAlgn="auto" latinLnBrk="0" hangingPunct="1">
              <a:lnSpc>
                <a:spcPct val="90000"/>
              </a:lnSpc>
              <a:spcBef>
                <a:spcPts val="0"/>
              </a:spcBef>
              <a:spcAft>
                <a:spcPts val="333"/>
              </a:spcAft>
              <a:buClrTx/>
              <a:buSzTx/>
              <a:buFontTx/>
              <a:buNone/>
              <a:tabLst/>
              <a:defRPr/>
            </a:pPr>
            <a:r>
              <a:rPr lang="en-US" baseline="0" dirty="0" smtClean="0"/>
              <a:t/>
            </a:r>
            <a:br>
              <a:rPr lang="en-US" baseline="0" dirty="0" smtClean="0"/>
            </a:br>
            <a:r>
              <a:rPr lang="en-US" baseline="0" dirty="0" smtClean="0"/>
              <a:t>But Office 365 Business is not just about the desktop version of Office. </a:t>
            </a:r>
            <a:r>
              <a:rPr lang="en-US" sz="900" kern="1200" dirty="0" smtClean="0">
                <a:solidFill>
                  <a:schemeClr val="tx1"/>
                </a:solidFill>
                <a:effectLst/>
                <a:latin typeface="Segoe UI Light" pitchFamily="34" charset="0"/>
                <a:ea typeface="+mn-ea"/>
                <a:cs typeface="+mn-cs"/>
              </a:rPr>
              <a:t>We certainly know that work is happening anywhere on all types of devices, and we have worked</a:t>
            </a:r>
            <a:r>
              <a:rPr lang="en-US" sz="900" kern="1200" baseline="0" dirty="0" smtClean="0">
                <a:solidFill>
                  <a:schemeClr val="tx1"/>
                </a:solidFill>
                <a:effectLst/>
                <a:latin typeface="Segoe UI Light" pitchFamily="34" charset="0"/>
                <a:ea typeface="+mn-ea"/>
                <a:cs typeface="+mn-cs"/>
              </a:rPr>
              <a:t> to build Office apps that are optimized for tablets and smartphones </a:t>
            </a:r>
            <a:r>
              <a:rPr lang="en-US" sz="900" kern="1200" dirty="0" smtClean="0">
                <a:solidFill>
                  <a:schemeClr val="tx1"/>
                </a:solidFill>
                <a:effectLst/>
                <a:latin typeface="Segoe UI Light" pitchFamily="34" charset="0"/>
                <a:ea typeface="+mn-ea"/>
                <a:cs typeface="+mn-cs"/>
              </a:rPr>
              <a:t>to empower</a:t>
            </a:r>
            <a:r>
              <a:rPr lang="en-US" sz="900" kern="1200" baseline="0" dirty="0" smtClean="0">
                <a:solidFill>
                  <a:schemeClr val="tx1"/>
                </a:solidFill>
                <a:effectLst/>
                <a:latin typeface="Segoe UI Light" pitchFamily="34" charset="0"/>
                <a:ea typeface="+mn-ea"/>
                <a:cs typeface="+mn-cs"/>
              </a:rPr>
              <a:t> businesses to have the freedom to work from anywhere, online or offline </a:t>
            </a:r>
            <a:r>
              <a:rPr lang="en-US" sz="900" b="1" kern="1200" baseline="0" dirty="0" smtClean="0">
                <a:solidFill>
                  <a:schemeClr val="tx1"/>
                </a:solidFill>
                <a:effectLst/>
                <a:latin typeface="Segoe UI Light" pitchFamily="34" charset="0"/>
                <a:ea typeface="+mn-ea"/>
                <a:cs typeface="+mn-cs"/>
              </a:rPr>
              <a:t>while enjoying a great mobile experience.</a:t>
            </a:r>
            <a:endParaRPr lang="en-US" sz="900" kern="1200" baseline="0" dirty="0" smtClean="0">
              <a:solidFill>
                <a:schemeClr val="tx1"/>
              </a:solidFill>
              <a:effectLst/>
              <a:latin typeface="Segoe UI Light" pitchFamily="34" charset="0"/>
              <a:ea typeface="+mn-ea"/>
              <a:cs typeface="+mn-cs"/>
            </a:endParaRPr>
          </a:p>
          <a:p>
            <a:pPr marL="0" marR="0" indent="0" algn="l" defTabSz="914363" rtl="0" eaLnBrk="1" fontAlgn="auto" latinLnBrk="0" hangingPunct="1">
              <a:lnSpc>
                <a:spcPct val="90000"/>
              </a:lnSpc>
              <a:spcBef>
                <a:spcPts val="0"/>
              </a:spcBef>
              <a:spcAft>
                <a:spcPts val="333"/>
              </a:spcAft>
              <a:buClrTx/>
              <a:buSzTx/>
              <a:buFontTx/>
              <a:buNone/>
              <a:tabLst/>
              <a:defRPr/>
            </a:pPr>
            <a:endParaRPr lang="en-US" sz="900" kern="1200" dirty="0" smtClean="0">
              <a:solidFill>
                <a:schemeClr val="tx1"/>
              </a:solidFill>
              <a:effectLst/>
              <a:latin typeface="Segoe UI Light" pitchFamily="34" charset="0"/>
              <a:ea typeface="+mn-ea"/>
              <a:cs typeface="+mn-cs"/>
            </a:endParaRPr>
          </a:p>
          <a:p>
            <a:pPr marL="0" marR="0" indent="0" algn="l" defTabSz="914363" rtl="0" eaLnBrk="1" fontAlgn="auto" latinLnBrk="0" hangingPunct="1">
              <a:lnSpc>
                <a:spcPct val="90000"/>
              </a:lnSpc>
              <a:spcBef>
                <a:spcPts val="0"/>
              </a:spcBef>
              <a:spcAft>
                <a:spcPts val="333"/>
              </a:spcAft>
              <a:buClrTx/>
              <a:buSzTx/>
              <a:buFontTx/>
              <a:buNone/>
              <a:tabLst/>
              <a:defRPr/>
            </a:pPr>
            <a:r>
              <a:rPr lang="en-US" sz="900" b="1" kern="1200" dirty="0" smtClean="0">
                <a:solidFill>
                  <a:schemeClr val="tx1"/>
                </a:solidFill>
                <a:effectLst/>
                <a:latin typeface="Segoe UI Light" pitchFamily="34" charset="0"/>
                <a:ea typeface="+mn-ea"/>
                <a:cs typeface="+mn-cs"/>
              </a:rPr>
              <a:t>For a list of all the Office Mobile</a:t>
            </a:r>
            <a:r>
              <a:rPr lang="en-US" sz="900" b="1" kern="1200" baseline="0" dirty="0" smtClean="0">
                <a:solidFill>
                  <a:schemeClr val="tx1"/>
                </a:solidFill>
                <a:effectLst/>
                <a:latin typeface="Segoe UI Light" pitchFamily="34" charset="0"/>
                <a:ea typeface="+mn-ea"/>
                <a:cs typeface="+mn-cs"/>
              </a:rPr>
              <a:t> and Office 365 Business applications available on each device, visit: http://office.microsoft.com/en-us/mobile/ </a:t>
            </a:r>
            <a:endParaRPr lang="en-US" sz="900" b="1" kern="1200" dirty="0" smtClean="0">
              <a:solidFill>
                <a:schemeClr val="tx1"/>
              </a:solidFill>
              <a:effectLst/>
              <a:latin typeface="Segoe UI Light" pitchFamily="34" charset="0"/>
              <a:ea typeface="+mn-ea"/>
              <a:cs typeface="+mn-cs"/>
            </a:endParaRPr>
          </a:p>
          <a:p>
            <a:pPr marL="0" marR="0" indent="0" algn="l" defTabSz="914363" rtl="0" eaLnBrk="1" fontAlgn="auto" latinLnBrk="0" hangingPunct="1">
              <a:lnSpc>
                <a:spcPct val="90000"/>
              </a:lnSpc>
              <a:spcBef>
                <a:spcPts val="0"/>
              </a:spcBef>
              <a:spcAft>
                <a:spcPts val="333"/>
              </a:spcAft>
              <a:buClrTx/>
              <a:buSzTx/>
              <a:buFontTx/>
              <a:buNone/>
              <a:tabLst/>
              <a:defRPr/>
            </a:pPr>
            <a:endParaRPr lang="en-US" sz="900" kern="1200" dirty="0" smtClean="0">
              <a:solidFill>
                <a:schemeClr val="tx1"/>
              </a:solidFill>
              <a:effectLst/>
              <a:latin typeface="Segoe UI Light" pitchFamily="34" charset="0"/>
              <a:ea typeface="+mn-ea"/>
              <a:cs typeface="+mn-cs"/>
            </a:endParaRPr>
          </a:p>
          <a:p>
            <a:pPr marL="0" marR="0" indent="0" algn="l" defTabSz="914363" rtl="0" eaLnBrk="1" fontAlgn="auto" latinLnBrk="0" hangingPunct="1">
              <a:lnSpc>
                <a:spcPct val="90000"/>
              </a:lnSpc>
              <a:spcBef>
                <a:spcPts val="0"/>
              </a:spcBef>
              <a:spcAft>
                <a:spcPts val="333"/>
              </a:spcAft>
              <a:buClrTx/>
              <a:buSzTx/>
              <a:buFontTx/>
              <a:buNone/>
              <a:tabLst/>
              <a:defRPr/>
            </a:pPr>
            <a:r>
              <a:rPr lang="en-US" sz="900" b="1" kern="1200" dirty="0" smtClean="0">
                <a:solidFill>
                  <a:schemeClr val="tx1"/>
                </a:solidFill>
                <a:effectLst/>
                <a:latin typeface="Segoe UI Light" pitchFamily="34" charset="0"/>
                <a:ea typeface="+mn-ea"/>
                <a:cs typeface="+mn-cs"/>
              </a:rPr>
              <a:t>For</a:t>
            </a:r>
            <a:r>
              <a:rPr lang="en-US" sz="900" b="1" kern="1200" baseline="0" dirty="0" smtClean="0">
                <a:solidFill>
                  <a:schemeClr val="tx1"/>
                </a:solidFill>
                <a:effectLst/>
                <a:latin typeface="Segoe UI Light" pitchFamily="34" charset="0"/>
                <a:ea typeface="+mn-ea"/>
                <a:cs typeface="+mn-cs"/>
              </a:rPr>
              <a:t> Tablets</a:t>
            </a:r>
            <a:endParaRPr lang="en-US" sz="900" b="1" kern="1200" dirty="0" smtClean="0">
              <a:solidFill>
                <a:schemeClr val="tx1"/>
              </a:solidFill>
              <a:effectLst/>
              <a:latin typeface="Segoe UI Light" pitchFamily="34" charset="0"/>
              <a:ea typeface="+mn-ea"/>
              <a:cs typeface="+mn-cs"/>
            </a:endParaRPr>
          </a:p>
          <a:p>
            <a:r>
              <a:rPr lang="en-US" baseline="0" dirty="0" smtClean="0"/>
              <a:t>Office app (Word, PowerPoint, Excel, OneNote) are available for iPad. </a:t>
            </a:r>
            <a:r>
              <a:rPr lang="en-US" sz="900" kern="1200" dirty="0" smtClean="0">
                <a:solidFill>
                  <a:schemeClr val="tx1"/>
                </a:solidFill>
                <a:effectLst/>
                <a:latin typeface="Segoe UI Light" pitchFamily="34" charset="0"/>
                <a:ea typeface="+mn-ea"/>
                <a:cs typeface="+mn-cs"/>
              </a:rPr>
              <a:t>The apps have the robust capabilities and familiar look and feel that is unmistakably Office, while offering a fantastic touch experience built from the ground up for iPad. When you edit a document on the iPad, you can be sure that you won’t lose any content or formatting. Simply</a:t>
            </a:r>
            <a:r>
              <a:rPr lang="en-US" sz="900" kern="1200" baseline="0" dirty="0" smtClean="0">
                <a:solidFill>
                  <a:schemeClr val="tx1"/>
                </a:solidFill>
                <a:effectLst/>
                <a:latin typeface="Segoe UI Light" pitchFamily="34" charset="0"/>
                <a:ea typeface="+mn-ea"/>
                <a:cs typeface="+mn-cs"/>
              </a:rPr>
              <a:t> log in with </a:t>
            </a:r>
            <a:r>
              <a:rPr lang="en-US" sz="900" kern="1200" dirty="0" smtClean="0">
                <a:solidFill>
                  <a:schemeClr val="tx1"/>
                </a:solidFill>
                <a:effectLst/>
                <a:latin typeface="Segoe UI Light" pitchFamily="34" charset="0"/>
                <a:ea typeface="+mn-ea"/>
                <a:cs typeface="+mn-cs"/>
              </a:rPr>
              <a:t>a</a:t>
            </a:r>
            <a:r>
              <a:rPr lang="en-US" sz="900" kern="1200" baseline="0" dirty="0" smtClean="0">
                <a:solidFill>
                  <a:schemeClr val="tx1"/>
                </a:solidFill>
                <a:effectLst/>
                <a:latin typeface="Segoe UI Light" pitchFamily="34" charset="0"/>
                <a:ea typeface="+mn-ea"/>
                <a:cs typeface="+mn-cs"/>
              </a:rPr>
              <a:t> qualifying </a:t>
            </a:r>
            <a:r>
              <a:rPr lang="en-US" sz="900" kern="1200" dirty="0" smtClean="0">
                <a:solidFill>
                  <a:schemeClr val="tx1"/>
                </a:solidFill>
                <a:effectLst/>
                <a:latin typeface="Segoe UI Light" pitchFamily="34" charset="0"/>
                <a:ea typeface="+mn-ea"/>
                <a:cs typeface="+mn-cs"/>
              </a:rPr>
              <a:t>Office 365 Business subscription, you can view, edit and create new documents with the iPad. </a:t>
            </a:r>
            <a:r>
              <a:rPr lang="en-US" baseline="0" dirty="0" smtClean="0"/>
              <a:t>iPad users also have access to OneDrive for Business app to access all their files on the go. </a:t>
            </a:r>
            <a:endParaRPr lang="en-US" sz="900" kern="1200" dirty="0" smtClean="0">
              <a:solidFill>
                <a:schemeClr val="tx1"/>
              </a:solidFill>
              <a:effectLst/>
              <a:latin typeface="Segoe UI Light" pitchFamily="34" charset="0"/>
              <a:ea typeface="+mn-ea"/>
              <a:cs typeface="+mn-cs"/>
            </a:endParaRPr>
          </a:p>
          <a:p>
            <a:endParaRPr lang="en-US" baseline="0" dirty="0" smtClean="0"/>
          </a:p>
          <a:p>
            <a:r>
              <a:rPr lang="en-US" b="1" baseline="0" dirty="0" smtClean="0"/>
              <a:t>For Smartphones</a:t>
            </a:r>
          </a:p>
          <a:p>
            <a:r>
              <a:rPr lang="en-US" baseline="0" dirty="0" smtClean="0"/>
              <a:t>Windows Phone has always supported Office Mobile, which allows you to open or edit files in Word, PowerPoint, Excel, and take notes in OneNote, view and respond to mail with Outlook. Other apps include OneDrive for Business (built into Office Mobile).</a:t>
            </a:r>
          </a:p>
          <a:p>
            <a:endParaRPr lang="en-US" baseline="0" dirty="0" smtClean="0"/>
          </a:p>
          <a:p>
            <a:pPr lvl="0"/>
            <a:r>
              <a:rPr lang="en-US" sz="900" kern="1200" dirty="0" smtClean="0">
                <a:solidFill>
                  <a:schemeClr val="tx1"/>
                </a:solidFill>
                <a:effectLst/>
                <a:latin typeface="Segoe UI Light" pitchFamily="34" charset="0"/>
                <a:ea typeface="+mn-ea"/>
                <a:cs typeface="+mn-cs"/>
              </a:rPr>
              <a:t>Office Mobile is also available for iPhone a</a:t>
            </a:r>
            <a:r>
              <a:rPr lang="en-US" sz="900" kern="1200" baseline="0" dirty="0" smtClean="0">
                <a:solidFill>
                  <a:schemeClr val="tx1"/>
                </a:solidFill>
                <a:effectLst/>
                <a:latin typeface="Segoe UI Light" pitchFamily="34" charset="0"/>
                <a:ea typeface="+mn-ea"/>
                <a:cs typeface="+mn-cs"/>
              </a:rPr>
              <a:t>nd Android phones </a:t>
            </a:r>
            <a:r>
              <a:rPr lang="en-US" sz="900" kern="1200" dirty="0" smtClean="0">
                <a:solidFill>
                  <a:schemeClr val="tx1"/>
                </a:solidFill>
                <a:effectLst/>
                <a:latin typeface="Segoe UI Light" pitchFamily="34" charset="0"/>
                <a:ea typeface="+mn-ea"/>
                <a:cs typeface="+mn-cs"/>
              </a:rPr>
              <a:t>at no additional charge for Office 365 subscribers, along with </a:t>
            </a:r>
            <a:r>
              <a:rPr lang="en-US" sz="900" kern="1200" baseline="0" dirty="0" smtClean="0">
                <a:solidFill>
                  <a:schemeClr val="tx1"/>
                </a:solidFill>
                <a:effectLst/>
                <a:latin typeface="Segoe UI Light" pitchFamily="34" charset="0"/>
                <a:ea typeface="+mn-ea"/>
                <a:cs typeface="+mn-cs"/>
              </a:rPr>
              <a:t>OneNote Mobile. </a:t>
            </a:r>
            <a:r>
              <a:rPr lang="en-US" sz="900" kern="1200" dirty="0" smtClean="0">
                <a:solidFill>
                  <a:schemeClr val="tx1"/>
                </a:solidFill>
                <a:effectLst/>
                <a:latin typeface="Segoe UI Light" pitchFamily="34" charset="0"/>
                <a:ea typeface="+mn-ea"/>
                <a:cs typeface="+mn-cs"/>
              </a:rPr>
              <a:t>Similar to Office Mobile on Windows Phone, Office Mobile for iPhone and</a:t>
            </a:r>
            <a:r>
              <a:rPr lang="en-US" sz="900" kern="1200" baseline="0" dirty="0" smtClean="0">
                <a:solidFill>
                  <a:schemeClr val="tx1"/>
                </a:solidFill>
                <a:effectLst/>
                <a:latin typeface="Segoe UI Light" pitchFamily="34" charset="0"/>
                <a:ea typeface="+mn-ea"/>
                <a:cs typeface="+mn-cs"/>
              </a:rPr>
              <a:t> Android phones </a:t>
            </a:r>
            <a:r>
              <a:rPr lang="en-US" sz="900" kern="1200" dirty="0" smtClean="0">
                <a:solidFill>
                  <a:schemeClr val="tx1"/>
                </a:solidFill>
                <a:effectLst/>
                <a:latin typeface="Segoe UI Light" pitchFamily="34" charset="0"/>
                <a:ea typeface="+mn-ea"/>
                <a:cs typeface="+mn-cs"/>
              </a:rPr>
              <a:t>offers great Office content viewing and on-the-go content editing capabilities for Word, Excel and PowerPoint documents. </a:t>
            </a:r>
            <a:endParaRPr lang="en-US" sz="900" kern="1200" baseline="0" dirty="0" smtClean="0">
              <a:solidFill>
                <a:schemeClr val="tx1"/>
              </a:solidFill>
              <a:effectLst/>
              <a:latin typeface="Segoe UI Light" pitchFamily="34" charset="0"/>
              <a:ea typeface="+mn-ea"/>
              <a:cs typeface="+mn-cs"/>
            </a:endParaRPr>
          </a:p>
          <a:p>
            <a:pPr lvl="0"/>
            <a:endParaRPr lang="en-US" baseline="0" dirty="0" smtClean="0"/>
          </a:p>
          <a:p>
            <a:r>
              <a:rPr lang="en-US" b="0" baseline="0" dirty="0" smtClean="0"/>
              <a:t>And of course, with all these devices, you can always log in to your Office 365 Business account from any browser and use Office Online in the browser, as well as check emails and your calendar, see all your contacts and more.</a:t>
            </a:r>
          </a:p>
          <a:p>
            <a:endParaRPr lang="en-US" baseline="0" dirty="0" smtClean="0"/>
          </a:p>
        </p:txBody>
      </p:sp>
      <p:sp>
        <p:nvSpPr>
          <p:cNvPr id="4" name="Date Placeholder 3"/>
          <p:cNvSpPr>
            <a:spLocks noGrp="1"/>
          </p:cNvSpPr>
          <p:nvPr>
            <p:ph type="dt" idx="10"/>
          </p:nvPr>
        </p:nvSpPr>
        <p:spPr/>
        <p:txBody>
          <a:bodyPr/>
          <a:lstStyle/>
          <a:p>
            <a:fld id="{FD379558-2243-48F2-BBEF-6B7BCE1B49CD}" type="datetime1">
              <a:rPr lang="en-US" smtClean="0">
                <a:solidFill>
                  <a:prstClr val="black"/>
                </a:solidFill>
              </a:rPr>
              <a:pPr/>
              <a:t>9/11/2014</a:t>
            </a:fld>
            <a:endParaRPr lang="en-US" dirty="0">
              <a:solidFill>
                <a:prstClr val="black"/>
              </a:solidFill>
            </a:endParaRPr>
          </a:p>
        </p:txBody>
      </p:sp>
      <p:sp>
        <p:nvSpPr>
          <p:cNvPr id="5" name="Slide Number Placeholder 4"/>
          <p:cNvSpPr>
            <a:spLocks noGrp="1"/>
          </p:cNvSpPr>
          <p:nvPr>
            <p:ph type="sldNum" sz="quarter" idx="11"/>
          </p:nvPr>
        </p:nvSpPr>
        <p:spPr/>
        <p:txBody>
          <a:bodyPr/>
          <a:lstStyle/>
          <a:p>
            <a:fld id="{B4008EB6-D09E-4580-8CD6-DDB14511944F}" type="slidenum">
              <a:rPr lang="en-US" smtClean="0">
                <a:solidFill>
                  <a:prstClr val="black"/>
                </a:solidFill>
              </a:rPr>
              <a:pPr/>
              <a:t>6</a:t>
            </a:fld>
            <a:endParaRPr lang="en-US" dirty="0">
              <a:solidFill>
                <a:prstClr val="black"/>
              </a:solidFill>
            </a:endParaRPr>
          </a:p>
        </p:txBody>
      </p:sp>
      <p:sp>
        <p:nvSpPr>
          <p:cNvPr id="6" name="Header Placeholder 5"/>
          <p:cNvSpPr>
            <a:spLocks noGrp="1"/>
          </p:cNvSpPr>
          <p:nvPr>
            <p:ph type="hdr" sz="quarter" idx="12"/>
          </p:nvPr>
        </p:nvSpPr>
        <p:spPr/>
        <p:txBody>
          <a:bodyPr/>
          <a:lstStyle/>
          <a:p>
            <a:r>
              <a:rPr lang="en-US" dirty="0" smtClean="0">
                <a:solidFill>
                  <a:prstClr val="black"/>
                </a:solidFill>
              </a:rPr>
              <a:t>Microsoft Lync</a:t>
            </a:r>
            <a:endParaRPr lang="en-US" dirty="0">
              <a:solidFill>
                <a:prstClr val="black"/>
              </a:solidFill>
            </a:endParaRPr>
          </a:p>
        </p:txBody>
      </p:sp>
      <p:sp>
        <p:nvSpPr>
          <p:cNvPr id="7" name="Footer Placeholder 6"/>
          <p:cNvSpPr>
            <a:spLocks noGrp="1"/>
          </p:cNvSpPr>
          <p:nvPr>
            <p:ph type="ftr" sz="quarter" idx="13"/>
          </p:nvPr>
        </p:nvSpPr>
        <p:spPr/>
        <p:txBody>
          <a:bodyPr/>
          <a:lstStyle/>
          <a:p>
            <a:pPr marL="231775" defTabSz="914099" eaLnBrk="0" hangingPunct="0"/>
            <a:r>
              <a:rPr lang="en-US" sz="5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231775" defTabSz="914099" eaLnBrk="0" hangingPunct="0"/>
            <a:r>
              <a:rPr lang="en-US" sz="5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5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12119912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smtClean="0"/>
              <a:t>You usually travel with your laptop or tablets. But on the occasion that they ran out of battery, or you accidentally pour coffee over them. Have piece of mind knowing you can still access, edit, and share your important business documents </a:t>
            </a:r>
            <a:r>
              <a:rPr lang="en-US" sz="900" kern="1200" dirty="0" smtClean="0">
                <a:solidFill>
                  <a:schemeClr val="tx1"/>
                </a:solidFill>
                <a:effectLst/>
                <a:latin typeface="Segoe UI Light" pitchFamily="34" charset="0"/>
                <a:ea typeface="+mn-ea"/>
                <a:cs typeface="+mn-cs"/>
              </a:rPr>
              <a:t>even when you don’t have access to your own device.</a:t>
            </a:r>
          </a:p>
          <a:p>
            <a:endParaRPr lang="en-US" sz="900" kern="1200" dirty="0" smtClean="0">
              <a:solidFill>
                <a:schemeClr val="tx1"/>
              </a:solidFill>
              <a:effectLst/>
              <a:latin typeface="Segoe UI Light" pitchFamily="34" charset="0"/>
              <a:ea typeface="+mn-ea"/>
              <a:cs typeface="+mn-cs"/>
            </a:endParaRPr>
          </a:p>
          <a:p>
            <a:pPr marL="0" marR="0" lvl="0" indent="0" algn="l" defTabSz="914363" rtl="0" eaLnBrk="1" fontAlgn="auto" latinLnBrk="0" hangingPunct="1">
              <a:lnSpc>
                <a:spcPct val="90000"/>
              </a:lnSpc>
              <a:spcBef>
                <a:spcPts val="0"/>
              </a:spcBef>
              <a:spcAft>
                <a:spcPts val="333"/>
              </a:spcAft>
              <a:buClrTx/>
              <a:buSzTx/>
              <a:buFontTx/>
              <a:buNone/>
              <a:tabLst/>
              <a:defRPr/>
            </a:pPr>
            <a:r>
              <a:rPr lang="en-US" sz="900" kern="1200" dirty="0" smtClean="0">
                <a:solidFill>
                  <a:schemeClr val="tx1"/>
                </a:solidFill>
                <a:effectLst/>
                <a:latin typeface="Segoe UI Light" pitchFamily="34" charset="0"/>
                <a:ea typeface="+mn-ea"/>
                <a:cs typeface="+mn-cs"/>
              </a:rPr>
              <a:t>By simply logging into your Office account online, you can access and edit the most up to date version of your files from any browser without losing formatting. Office</a:t>
            </a:r>
            <a:r>
              <a:rPr lang="en-US" sz="900" kern="1200" baseline="0" dirty="0" smtClean="0">
                <a:solidFill>
                  <a:schemeClr val="tx1"/>
                </a:solidFill>
                <a:effectLst/>
                <a:latin typeface="Segoe UI Light" pitchFamily="34" charset="0"/>
                <a:ea typeface="+mn-ea"/>
                <a:cs typeface="+mn-cs"/>
              </a:rPr>
              <a:t> Online allows you to access, edit, and share all the </a:t>
            </a:r>
            <a:r>
              <a:rPr lang="en-US" baseline="0" dirty="0" smtClean="0"/>
              <a:t>documents you stored online, including a list of recent documents and real-time updates so you can stay current when collaborating with others, and the Outlook Web App. And when you click on any of the documents, you’ll be able to open and make edits to the documents right in the browser using Office Online.</a:t>
            </a:r>
          </a:p>
          <a:p>
            <a:endParaRPr lang="en-US" baseline="0" dirty="0" smtClean="0"/>
          </a:p>
          <a:p>
            <a:r>
              <a:rPr lang="en-US" baseline="0" dirty="0" smtClean="0"/>
              <a:t>Office Online is now improved to provide you with a great experience in your web browser so you can create new documents or edit using your favorite browser. </a:t>
            </a:r>
          </a:p>
          <a:p>
            <a:endParaRPr lang="en-US" baseline="0" dirty="0" smtClean="0"/>
          </a:p>
          <a:p>
            <a:r>
              <a:rPr lang="en-US" baseline="0" dirty="0" smtClean="0"/>
              <a:t>With the new and improved Office Online, you get more of the same ribbon experience that you are familiar with in the rich application. And more options will be added as we continue to improve in the upcoming releases. </a:t>
            </a:r>
          </a:p>
        </p:txBody>
      </p:sp>
      <p:sp>
        <p:nvSpPr>
          <p:cNvPr id="4" name="Date Placeholder 3"/>
          <p:cNvSpPr>
            <a:spLocks noGrp="1"/>
          </p:cNvSpPr>
          <p:nvPr>
            <p:ph type="dt" idx="10"/>
          </p:nvPr>
        </p:nvSpPr>
        <p:spPr/>
        <p:txBody>
          <a:bodyPr/>
          <a:lstStyle/>
          <a:p>
            <a:fld id="{3DAE3A79-732E-493A-909A-761B194ED834}" type="datetime1">
              <a:rPr lang="en-US" smtClean="0">
                <a:solidFill>
                  <a:prstClr val="black"/>
                </a:solidFill>
              </a:rPr>
              <a:pPr/>
              <a:t>9/11/2014</a:t>
            </a:fld>
            <a:endParaRPr lang="en-US" dirty="0">
              <a:solidFill>
                <a:prstClr val="black"/>
              </a:solidFill>
            </a:endParaRPr>
          </a:p>
        </p:txBody>
      </p:sp>
      <p:sp>
        <p:nvSpPr>
          <p:cNvPr id="5" name="Slide Number Placeholder 4"/>
          <p:cNvSpPr>
            <a:spLocks noGrp="1"/>
          </p:cNvSpPr>
          <p:nvPr>
            <p:ph type="sldNum" sz="quarter" idx="11"/>
          </p:nvPr>
        </p:nvSpPr>
        <p:spPr/>
        <p:txBody>
          <a:bodyPr/>
          <a:lstStyle/>
          <a:p>
            <a:fld id="{B4008EB6-D09E-4580-8CD6-DDB14511944F}" type="slidenum">
              <a:rPr lang="en-US" smtClean="0">
                <a:solidFill>
                  <a:prstClr val="black"/>
                </a:solidFill>
              </a:rPr>
              <a:pPr/>
              <a:t>7</a:t>
            </a:fld>
            <a:endParaRPr lang="en-US" dirty="0">
              <a:solidFill>
                <a:prstClr val="black"/>
              </a:solidFill>
            </a:endParaRPr>
          </a:p>
        </p:txBody>
      </p:sp>
      <p:sp>
        <p:nvSpPr>
          <p:cNvPr id="6" name="Header Placeholder 5"/>
          <p:cNvSpPr>
            <a:spLocks noGrp="1"/>
          </p:cNvSpPr>
          <p:nvPr>
            <p:ph type="hdr" sz="quarter" idx="12"/>
          </p:nvPr>
        </p:nvSpPr>
        <p:spPr/>
        <p:txBody>
          <a:bodyPr/>
          <a:lstStyle/>
          <a:p>
            <a:r>
              <a:rPr lang="en-US" dirty="0" smtClean="0">
                <a:solidFill>
                  <a:prstClr val="black"/>
                </a:solidFill>
              </a:rPr>
              <a:t>Microsoft Lync</a:t>
            </a:r>
            <a:endParaRPr lang="en-US" dirty="0">
              <a:solidFill>
                <a:prstClr val="black"/>
              </a:solidFill>
            </a:endParaRPr>
          </a:p>
        </p:txBody>
      </p:sp>
      <p:sp>
        <p:nvSpPr>
          <p:cNvPr id="7" name="Footer Placeholder 6"/>
          <p:cNvSpPr>
            <a:spLocks noGrp="1"/>
          </p:cNvSpPr>
          <p:nvPr>
            <p:ph type="ftr" sz="quarter" idx="13"/>
          </p:nvPr>
        </p:nvSpPr>
        <p:spPr/>
        <p:txBody>
          <a:bodyPr/>
          <a:lstStyle/>
          <a:p>
            <a:pPr marL="231775" defTabSz="914099" eaLnBrk="0" hangingPunct="0"/>
            <a:r>
              <a:rPr lang="en-US" sz="5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231775" defTabSz="914099" eaLnBrk="0" hangingPunct="0"/>
            <a:r>
              <a:rPr lang="en-US" sz="5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5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90544329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smtClean="0">
                <a:solidFill>
                  <a:schemeClr val="tx1"/>
                </a:solidFill>
                <a:effectLst/>
                <a:latin typeface="Segoe UI Light" pitchFamily="34" charset="0"/>
                <a:ea typeface="+mn-ea"/>
                <a:cs typeface="+mn-cs"/>
              </a:rPr>
              <a:t>Enjoy the freedom </a:t>
            </a:r>
            <a:r>
              <a:rPr lang="en-US" sz="900" b="0" kern="1200" dirty="0" smtClean="0">
                <a:solidFill>
                  <a:schemeClr val="tx1"/>
                </a:solidFill>
                <a:effectLst/>
                <a:latin typeface="Segoe UI Light" pitchFamily="34" charset="0"/>
                <a:ea typeface="+mn-ea"/>
                <a:cs typeface="+mn-cs"/>
              </a:rPr>
              <a:t>of being productive whenever, wherever.</a:t>
            </a:r>
            <a:r>
              <a:rPr lang="en-US" sz="900" b="0" kern="1200" baseline="0" dirty="0" smtClean="0">
                <a:solidFill>
                  <a:schemeClr val="tx1"/>
                </a:solidFill>
                <a:effectLst/>
                <a:latin typeface="Segoe UI Light" pitchFamily="34" charset="0"/>
                <a:ea typeface="+mn-ea"/>
                <a:cs typeface="+mn-cs"/>
              </a:rPr>
              <a:t> </a:t>
            </a:r>
            <a:r>
              <a:rPr lang="en-US" sz="900" kern="1200" dirty="0" smtClean="0">
                <a:solidFill>
                  <a:schemeClr val="tx1"/>
                </a:solidFill>
                <a:effectLst/>
                <a:latin typeface="Segoe UI Light" pitchFamily="34" charset="0"/>
                <a:ea typeface="+mn-ea"/>
                <a:cs typeface="+mn-cs"/>
              </a:rPr>
              <a:t>With Office 365 Business, you</a:t>
            </a:r>
            <a:r>
              <a:rPr lang="en-US" sz="900" kern="1200" baseline="0" dirty="0" smtClean="0">
                <a:solidFill>
                  <a:schemeClr val="tx1"/>
                </a:solidFill>
                <a:effectLst/>
                <a:latin typeface="Segoe UI Light" pitchFamily="34" charset="0"/>
                <a:ea typeface="+mn-ea"/>
                <a:cs typeface="+mn-cs"/>
              </a:rPr>
              <a:t> </a:t>
            </a:r>
            <a:r>
              <a:rPr lang="en-US" sz="900" kern="1200" dirty="0" smtClean="0">
                <a:solidFill>
                  <a:schemeClr val="tx1"/>
                </a:solidFill>
                <a:effectLst/>
                <a:latin typeface="Segoe UI Light" pitchFamily="34" charset="0"/>
                <a:ea typeface="+mn-ea"/>
                <a:cs typeface="+mn-cs"/>
              </a:rPr>
              <a:t>get the full Office desktop and mobile</a:t>
            </a:r>
            <a:r>
              <a:rPr lang="en-US" sz="900" kern="1200" baseline="0" dirty="0" smtClean="0">
                <a:solidFill>
                  <a:schemeClr val="tx1"/>
                </a:solidFill>
                <a:effectLst/>
                <a:latin typeface="Segoe UI Light" pitchFamily="34" charset="0"/>
                <a:ea typeface="+mn-ea"/>
                <a:cs typeface="+mn-cs"/>
              </a:rPr>
              <a:t> </a:t>
            </a:r>
            <a:r>
              <a:rPr lang="en-US" sz="900" kern="1200" dirty="0" smtClean="0">
                <a:solidFill>
                  <a:schemeClr val="tx1"/>
                </a:solidFill>
                <a:effectLst/>
                <a:latin typeface="Segoe UI Light" pitchFamily="34" charset="0"/>
                <a:ea typeface="+mn-ea"/>
                <a:cs typeface="+mn-cs"/>
              </a:rPr>
              <a:t>apps so you can</a:t>
            </a:r>
            <a:r>
              <a:rPr lang="en-US" sz="900" kern="1200" baseline="0" dirty="0" smtClean="0">
                <a:solidFill>
                  <a:schemeClr val="tx1"/>
                </a:solidFill>
                <a:effectLst/>
                <a:latin typeface="Segoe UI Light" pitchFamily="34" charset="0"/>
                <a:ea typeface="+mn-ea"/>
                <a:cs typeface="+mn-cs"/>
              </a:rPr>
              <a:t> sync </a:t>
            </a:r>
            <a:r>
              <a:rPr lang="en-US" sz="900" kern="1200" dirty="0" smtClean="0">
                <a:solidFill>
                  <a:schemeClr val="tx1"/>
                </a:solidFill>
                <a:effectLst/>
                <a:latin typeface="Segoe UI Light" pitchFamily="34" charset="0"/>
                <a:ea typeface="+mn-ea"/>
                <a:cs typeface="+mn-cs"/>
              </a:rPr>
              <a:t>files to your devices for offline access so you can access and edit files saved in the cloud or on your computer even when you’re</a:t>
            </a:r>
            <a:r>
              <a:rPr lang="en-US" sz="900" kern="1200" baseline="0" dirty="0" smtClean="0">
                <a:solidFill>
                  <a:schemeClr val="tx1"/>
                </a:solidFill>
                <a:effectLst/>
                <a:latin typeface="Segoe UI Light" pitchFamily="34" charset="0"/>
                <a:ea typeface="+mn-ea"/>
                <a:cs typeface="+mn-cs"/>
              </a:rPr>
              <a:t> on the go, working offline</a:t>
            </a:r>
            <a:r>
              <a:rPr lang="en-US" sz="900" kern="1200" dirty="0" smtClean="0">
                <a:solidFill>
                  <a:schemeClr val="tx1"/>
                </a:solidFill>
                <a:effectLst/>
                <a:latin typeface="Segoe UI Light" pitchFamily="34" charset="0"/>
                <a:ea typeface="+mn-ea"/>
                <a:cs typeface="+mn-cs"/>
              </a:rPr>
              <a:t>. As you work, Office 365 Business stores your changes and automatically synchronizes them when you go back online, so you can stay current and connected, in or out of the office. </a:t>
            </a:r>
          </a:p>
        </p:txBody>
      </p:sp>
      <p:sp>
        <p:nvSpPr>
          <p:cNvPr id="4" name="Date Placeholder 3"/>
          <p:cNvSpPr>
            <a:spLocks noGrp="1"/>
          </p:cNvSpPr>
          <p:nvPr>
            <p:ph type="dt" idx="10"/>
          </p:nvPr>
        </p:nvSpPr>
        <p:spPr/>
        <p:txBody>
          <a:bodyPr/>
          <a:lstStyle/>
          <a:p>
            <a:fld id="{4B1F921E-DA9D-4F65-99D4-0FF693C9EB30}" type="datetime1">
              <a:rPr lang="en-US" smtClean="0">
                <a:solidFill>
                  <a:prstClr val="black"/>
                </a:solidFill>
              </a:rPr>
              <a:pPr/>
              <a:t>9/11/2014</a:t>
            </a:fld>
            <a:endParaRPr lang="en-US" dirty="0">
              <a:solidFill>
                <a:prstClr val="black"/>
              </a:solidFill>
            </a:endParaRPr>
          </a:p>
        </p:txBody>
      </p:sp>
      <p:sp>
        <p:nvSpPr>
          <p:cNvPr id="5" name="Slide Number Placeholder 4"/>
          <p:cNvSpPr>
            <a:spLocks noGrp="1"/>
          </p:cNvSpPr>
          <p:nvPr>
            <p:ph type="sldNum" sz="quarter" idx="11"/>
          </p:nvPr>
        </p:nvSpPr>
        <p:spPr/>
        <p:txBody>
          <a:bodyPr/>
          <a:lstStyle/>
          <a:p>
            <a:fld id="{B4008EB6-D09E-4580-8CD6-DDB14511944F}" type="slidenum">
              <a:rPr lang="en-US" smtClean="0">
                <a:solidFill>
                  <a:prstClr val="black"/>
                </a:solidFill>
              </a:rPr>
              <a:pPr/>
              <a:t>8</a:t>
            </a:fld>
            <a:endParaRPr lang="en-US" dirty="0">
              <a:solidFill>
                <a:prstClr val="black"/>
              </a:solidFill>
            </a:endParaRPr>
          </a:p>
        </p:txBody>
      </p:sp>
      <p:sp>
        <p:nvSpPr>
          <p:cNvPr id="6" name="Header Placeholder 5"/>
          <p:cNvSpPr>
            <a:spLocks noGrp="1"/>
          </p:cNvSpPr>
          <p:nvPr>
            <p:ph type="hdr" sz="quarter" idx="12"/>
          </p:nvPr>
        </p:nvSpPr>
        <p:spPr/>
        <p:txBody>
          <a:bodyPr/>
          <a:lstStyle/>
          <a:p>
            <a:r>
              <a:rPr lang="en-US" dirty="0" smtClean="0">
                <a:solidFill>
                  <a:prstClr val="black"/>
                </a:solidFill>
              </a:rPr>
              <a:t>Microsoft Lync</a:t>
            </a:r>
            <a:endParaRPr lang="en-US" dirty="0">
              <a:solidFill>
                <a:prstClr val="black"/>
              </a:solidFill>
            </a:endParaRPr>
          </a:p>
        </p:txBody>
      </p:sp>
      <p:sp>
        <p:nvSpPr>
          <p:cNvPr id="7" name="Footer Placeholder 6"/>
          <p:cNvSpPr>
            <a:spLocks noGrp="1"/>
          </p:cNvSpPr>
          <p:nvPr>
            <p:ph type="ftr" sz="quarter" idx="13"/>
          </p:nvPr>
        </p:nvSpPr>
        <p:spPr/>
        <p:txBody>
          <a:bodyPr/>
          <a:lstStyle/>
          <a:p>
            <a:pPr marL="231775" defTabSz="914099" eaLnBrk="0" hangingPunct="0"/>
            <a:r>
              <a:rPr lang="en-US" sz="5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231775" defTabSz="914099" eaLnBrk="0" hangingPunct="0"/>
            <a:r>
              <a:rPr lang="en-US" sz="5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5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41911135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63" rtl="0" eaLnBrk="1" fontAlgn="auto" latinLnBrk="0" hangingPunct="1">
              <a:lnSpc>
                <a:spcPct val="90000"/>
              </a:lnSpc>
              <a:spcBef>
                <a:spcPts val="0"/>
              </a:spcBef>
              <a:spcAft>
                <a:spcPts val="333"/>
              </a:spcAft>
              <a:buClrTx/>
              <a:buSzTx/>
              <a:buFontTx/>
              <a:buNone/>
              <a:tabLst/>
              <a:defRPr/>
            </a:pPr>
            <a:r>
              <a:rPr lang="en-US" dirty="0" smtClean="0"/>
              <a:t>Now, let’s </a:t>
            </a:r>
            <a:r>
              <a:rPr lang="en-US" baseline="0" dirty="0" smtClean="0"/>
              <a:t>see how Office 365 Business provides you with the best &amp; latest version of Office…</a:t>
            </a:r>
            <a:endParaRPr lang="en-US" dirty="0"/>
          </a:p>
        </p:txBody>
      </p:sp>
      <p:sp>
        <p:nvSpPr>
          <p:cNvPr id="4" name="Date Placeholder 3"/>
          <p:cNvSpPr>
            <a:spLocks noGrp="1"/>
          </p:cNvSpPr>
          <p:nvPr>
            <p:ph type="dt" idx="10"/>
          </p:nvPr>
        </p:nvSpPr>
        <p:spPr/>
        <p:txBody>
          <a:bodyPr/>
          <a:lstStyle/>
          <a:p>
            <a:fld id="{266532C8-FAF2-41B3-A45A-71A64CF06666}" type="datetime1">
              <a:rPr lang="en-US" smtClean="0"/>
              <a:t>9/11/2014</a:t>
            </a:fld>
            <a:endParaRPr lang="en-US" dirty="0"/>
          </a:p>
        </p:txBody>
      </p:sp>
      <p:sp>
        <p:nvSpPr>
          <p:cNvPr id="5" name="Slide Number Placeholder 4"/>
          <p:cNvSpPr>
            <a:spLocks noGrp="1"/>
          </p:cNvSpPr>
          <p:nvPr>
            <p:ph type="sldNum" sz="quarter" idx="11"/>
          </p:nvPr>
        </p:nvSpPr>
        <p:spPr/>
        <p:txBody>
          <a:bodyPr/>
          <a:lstStyle/>
          <a:p>
            <a:fld id="{B4008EB6-D09E-4580-8CD6-DDB14511944F}" type="slidenum">
              <a:rPr lang="en-US" smtClean="0"/>
              <a:t>9</a:t>
            </a:fld>
            <a:endParaRPr lang="en-US" dirty="0"/>
          </a:p>
        </p:txBody>
      </p:sp>
      <p:sp>
        <p:nvSpPr>
          <p:cNvPr id="6" name="Header Placeholder 5"/>
          <p:cNvSpPr>
            <a:spLocks noGrp="1"/>
          </p:cNvSpPr>
          <p:nvPr>
            <p:ph type="hdr" sz="quarter" idx="12"/>
          </p:nvPr>
        </p:nvSpPr>
        <p:spPr/>
        <p:txBody>
          <a:bodyPr/>
          <a:lstStyle/>
          <a:p>
            <a:r>
              <a:rPr lang="en-US" smtClean="0"/>
              <a:t>Microsoft Office365</a:t>
            </a:r>
            <a:endParaRPr lang="en-US" dirty="0"/>
          </a:p>
        </p:txBody>
      </p:sp>
      <p:sp>
        <p:nvSpPr>
          <p:cNvPr id="7" name="Footer Placeholder 6"/>
          <p:cNvSpPr>
            <a:spLocks noGrp="1"/>
          </p:cNvSpPr>
          <p:nvPr>
            <p:ph type="ftr" sz="quarter" idx="13"/>
          </p:nvPr>
        </p:nvSpPr>
        <p:spPr/>
        <p:txBody>
          <a:bodyPr/>
          <a:lstStyle/>
          <a:p>
            <a:pPr marL="231775" defTabSz="914099" eaLnBrk="0" hangingPunct="0"/>
            <a:r>
              <a:rPr lang="en-US" sz="500" smtClean="0">
                <a:gradFill>
                  <a:gsLst>
                    <a:gs pos="0">
                      <a:schemeClr val="tx1"/>
                    </a:gs>
                    <a:gs pos="100000">
                      <a:schemeClr val="tx1"/>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231775" defTabSz="914099" eaLnBrk="0" hangingPunct="0"/>
            <a:r>
              <a:rPr lang="en-US" sz="500" smtClean="0">
                <a:gradFill>
                  <a:gsLst>
                    <a:gs pos="0">
                      <a:schemeClr val="tx1"/>
                    </a:gs>
                    <a:gs pos="100000">
                      <a:schemeClr val="tx1"/>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5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408486790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2"/>
            <a:ext cx="10237787" cy="997196"/>
          </a:xfrm>
        </p:spPr>
        <p:txBody>
          <a:bodyPr anchor="b" anchorCtr="0"/>
          <a:lstStyle>
            <a:lvl1pPr>
              <a:defRPr sz="7182" spc="-150" baseline="0">
                <a:gradFill>
                  <a:gsLst>
                    <a:gs pos="1250">
                      <a:schemeClr val="bg1"/>
                    </a:gs>
                    <a:gs pos="100000">
                      <a:schemeClr val="bg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5"/>
            <a:ext cx="10237787" cy="498598"/>
          </a:xfrm>
        </p:spPr>
        <p:txBody>
          <a:bodyPr>
            <a:noAutofit/>
          </a:bodyPr>
          <a:lstStyle>
            <a:lvl1pPr marL="0" indent="0">
              <a:spcBef>
                <a:spcPts val="0"/>
              </a:spcBef>
              <a:buNone/>
              <a:defRPr spc="-70" baseline="0">
                <a:gradFill>
                  <a:gsLst>
                    <a:gs pos="0">
                      <a:schemeClr val="bg1"/>
                    </a:gs>
                    <a:gs pos="100000">
                      <a:schemeClr val="bg1"/>
                    </a:gs>
                  </a:gsLst>
                  <a:lin ang="5400000" scaled="0"/>
                </a:gradFill>
                <a:latin typeface="+mj-lt"/>
              </a:defRPr>
            </a:lvl1pPr>
          </a:lstStyle>
          <a:p>
            <a:pPr lvl="0"/>
            <a:r>
              <a:rPr lang="en-US" dirty="0" smtClean="0"/>
              <a:t>Speaker Title</a:t>
            </a:r>
            <a:endParaRPr lang="en-US" dirty="0"/>
          </a:p>
        </p:txBody>
      </p:sp>
      <p:pic>
        <p:nvPicPr>
          <p:cNvPr id="6" name="Picture 5"/>
          <p:cNvPicPr>
            <a:picLocks noChangeAspect="1"/>
          </p:cNvPicPr>
          <p:nvPr userDrawn="1"/>
        </p:nvPicPr>
        <p:blipFill>
          <a:blip r:embed="rId2"/>
          <a:stretch>
            <a:fillRect/>
          </a:stretch>
        </p:blipFill>
        <p:spPr>
          <a:xfrm>
            <a:off x="9833518" y="5883313"/>
            <a:ext cx="1930320" cy="763197"/>
          </a:xfrm>
          <a:prstGeom prst="rect">
            <a:avLst/>
          </a:prstGeom>
        </p:spPr>
      </p:pic>
    </p:spTree>
    <p:extLst>
      <p:ext uri="{BB962C8B-B14F-4D97-AF65-F5344CB8AC3E}">
        <p14:creationId xmlns:p14="http://schemas.microsoft.com/office/powerpoint/2010/main" val="37320993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With Logo">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6" name="Slide Number Placeholder 9"/>
          <p:cNvSpPr>
            <a:spLocks noGrp="1"/>
          </p:cNvSpPr>
          <p:nvPr>
            <p:ph type="sldNum" sz="quarter" idx="12"/>
          </p:nvPr>
        </p:nvSpPr>
        <p:spPr>
          <a:xfrm>
            <a:off x="520701" y="6399557"/>
            <a:ext cx="560686" cy="219456"/>
          </a:xfrm>
          <a:prstGeom prst="rect">
            <a:avLst/>
          </a:prstGeom>
        </p:spPr>
        <p:txBody>
          <a:bodyPr lIns="121899" tIns="60949" rIns="121899" bIns="60949" anchor="ctr"/>
          <a:lstStyle>
            <a:lvl1pPr algn="l">
              <a:defRPr sz="1596">
                <a:gradFill>
                  <a:gsLst>
                    <a:gs pos="100000">
                      <a:schemeClr val="bg2"/>
                    </a:gs>
                    <a:gs pos="0">
                      <a:schemeClr val="bg2"/>
                    </a:gs>
                  </a:gsLst>
                  <a:lin ang="5400000" scaled="0"/>
                </a:gradFill>
              </a:defRPr>
            </a:lvl1pPr>
          </a:lstStyle>
          <a:p>
            <a:pPr defTabSz="912115"/>
            <a:fld id="{727B4C2D-45E2-4621-8491-2995EB46A674}" type="slidenum">
              <a:rPr lang="en-US" smtClean="0">
                <a:gradFill>
                  <a:gsLst>
                    <a:gs pos="100000">
                      <a:srgbClr val="797A7D"/>
                    </a:gs>
                    <a:gs pos="0">
                      <a:srgbClr val="797A7D"/>
                    </a:gs>
                  </a:gsLst>
                  <a:lin ang="5400000" scaled="0"/>
                </a:gradFill>
              </a:rPr>
              <a:pPr defTabSz="912115"/>
              <a:t>‹#›</a:t>
            </a:fld>
            <a:endParaRPr lang="en-US" dirty="0">
              <a:gradFill>
                <a:gsLst>
                  <a:gs pos="100000">
                    <a:srgbClr val="797A7D"/>
                  </a:gs>
                  <a:gs pos="0">
                    <a:srgbClr val="797A7D"/>
                  </a:gs>
                </a:gsLst>
                <a:lin ang="5400000" scaled="0"/>
              </a:gradFill>
            </a:endParaRPr>
          </a:p>
        </p:txBody>
      </p:sp>
      <p:pic>
        <p:nvPicPr>
          <p:cNvPr id="7" name="Picture 6"/>
          <p:cNvPicPr>
            <a:picLocks noChangeAspect="1"/>
          </p:cNvPicPr>
          <p:nvPr userDrawn="1"/>
        </p:nvPicPr>
        <p:blipFill>
          <a:blip r:embed="rId2"/>
          <a:stretch>
            <a:fillRect/>
          </a:stretch>
        </p:blipFill>
        <p:spPr>
          <a:xfrm>
            <a:off x="10699082" y="6301222"/>
            <a:ext cx="1489745" cy="548317"/>
          </a:xfrm>
          <a:prstGeom prst="rect">
            <a:avLst/>
          </a:prstGeom>
        </p:spPr>
      </p:pic>
    </p:spTree>
    <p:extLst>
      <p:ext uri="{BB962C8B-B14F-4D97-AF65-F5344CB8AC3E}">
        <p14:creationId xmlns:p14="http://schemas.microsoft.com/office/powerpoint/2010/main" val="2287842020"/>
      </p:ext>
    </p:extLst>
  </p:cSld>
  <p:clrMapOvr>
    <a:masterClrMapping/>
  </p:clrMapOvr>
  <p:transition>
    <p:fade/>
  </p:transition>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701" y="1447804"/>
            <a:ext cx="5394960" cy="2351413"/>
          </a:xfrm>
        </p:spPr>
        <p:txBody>
          <a:bodyPr>
            <a:spAutoFit/>
          </a:bodyPr>
          <a:lstStyle>
            <a:lvl1pPr marL="291370" indent="-291370">
              <a:spcBef>
                <a:spcPts val="1197"/>
              </a:spcBef>
              <a:buClr>
                <a:schemeClr val="bg2"/>
              </a:buClr>
              <a:buSzPct val="100000"/>
              <a:buFont typeface="Wingdings" pitchFamily="2" charset="2"/>
              <a:buChar char=""/>
              <a:defRPr lang="en-US" sz="3591" kern="1200" spc="-70" baseline="0" dirty="0" smtClean="0">
                <a:gradFill>
                  <a:gsLst>
                    <a:gs pos="1250">
                      <a:schemeClr val="bg2"/>
                    </a:gs>
                    <a:gs pos="100000">
                      <a:schemeClr val="bg2"/>
                    </a:gs>
                  </a:gsLst>
                  <a:lin ang="5400000" scaled="0"/>
                </a:gradFill>
                <a:latin typeface="+mj-lt"/>
                <a:ea typeface="+mn-ea"/>
                <a:cs typeface="+mn-cs"/>
              </a:defRPr>
            </a:lvl1pPr>
            <a:lvl2pPr marL="519399" indent="-228028">
              <a:defRPr sz="1995"/>
            </a:lvl2pPr>
            <a:lvl3pPr marL="684086" indent="-164687">
              <a:tabLst/>
              <a:defRPr sz="1995"/>
            </a:lvl3pPr>
            <a:lvl4pPr marL="861442" indent="-177356">
              <a:defRPr/>
            </a:lvl4pPr>
            <a:lvl5pPr marL="1026129" indent="-1646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7928" y="1447804"/>
            <a:ext cx="5394960" cy="2720745"/>
          </a:xfrm>
        </p:spPr>
        <p:txBody>
          <a:bodyPr>
            <a:spAutoFit/>
          </a:bodyPr>
          <a:lstStyle>
            <a:lvl1pPr marL="338876" indent="-338876">
              <a:spcBef>
                <a:spcPts val="1197"/>
              </a:spcBef>
              <a:buClr>
                <a:schemeClr val="bg2"/>
              </a:buClr>
              <a:buFont typeface="Arial" pitchFamily="34" charset="0"/>
              <a:buChar char="•"/>
              <a:defRPr lang="en-US" sz="3591" kern="1200" spc="-70" baseline="0" dirty="0" smtClean="0">
                <a:gradFill>
                  <a:gsLst>
                    <a:gs pos="1250">
                      <a:schemeClr val="bg2"/>
                    </a:gs>
                    <a:gs pos="100000">
                      <a:schemeClr val="bg2"/>
                    </a:gs>
                  </a:gsLst>
                  <a:lin ang="5400000" scaled="0"/>
                </a:gradFill>
                <a:latin typeface="+mj-lt"/>
                <a:ea typeface="+mn-ea"/>
                <a:cs typeface="+mn-cs"/>
              </a:defRPr>
            </a:lvl1pPr>
            <a:lvl2pPr marL="633413" indent="-342043">
              <a:defRPr lang="en-US" sz="1995" kern="1200" spc="0" baseline="0" dirty="0" smtClean="0">
                <a:gradFill>
                  <a:gsLst>
                    <a:gs pos="1250">
                      <a:schemeClr val="bg2"/>
                    </a:gs>
                    <a:gs pos="100000">
                      <a:schemeClr val="bg2"/>
                    </a:gs>
                  </a:gsLst>
                  <a:lin ang="5400000" scaled="0"/>
                </a:gradFill>
                <a:latin typeface="+mn-lt"/>
                <a:ea typeface="+mn-ea"/>
                <a:cs typeface="+mn-cs"/>
              </a:defRPr>
            </a:lvl2pPr>
            <a:lvl3pPr marL="861442" indent="-342043">
              <a:defRPr lang="en-US" sz="1995" kern="1200" spc="0" baseline="0" dirty="0" smtClean="0">
                <a:gradFill>
                  <a:gsLst>
                    <a:gs pos="1250">
                      <a:schemeClr val="bg2"/>
                    </a:gs>
                    <a:gs pos="100000">
                      <a:schemeClr val="bg2"/>
                    </a:gs>
                  </a:gsLst>
                  <a:lin ang="5400000" scaled="0"/>
                </a:gradFill>
                <a:latin typeface="+mn-lt"/>
                <a:ea typeface="+mn-ea"/>
                <a:cs typeface="+mn-cs"/>
              </a:defRPr>
            </a:lvl3pPr>
            <a:lvl4pPr marL="1026129" indent="-342043">
              <a:defRPr lang="en-US" sz="1995" kern="1200" spc="0" baseline="0" dirty="0" smtClean="0">
                <a:gradFill>
                  <a:gsLst>
                    <a:gs pos="1250">
                      <a:schemeClr val="bg2"/>
                    </a:gs>
                    <a:gs pos="100000">
                      <a:schemeClr val="bg2"/>
                    </a:gs>
                  </a:gsLst>
                  <a:lin ang="5400000" scaled="0"/>
                </a:gradFill>
                <a:latin typeface="+mn-lt"/>
                <a:ea typeface="+mn-ea"/>
                <a:cs typeface="+mn-cs"/>
              </a:defRPr>
            </a:lvl4pPr>
            <a:lvl5pPr marL="1203484" indent="-342043">
              <a:defRPr lang="en-US" sz="1995" kern="1200" spc="0" baseline="0" dirty="0">
                <a:gradFill>
                  <a:gsLst>
                    <a:gs pos="1250">
                      <a:schemeClr val="bg2"/>
                    </a:gs>
                    <a:gs pos="100000">
                      <a:schemeClr val="bg2"/>
                    </a:gs>
                  </a:gsLst>
                  <a:lin ang="5400000" scaled="0"/>
                </a:gradFill>
                <a:latin typeface="+mn-lt"/>
                <a:ea typeface="+mn-ea"/>
                <a:cs typeface="+mn-cs"/>
              </a:defRPr>
            </a:lvl5pPr>
          </a:lstStyle>
          <a:p>
            <a:pPr marL="291370" marR="0" lvl="0" indent="-291370" algn="l" defTabSz="912078" rtl="0" eaLnBrk="1" fontAlgn="auto" latinLnBrk="0" hangingPunct="1">
              <a:lnSpc>
                <a:spcPct val="90000"/>
              </a:lnSpc>
              <a:spcBef>
                <a:spcPts val="1197"/>
              </a:spcBef>
              <a:spcAft>
                <a:spcPts val="0"/>
              </a:spcAft>
              <a:buClr>
                <a:schemeClr val="bg2"/>
              </a:buClr>
              <a:buSzPct val="100000"/>
              <a:buFont typeface="Wingdings" pitchFamily="2" charset="2"/>
              <a:buChar char=""/>
              <a:tabLst/>
            </a:pPr>
            <a:r>
              <a:rPr lang="en-US" smtClean="0"/>
              <a:t>Click to edit Master text styles</a:t>
            </a:r>
          </a:p>
          <a:p>
            <a:pPr marL="291370" marR="0" lvl="1" indent="-291370" algn="l" defTabSz="912078" rtl="0" eaLnBrk="1" fontAlgn="auto" latinLnBrk="0" hangingPunct="1">
              <a:lnSpc>
                <a:spcPct val="90000"/>
              </a:lnSpc>
              <a:spcBef>
                <a:spcPts val="1197"/>
              </a:spcBef>
              <a:spcAft>
                <a:spcPts val="0"/>
              </a:spcAft>
              <a:buClr>
                <a:schemeClr val="bg2"/>
              </a:buClr>
              <a:buSzPct val="100000"/>
              <a:buFont typeface="Wingdings" pitchFamily="2" charset="2"/>
              <a:buChar char=""/>
              <a:tabLst/>
            </a:pPr>
            <a:r>
              <a:rPr lang="en-US" smtClean="0"/>
              <a:t>Second level</a:t>
            </a:r>
          </a:p>
          <a:p>
            <a:pPr marL="291370" marR="0" lvl="2" indent="-291370" algn="l" defTabSz="912078" rtl="0" eaLnBrk="1" fontAlgn="auto" latinLnBrk="0" hangingPunct="1">
              <a:lnSpc>
                <a:spcPct val="90000"/>
              </a:lnSpc>
              <a:spcBef>
                <a:spcPts val="1197"/>
              </a:spcBef>
              <a:spcAft>
                <a:spcPts val="0"/>
              </a:spcAft>
              <a:buClr>
                <a:schemeClr val="bg2"/>
              </a:buClr>
              <a:buSzPct val="100000"/>
              <a:buFont typeface="Wingdings" pitchFamily="2" charset="2"/>
              <a:buChar char=""/>
              <a:tabLst/>
            </a:pPr>
            <a:r>
              <a:rPr lang="en-US" smtClean="0"/>
              <a:t>Third level</a:t>
            </a:r>
          </a:p>
          <a:p>
            <a:pPr marL="291370" marR="0" lvl="3" indent="-291370" algn="l" defTabSz="912078" rtl="0" eaLnBrk="1" fontAlgn="auto" latinLnBrk="0" hangingPunct="1">
              <a:lnSpc>
                <a:spcPct val="90000"/>
              </a:lnSpc>
              <a:spcBef>
                <a:spcPts val="1197"/>
              </a:spcBef>
              <a:spcAft>
                <a:spcPts val="0"/>
              </a:spcAft>
              <a:buClr>
                <a:schemeClr val="bg2"/>
              </a:buClr>
              <a:buSzPct val="100000"/>
              <a:buFont typeface="Wingdings" pitchFamily="2" charset="2"/>
              <a:buChar char=""/>
              <a:tabLst/>
            </a:pPr>
            <a:r>
              <a:rPr lang="en-US" smtClean="0"/>
              <a:t>Fourth level</a:t>
            </a:r>
          </a:p>
          <a:p>
            <a:pPr marL="291370" marR="0" lvl="4" indent="-291370" algn="l" defTabSz="912078" rtl="0" eaLnBrk="1" fontAlgn="auto" latinLnBrk="0" hangingPunct="1">
              <a:lnSpc>
                <a:spcPct val="90000"/>
              </a:lnSpc>
              <a:spcBef>
                <a:spcPts val="1197"/>
              </a:spcBef>
              <a:spcAft>
                <a:spcPts val="0"/>
              </a:spcAft>
              <a:buClr>
                <a:schemeClr val="bg2"/>
              </a:buClr>
              <a:buSzPct val="100000"/>
              <a:buFont typeface="Wingdings" pitchFamily="2" charset="2"/>
              <a:buChar char=""/>
              <a:tabLst/>
            </a:pPr>
            <a:r>
              <a:rPr lang="en-US" smtClean="0"/>
              <a:t>Fifth level</a:t>
            </a:r>
            <a:endParaRPr lang="en-US" dirty="0"/>
          </a:p>
        </p:txBody>
      </p:sp>
      <p:sp>
        <p:nvSpPr>
          <p:cNvPr id="6" name="Slide Number Placeholder 9"/>
          <p:cNvSpPr>
            <a:spLocks noGrp="1"/>
          </p:cNvSpPr>
          <p:nvPr>
            <p:ph type="sldNum" sz="quarter" idx="12"/>
          </p:nvPr>
        </p:nvSpPr>
        <p:spPr>
          <a:xfrm>
            <a:off x="520701" y="6399557"/>
            <a:ext cx="560686" cy="219456"/>
          </a:xfrm>
          <a:prstGeom prst="rect">
            <a:avLst/>
          </a:prstGeom>
        </p:spPr>
        <p:txBody>
          <a:bodyPr lIns="121899" tIns="60949" rIns="121899" bIns="60949" anchor="ctr"/>
          <a:lstStyle>
            <a:lvl1pPr algn="l">
              <a:defRPr sz="1596">
                <a:gradFill>
                  <a:gsLst>
                    <a:gs pos="100000">
                      <a:schemeClr val="bg2"/>
                    </a:gs>
                    <a:gs pos="0">
                      <a:schemeClr val="bg2"/>
                    </a:gs>
                  </a:gsLst>
                  <a:lin ang="5400000" scaled="0"/>
                </a:gradFill>
              </a:defRPr>
            </a:lvl1pPr>
          </a:lstStyle>
          <a:p>
            <a:pPr defTabSz="912115"/>
            <a:fld id="{727B4C2D-45E2-4621-8491-2995EB46A674}" type="slidenum">
              <a:rPr lang="en-US" smtClean="0">
                <a:gradFill>
                  <a:gsLst>
                    <a:gs pos="100000">
                      <a:srgbClr val="797A7D"/>
                    </a:gs>
                    <a:gs pos="0">
                      <a:srgbClr val="797A7D"/>
                    </a:gs>
                  </a:gsLst>
                  <a:lin ang="5400000" scaled="0"/>
                </a:gradFill>
              </a:rPr>
              <a:pPr defTabSz="912115"/>
              <a:t>‹#›</a:t>
            </a:fld>
            <a:endParaRPr lang="en-US" dirty="0">
              <a:gradFill>
                <a:gsLst>
                  <a:gs pos="100000">
                    <a:srgbClr val="797A7D"/>
                  </a:gs>
                  <a:gs pos="0">
                    <a:srgbClr val="797A7D"/>
                  </a:gs>
                </a:gsLst>
                <a:lin ang="5400000" scaled="0"/>
              </a:gradFill>
            </a:endParaRP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9888252" y="6100346"/>
            <a:ext cx="2164584" cy="749808"/>
          </a:xfrm>
          <a:prstGeom prst="rect">
            <a:avLst/>
          </a:prstGeom>
        </p:spPr>
      </p:pic>
    </p:spTree>
    <p:extLst>
      <p:ext uri="{BB962C8B-B14F-4D97-AF65-F5344CB8AC3E}">
        <p14:creationId xmlns:p14="http://schemas.microsoft.com/office/powerpoint/2010/main" val="1578619528"/>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701" y="1447804"/>
            <a:ext cx="5433533" cy="1661993"/>
          </a:xfrm>
          <a:prstGeom prst="rect">
            <a:avLst/>
          </a:prstGeom>
        </p:spPr>
        <p:txBody>
          <a:bodyPr>
            <a:noAutofit/>
          </a:bodyPr>
          <a:lstStyle>
            <a:lvl1pPr marL="0" indent="0">
              <a:buNone/>
              <a:defRPr sz="3990" b="0" cap="none" baseline="0">
                <a:gradFill>
                  <a:gsLst>
                    <a:gs pos="100000">
                      <a:schemeClr val="tx2"/>
                    </a:gs>
                    <a:gs pos="0">
                      <a:schemeClr val="tx2"/>
                    </a:gs>
                  </a:gsLst>
                  <a:lin ang="5400000" scaled="0"/>
                </a:gradFill>
                <a:latin typeface="+mj-lt"/>
              </a:defRPr>
            </a:lvl1pPr>
            <a:lvl2pPr marL="607970" indent="0">
              <a:buNone/>
              <a:defRPr sz="2693" b="1"/>
            </a:lvl2pPr>
            <a:lvl3pPr marL="1215940" indent="0">
              <a:buNone/>
              <a:defRPr sz="2394" b="1"/>
            </a:lvl3pPr>
            <a:lvl4pPr marL="1823910" indent="0">
              <a:buNone/>
              <a:defRPr sz="2094" b="1"/>
            </a:lvl4pPr>
            <a:lvl5pPr marL="2431880" indent="0">
              <a:buNone/>
              <a:defRPr sz="2094" b="1"/>
            </a:lvl5pPr>
            <a:lvl6pPr marL="3039851" indent="0">
              <a:buNone/>
              <a:defRPr sz="2094" b="1"/>
            </a:lvl6pPr>
            <a:lvl7pPr marL="3647820" indent="0">
              <a:buNone/>
              <a:defRPr sz="2094" b="1"/>
            </a:lvl7pPr>
            <a:lvl8pPr marL="4255790" indent="0">
              <a:buNone/>
              <a:defRPr sz="2094" b="1"/>
            </a:lvl8pPr>
            <a:lvl9pPr marL="4863760" indent="0">
              <a:buNone/>
              <a:defRPr sz="2094" b="1"/>
            </a:lvl9pPr>
          </a:lstStyle>
          <a:p>
            <a:pPr lvl="0"/>
            <a:r>
              <a:rPr lang="en-US" dirty="0" smtClean="0"/>
              <a:t>Click to edit Master text styles.</a:t>
            </a:r>
          </a:p>
        </p:txBody>
      </p:sp>
      <p:sp>
        <p:nvSpPr>
          <p:cNvPr id="6" name="Content Placeholder 5"/>
          <p:cNvSpPr>
            <a:spLocks noGrp="1"/>
          </p:cNvSpPr>
          <p:nvPr>
            <p:ph sz="quarter" idx="4"/>
          </p:nvPr>
        </p:nvSpPr>
        <p:spPr>
          <a:xfrm>
            <a:off x="6188150" y="1681907"/>
            <a:ext cx="5484740" cy="332399"/>
          </a:xfrm>
          <a:prstGeom prst="rect">
            <a:avLst/>
          </a:prstGeom>
        </p:spPr>
        <p:txBody>
          <a:bodyPr>
            <a:noAutofit/>
          </a:bodyPr>
          <a:lstStyle>
            <a:lvl1pPr marL="0" indent="0">
              <a:spcBef>
                <a:spcPts val="1197"/>
              </a:spcBef>
              <a:buNone/>
              <a:defRPr lang="en-US" sz="1995" kern="1200" spc="0" dirty="0" smtClean="0">
                <a:gradFill>
                  <a:gsLst>
                    <a:gs pos="100000">
                      <a:schemeClr val="bg2"/>
                    </a:gs>
                    <a:gs pos="0">
                      <a:schemeClr val="bg2"/>
                    </a:gs>
                  </a:gsLst>
                  <a:lin ang="5400000" scaled="0"/>
                </a:gradFill>
                <a:latin typeface="+mn-lt"/>
                <a:ea typeface="+mn-ea"/>
                <a:cs typeface="Segoe UI" pitchFamily="34" charset="0"/>
              </a:defRPr>
            </a:lvl1pPr>
            <a:lvl2pPr marL="911955" indent="-379981">
              <a:defRPr lang="en-US" sz="2094" kern="1200" dirty="0" smtClean="0">
                <a:solidFill>
                  <a:schemeClr val="bg2">
                    <a:lumMod val="50000"/>
                  </a:schemeClr>
                </a:solidFill>
                <a:latin typeface="+mn-lt"/>
                <a:ea typeface="+mn-ea"/>
                <a:cs typeface="Arial" pitchFamily="34" charset="0"/>
              </a:defRPr>
            </a:lvl2pPr>
            <a:lvl3pPr marL="911955" indent="-227988">
              <a:defRPr lang="en-US" sz="1895" kern="1200" dirty="0" smtClean="0">
                <a:solidFill>
                  <a:schemeClr val="bg2">
                    <a:lumMod val="50000"/>
                  </a:schemeClr>
                </a:solidFill>
                <a:latin typeface="+mn-lt"/>
                <a:ea typeface="+mn-ea"/>
                <a:cs typeface="Arial" pitchFamily="34" charset="0"/>
              </a:defRPr>
            </a:lvl3pPr>
            <a:lvl4pPr marL="1215940" indent="-227988">
              <a:defRPr lang="en-US" sz="1596" kern="1200" dirty="0" smtClean="0">
                <a:solidFill>
                  <a:schemeClr val="bg2">
                    <a:lumMod val="50000"/>
                  </a:schemeClr>
                </a:solidFill>
                <a:latin typeface="+mn-lt"/>
                <a:ea typeface="+mn-ea"/>
                <a:cs typeface="Arial" pitchFamily="34" charset="0"/>
              </a:defRPr>
            </a:lvl4pPr>
            <a:lvl5pPr marL="1443929" indent="-227988">
              <a:defRPr lang="en-US" sz="1596" kern="1200" dirty="0">
                <a:solidFill>
                  <a:schemeClr val="bg2">
                    <a:lumMod val="50000"/>
                  </a:schemeClr>
                </a:solidFill>
                <a:latin typeface="+mn-lt"/>
                <a:ea typeface="+mn-ea"/>
                <a:cs typeface="Arial" pitchFamily="34" charset="0"/>
              </a:defRPr>
            </a:lvl5pPr>
            <a:lvl6pPr>
              <a:defRPr sz="2094"/>
            </a:lvl6pPr>
            <a:lvl7pPr>
              <a:defRPr sz="2094"/>
            </a:lvl7pPr>
            <a:lvl8pPr>
              <a:defRPr sz="2094"/>
            </a:lvl8pPr>
            <a:lvl9pPr>
              <a:defRPr sz="2094"/>
            </a:lvl9pPr>
          </a:lstStyle>
          <a:p>
            <a:pPr lvl="0"/>
            <a:r>
              <a:rPr lang="en-US" smtClean="0"/>
              <a:t>Click to edit Master text styles</a:t>
            </a:r>
          </a:p>
        </p:txBody>
      </p:sp>
      <p:sp>
        <p:nvSpPr>
          <p:cNvPr id="12" name="Title 11"/>
          <p:cNvSpPr>
            <a:spLocks noGrp="1"/>
          </p:cNvSpPr>
          <p:nvPr>
            <p:ph type="title"/>
          </p:nvPr>
        </p:nvSpPr>
        <p:spPr/>
        <p:txBody>
          <a:bodyPr>
            <a:noAutofit/>
          </a:bodyPr>
          <a:lstStyle>
            <a:lvl1pPr>
              <a:defRPr/>
            </a:lvl1pPr>
          </a:lstStyle>
          <a:p>
            <a:r>
              <a:rPr lang="en-US" smtClean="0"/>
              <a:t>Click to edit Master title style</a:t>
            </a:r>
            <a:endParaRPr lang="en-US" dirty="0"/>
          </a:p>
        </p:txBody>
      </p:sp>
      <p:sp>
        <p:nvSpPr>
          <p:cNvPr id="10" name="Slide Number Placeholder 9"/>
          <p:cNvSpPr>
            <a:spLocks noGrp="1"/>
          </p:cNvSpPr>
          <p:nvPr>
            <p:ph type="sldNum" sz="quarter" idx="12"/>
          </p:nvPr>
        </p:nvSpPr>
        <p:spPr>
          <a:xfrm>
            <a:off x="520701" y="6399557"/>
            <a:ext cx="560686" cy="219456"/>
          </a:xfrm>
          <a:prstGeom prst="rect">
            <a:avLst/>
          </a:prstGeom>
        </p:spPr>
        <p:txBody>
          <a:bodyPr lIns="121899" tIns="60949" rIns="121899" bIns="60949" anchor="ctr"/>
          <a:lstStyle>
            <a:lvl1pPr algn="l">
              <a:defRPr sz="1596">
                <a:gradFill>
                  <a:gsLst>
                    <a:gs pos="100000">
                      <a:schemeClr val="bg2"/>
                    </a:gs>
                    <a:gs pos="0">
                      <a:schemeClr val="bg2"/>
                    </a:gs>
                  </a:gsLst>
                  <a:lin ang="5400000" scaled="0"/>
                </a:gradFill>
              </a:defRPr>
            </a:lvl1pPr>
          </a:lstStyle>
          <a:p>
            <a:pPr defTabSz="912115"/>
            <a:fld id="{727B4C2D-45E2-4621-8491-2995EB46A674}" type="slidenum">
              <a:rPr lang="en-US" smtClean="0">
                <a:gradFill>
                  <a:gsLst>
                    <a:gs pos="100000">
                      <a:srgbClr val="797A7D"/>
                    </a:gs>
                    <a:gs pos="0">
                      <a:srgbClr val="797A7D"/>
                    </a:gs>
                  </a:gsLst>
                  <a:lin ang="5400000" scaled="0"/>
                </a:gradFill>
              </a:rPr>
              <a:pPr defTabSz="912115"/>
              <a:t>‹#›</a:t>
            </a:fld>
            <a:endParaRPr lang="en-US" dirty="0">
              <a:gradFill>
                <a:gsLst>
                  <a:gs pos="100000">
                    <a:srgbClr val="797A7D"/>
                  </a:gs>
                  <a:gs pos="0">
                    <a:srgbClr val="797A7D"/>
                  </a:gs>
                </a:gsLst>
                <a:lin ang="5400000" scaled="0"/>
              </a:gradFill>
            </a:endParaRP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9888252" y="6100346"/>
            <a:ext cx="2164584" cy="749808"/>
          </a:xfrm>
          <a:prstGeom prst="rect">
            <a:avLst/>
          </a:prstGeom>
        </p:spPr>
      </p:pic>
    </p:spTree>
    <p:extLst>
      <p:ext uri="{BB962C8B-B14F-4D97-AF65-F5344CB8AC3E}">
        <p14:creationId xmlns:p14="http://schemas.microsoft.com/office/powerpoint/2010/main" val="482249274"/>
      </p:ext>
    </p:extLst>
  </p:cSld>
  <p:clrMapOvr>
    <a:masterClrMapping/>
  </p:clrMapOvr>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ontent w/Photo on Righ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701" y="1447801"/>
            <a:ext cx="5433533" cy="1178442"/>
          </a:xfrm>
          <a:prstGeom prst="rect">
            <a:avLst/>
          </a:prstGeom>
        </p:spPr>
        <p:txBody>
          <a:bodyPr>
            <a:noAutofit/>
          </a:bodyPr>
          <a:lstStyle>
            <a:lvl1pPr marL="0" indent="0">
              <a:buNone/>
              <a:defRPr sz="3990" b="0" cap="none" baseline="0">
                <a:gradFill>
                  <a:gsLst>
                    <a:gs pos="100000">
                      <a:schemeClr val="tx2"/>
                    </a:gs>
                    <a:gs pos="0">
                      <a:schemeClr val="tx2"/>
                    </a:gs>
                  </a:gsLst>
                  <a:lin ang="5400000" scaled="0"/>
                </a:gradFill>
                <a:latin typeface="+mj-lt"/>
              </a:defRPr>
            </a:lvl1pPr>
            <a:lvl2pPr marL="607970" indent="0">
              <a:buNone/>
              <a:defRPr sz="2693" b="1"/>
            </a:lvl2pPr>
            <a:lvl3pPr marL="1215940" indent="0">
              <a:buNone/>
              <a:defRPr sz="2394" b="1"/>
            </a:lvl3pPr>
            <a:lvl4pPr marL="1823910" indent="0">
              <a:buNone/>
              <a:defRPr sz="2094" b="1"/>
            </a:lvl4pPr>
            <a:lvl5pPr marL="2431880" indent="0">
              <a:buNone/>
              <a:defRPr sz="2094" b="1"/>
            </a:lvl5pPr>
            <a:lvl6pPr marL="3039851" indent="0">
              <a:buNone/>
              <a:defRPr sz="2094" b="1"/>
            </a:lvl6pPr>
            <a:lvl7pPr marL="3647820" indent="0">
              <a:buNone/>
              <a:defRPr sz="2094" b="1"/>
            </a:lvl7pPr>
            <a:lvl8pPr marL="4255790" indent="0">
              <a:buNone/>
              <a:defRPr sz="2094" b="1"/>
            </a:lvl8pPr>
            <a:lvl9pPr marL="4863760" indent="0">
              <a:buNone/>
              <a:defRPr sz="2094" b="1"/>
            </a:lvl9pPr>
          </a:lstStyle>
          <a:p>
            <a:pPr lvl="0"/>
            <a:r>
              <a:rPr lang="en-US" dirty="0" smtClean="0"/>
              <a:t>Click to edit Master text styles.</a:t>
            </a:r>
          </a:p>
        </p:txBody>
      </p:sp>
      <p:sp>
        <p:nvSpPr>
          <p:cNvPr id="10" name="Slide Number Placeholder 9"/>
          <p:cNvSpPr>
            <a:spLocks noGrp="1"/>
          </p:cNvSpPr>
          <p:nvPr>
            <p:ph type="sldNum" sz="quarter" idx="12"/>
          </p:nvPr>
        </p:nvSpPr>
        <p:spPr>
          <a:xfrm>
            <a:off x="520701" y="6399557"/>
            <a:ext cx="560686" cy="219456"/>
          </a:xfrm>
          <a:prstGeom prst="rect">
            <a:avLst/>
          </a:prstGeom>
        </p:spPr>
        <p:txBody>
          <a:bodyPr lIns="121899" tIns="60949" rIns="121899" bIns="60949" anchor="ctr"/>
          <a:lstStyle>
            <a:lvl1pPr algn="l">
              <a:defRPr sz="1596">
                <a:gradFill>
                  <a:gsLst>
                    <a:gs pos="100000">
                      <a:schemeClr val="bg2"/>
                    </a:gs>
                    <a:gs pos="0">
                      <a:schemeClr val="bg2"/>
                    </a:gs>
                  </a:gsLst>
                  <a:lin ang="5400000" scaled="0"/>
                </a:gradFill>
              </a:defRPr>
            </a:lvl1pPr>
          </a:lstStyle>
          <a:p>
            <a:pPr defTabSz="912115"/>
            <a:fld id="{727B4C2D-45E2-4621-8491-2995EB46A674}" type="slidenum">
              <a:rPr lang="en-US" smtClean="0">
                <a:gradFill>
                  <a:gsLst>
                    <a:gs pos="100000">
                      <a:srgbClr val="797A7D"/>
                    </a:gs>
                    <a:gs pos="0">
                      <a:srgbClr val="797A7D"/>
                    </a:gs>
                  </a:gsLst>
                  <a:lin ang="5400000" scaled="0"/>
                </a:gradFill>
              </a:rPr>
              <a:pPr defTabSz="912115"/>
              <a:t>‹#›</a:t>
            </a:fld>
            <a:endParaRPr lang="en-US" dirty="0">
              <a:gradFill>
                <a:gsLst>
                  <a:gs pos="100000">
                    <a:srgbClr val="797A7D"/>
                  </a:gs>
                  <a:gs pos="0">
                    <a:srgbClr val="797A7D"/>
                  </a:gs>
                </a:gsLst>
                <a:lin ang="5400000" scaled="0"/>
              </a:gradFill>
            </a:endParaRPr>
          </a:p>
        </p:txBody>
      </p:sp>
      <p:sp>
        <p:nvSpPr>
          <p:cNvPr id="9" name="Content Placeholder 5"/>
          <p:cNvSpPr>
            <a:spLocks noGrp="1"/>
          </p:cNvSpPr>
          <p:nvPr>
            <p:ph sz="quarter" idx="13"/>
          </p:nvPr>
        </p:nvSpPr>
        <p:spPr>
          <a:xfrm>
            <a:off x="520701" y="2734985"/>
            <a:ext cx="5444165" cy="609398"/>
          </a:xfrm>
          <a:prstGeom prst="rect">
            <a:avLst/>
          </a:prstGeom>
        </p:spPr>
        <p:txBody>
          <a:bodyPr>
            <a:noAutofit/>
          </a:bodyPr>
          <a:lstStyle>
            <a:lvl1pPr marL="0" indent="0">
              <a:spcBef>
                <a:spcPts val="1197"/>
              </a:spcBef>
              <a:buFont typeface="Arial" pitchFamily="34" charset="0"/>
              <a:buNone/>
              <a:defRPr lang="en-US" sz="1995" kern="1200" spc="0" dirty="0" smtClean="0">
                <a:gradFill>
                  <a:gsLst>
                    <a:gs pos="100000">
                      <a:schemeClr val="bg2"/>
                    </a:gs>
                    <a:gs pos="0">
                      <a:schemeClr val="bg2"/>
                    </a:gs>
                  </a:gsLst>
                  <a:lin ang="5400000" scaled="0"/>
                </a:gradFill>
                <a:latin typeface="+mn-lt"/>
                <a:ea typeface="+mn-ea"/>
                <a:cs typeface="Segoe UI" pitchFamily="34" charset="0"/>
              </a:defRPr>
            </a:lvl1pPr>
            <a:lvl2pPr marL="911955" indent="-379981">
              <a:defRPr lang="en-US" sz="2094" kern="1200" dirty="0" smtClean="0">
                <a:solidFill>
                  <a:schemeClr val="bg2">
                    <a:lumMod val="50000"/>
                  </a:schemeClr>
                </a:solidFill>
                <a:latin typeface="+mn-lt"/>
                <a:ea typeface="+mn-ea"/>
                <a:cs typeface="Arial" pitchFamily="34" charset="0"/>
              </a:defRPr>
            </a:lvl2pPr>
            <a:lvl3pPr marL="911955" indent="-227988">
              <a:defRPr lang="en-US" sz="1895" kern="1200" dirty="0" smtClean="0">
                <a:solidFill>
                  <a:schemeClr val="bg2">
                    <a:lumMod val="50000"/>
                  </a:schemeClr>
                </a:solidFill>
                <a:latin typeface="+mn-lt"/>
                <a:ea typeface="+mn-ea"/>
                <a:cs typeface="Arial" pitchFamily="34" charset="0"/>
              </a:defRPr>
            </a:lvl3pPr>
            <a:lvl4pPr marL="1215940" indent="-227988">
              <a:defRPr lang="en-US" sz="1596" kern="1200" dirty="0" smtClean="0">
                <a:solidFill>
                  <a:schemeClr val="bg2">
                    <a:lumMod val="50000"/>
                  </a:schemeClr>
                </a:solidFill>
                <a:latin typeface="+mn-lt"/>
                <a:ea typeface="+mn-ea"/>
                <a:cs typeface="Arial" pitchFamily="34" charset="0"/>
              </a:defRPr>
            </a:lvl4pPr>
            <a:lvl5pPr marL="1443929" indent="-227988">
              <a:defRPr lang="en-US" sz="1596" kern="1200" dirty="0">
                <a:solidFill>
                  <a:schemeClr val="bg2">
                    <a:lumMod val="50000"/>
                  </a:schemeClr>
                </a:solidFill>
                <a:latin typeface="+mn-lt"/>
                <a:ea typeface="+mn-ea"/>
                <a:cs typeface="Arial" pitchFamily="34" charset="0"/>
              </a:defRPr>
            </a:lvl5pPr>
            <a:lvl6pPr>
              <a:defRPr sz="2094"/>
            </a:lvl6pPr>
            <a:lvl7pPr>
              <a:defRPr sz="2094"/>
            </a:lvl7pPr>
            <a:lvl8pPr>
              <a:defRPr sz="2094"/>
            </a:lvl8pPr>
            <a:lvl9pPr>
              <a:defRPr sz="2094"/>
            </a:lvl9pPr>
          </a:lstStyle>
          <a:p>
            <a:pPr lvl="0"/>
            <a:r>
              <a:rPr lang="en-US" smtClean="0"/>
              <a:t>Click to edit Master text styles</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9888252" y="6100346"/>
            <a:ext cx="2164584" cy="749808"/>
          </a:xfrm>
          <a:prstGeom prst="rect">
            <a:avLst/>
          </a:prstGeom>
        </p:spPr>
      </p:pic>
    </p:spTree>
    <p:extLst>
      <p:ext uri="{BB962C8B-B14F-4D97-AF65-F5344CB8AC3E}">
        <p14:creationId xmlns:p14="http://schemas.microsoft.com/office/powerpoint/2010/main" val="3516763663"/>
      </p:ext>
    </p:extLst>
  </p:cSld>
  <p:clrMapOvr>
    <a:masterClrMapping/>
  </p:clrMapOvr>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218091" y="1447801"/>
            <a:ext cx="5433533" cy="1178442"/>
          </a:xfrm>
          <a:prstGeom prst="rect">
            <a:avLst/>
          </a:prstGeom>
        </p:spPr>
        <p:txBody>
          <a:bodyPr>
            <a:noAutofit/>
          </a:bodyPr>
          <a:lstStyle>
            <a:lvl1pPr marL="0" indent="0">
              <a:buNone/>
              <a:defRPr sz="3990" b="0" cap="none" baseline="0">
                <a:gradFill>
                  <a:gsLst>
                    <a:gs pos="100000">
                      <a:schemeClr val="tx2"/>
                    </a:gs>
                    <a:gs pos="0">
                      <a:schemeClr val="tx2"/>
                    </a:gs>
                  </a:gsLst>
                  <a:lin ang="5400000" scaled="0"/>
                </a:gradFill>
                <a:latin typeface="+mj-lt"/>
              </a:defRPr>
            </a:lvl1pPr>
            <a:lvl2pPr marL="607970" indent="0">
              <a:buNone/>
              <a:defRPr sz="2693" b="1"/>
            </a:lvl2pPr>
            <a:lvl3pPr marL="1215940" indent="0">
              <a:buNone/>
              <a:defRPr sz="2394" b="1"/>
            </a:lvl3pPr>
            <a:lvl4pPr marL="1823910" indent="0">
              <a:buNone/>
              <a:defRPr sz="2094" b="1"/>
            </a:lvl4pPr>
            <a:lvl5pPr marL="2431880" indent="0">
              <a:buNone/>
              <a:defRPr sz="2094" b="1"/>
            </a:lvl5pPr>
            <a:lvl6pPr marL="3039851" indent="0">
              <a:buNone/>
              <a:defRPr sz="2094" b="1"/>
            </a:lvl6pPr>
            <a:lvl7pPr marL="3647820" indent="0">
              <a:buNone/>
              <a:defRPr sz="2094" b="1"/>
            </a:lvl7pPr>
            <a:lvl8pPr marL="4255790" indent="0">
              <a:buNone/>
              <a:defRPr sz="2094" b="1"/>
            </a:lvl8pPr>
            <a:lvl9pPr marL="4863760" indent="0">
              <a:buNone/>
              <a:defRPr sz="2094" b="1"/>
            </a:lvl9pPr>
          </a:lstStyle>
          <a:p>
            <a:pPr lvl="0"/>
            <a:r>
              <a:rPr lang="en-US" dirty="0" smtClean="0"/>
              <a:t>Click to edit Master text styles.</a:t>
            </a:r>
          </a:p>
        </p:txBody>
      </p:sp>
      <p:sp>
        <p:nvSpPr>
          <p:cNvPr id="9" name="Content Placeholder 5"/>
          <p:cNvSpPr>
            <a:spLocks noGrp="1"/>
          </p:cNvSpPr>
          <p:nvPr>
            <p:ph sz="quarter" idx="13"/>
          </p:nvPr>
        </p:nvSpPr>
        <p:spPr>
          <a:xfrm>
            <a:off x="6218092" y="2734985"/>
            <a:ext cx="5444165" cy="609398"/>
          </a:xfrm>
          <a:prstGeom prst="rect">
            <a:avLst/>
          </a:prstGeom>
        </p:spPr>
        <p:txBody>
          <a:bodyPr>
            <a:noAutofit/>
          </a:bodyPr>
          <a:lstStyle>
            <a:lvl1pPr marL="0" indent="0">
              <a:spcBef>
                <a:spcPts val="1197"/>
              </a:spcBef>
              <a:buFont typeface="Arial" pitchFamily="34" charset="0"/>
              <a:buNone/>
              <a:defRPr lang="en-US" sz="1995" kern="1200" spc="0" dirty="0" smtClean="0">
                <a:gradFill>
                  <a:gsLst>
                    <a:gs pos="100000">
                      <a:schemeClr val="bg2"/>
                    </a:gs>
                    <a:gs pos="0">
                      <a:schemeClr val="bg2"/>
                    </a:gs>
                  </a:gsLst>
                  <a:lin ang="5400000" scaled="0"/>
                </a:gradFill>
                <a:latin typeface="+mn-lt"/>
                <a:ea typeface="+mn-ea"/>
                <a:cs typeface="Segoe UI" pitchFamily="34" charset="0"/>
              </a:defRPr>
            </a:lvl1pPr>
            <a:lvl2pPr marL="911955" indent="-379981">
              <a:defRPr lang="en-US" sz="2094" kern="1200" dirty="0" smtClean="0">
                <a:solidFill>
                  <a:schemeClr val="bg2">
                    <a:lumMod val="50000"/>
                  </a:schemeClr>
                </a:solidFill>
                <a:latin typeface="+mn-lt"/>
                <a:ea typeface="+mn-ea"/>
                <a:cs typeface="Arial" pitchFamily="34" charset="0"/>
              </a:defRPr>
            </a:lvl2pPr>
            <a:lvl3pPr marL="911955" indent="-227988">
              <a:defRPr lang="en-US" sz="1895" kern="1200" dirty="0" smtClean="0">
                <a:solidFill>
                  <a:schemeClr val="bg2">
                    <a:lumMod val="50000"/>
                  </a:schemeClr>
                </a:solidFill>
                <a:latin typeface="+mn-lt"/>
                <a:ea typeface="+mn-ea"/>
                <a:cs typeface="Arial" pitchFamily="34" charset="0"/>
              </a:defRPr>
            </a:lvl3pPr>
            <a:lvl4pPr marL="1215940" indent="-227988">
              <a:defRPr lang="en-US" sz="1596" kern="1200" dirty="0" smtClean="0">
                <a:solidFill>
                  <a:schemeClr val="bg2">
                    <a:lumMod val="50000"/>
                  </a:schemeClr>
                </a:solidFill>
                <a:latin typeface="+mn-lt"/>
                <a:ea typeface="+mn-ea"/>
                <a:cs typeface="Arial" pitchFamily="34" charset="0"/>
              </a:defRPr>
            </a:lvl4pPr>
            <a:lvl5pPr marL="1443929" indent="-227988">
              <a:defRPr lang="en-US" sz="1596" kern="1200" dirty="0">
                <a:solidFill>
                  <a:schemeClr val="bg2">
                    <a:lumMod val="50000"/>
                  </a:schemeClr>
                </a:solidFill>
                <a:latin typeface="+mn-lt"/>
                <a:ea typeface="+mn-ea"/>
                <a:cs typeface="Arial" pitchFamily="34" charset="0"/>
              </a:defRPr>
            </a:lvl5pPr>
            <a:lvl6pPr>
              <a:defRPr sz="2094"/>
            </a:lvl6pPr>
            <a:lvl7pPr>
              <a:defRPr sz="2094"/>
            </a:lvl7pPr>
            <a:lvl8pPr>
              <a:defRPr sz="2094"/>
            </a:lvl8pPr>
            <a:lvl9pPr>
              <a:defRPr sz="2094"/>
            </a:lvl9pPr>
          </a:lstStyle>
          <a:p>
            <a:pPr lvl="0"/>
            <a:r>
              <a:rPr lang="en-US" smtClean="0"/>
              <a:t>Click to edit Master text styles</a:t>
            </a:r>
          </a:p>
        </p:txBody>
      </p:sp>
      <p:sp>
        <p:nvSpPr>
          <p:cNvPr id="4" name="Picture Placeholder 3"/>
          <p:cNvSpPr>
            <a:spLocks noGrp="1"/>
          </p:cNvSpPr>
          <p:nvPr>
            <p:ph type="pic" sz="quarter" idx="14" hasCustomPrompt="1"/>
          </p:nvPr>
        </p:nvSpPr>
        <p:spPr>
          <a:xfrm>
            <a:off x="0" y="0"/>
            <a:ext cx="5980112" cy="6858000"/>
          </a:xfrm>
        </p:spPr>
        <p:txBody>
          <a:bodyPr lIns="182880" anchor="ctr"/>
          <a:lstStyle>
            <a:lvl1pPr marL="0" indent="0" algn="l">
              <a:buNone/>
              <a:defRPr/>
            </a:lvl1pPr>
          </a:lstStyle>
          <a:p>
            <a:r>
              <a:rPr lang="en-US" dirty="0" smtClean="0"/>
              <a:t>Click to insert photo.</a:t>
            </a:r>
            <a:endParaRPr lang="en-US" dirty="0"/>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9888252" y="6100346"/>
            <a:ext cx="2164584" cy="749808"/>
          </a:xfrm>
          <a:prstGeom prst="rect">
            <a:avLst/>
          </a:prstGeom>
        </p:spPr>
      </p:pic>
    </p:spTree>
    <p:extLst>
      <p:ext uri="{BB962C8B-B14F-4D97-AF65-F5344CB8AC3E}">
        <p14:creationId xmlns:p14="http://schemas.microsoft.com/office/powerpoint/2010/main" val="4182937877"/>
      </p:ext>
    </p:extLst>
  </p:cSld>
  <p:clrMapOvr>
    <a:masterClrMapping/>
  </p:clrMapOvr>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Color Block Header on Left &amp; Text on Right ">
    <p:spTree>
      <p:nvGrpSpPr>
        <p:cNvPr id="1" name=""/>
        <p:cNvGrpSpPr/>
        <p:nvPr/>
      </p:nvGrpSpPr>
      <p:grpSpPr>
        <a:xfrm>
          <a:off x="0" y="0"/>
          <a:ext cx="0" cy="0"/>
          <a:chOff x="0" y="0"/>
          <a:chExt cx="0" cy="0"/>
        </a:xfrm>
      </p:grpSpPr>
      <p:sp>
        <p:nvSpPr>
          <p:cNvPr id="2" name="Rectangle 1"/>
          <p:cNvSpPr/>
          <p:nvPr/>
        </p:nvSpPr>
        <p:spPr bwMode="white">
          <a:xfrm>
            <a:off x="-9524" y="0"/>
            <a:ext cx="4499638"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07" tIns="45607" rIns="45607" bIns="45607" numCol="1" spcCol="0" rtlCol="0" fromWordArt="0" anchor="ctr" anchorCtr="0" forceAA="0" compatLnSpc="1">
            <a:prstTxWarp prst="textNoShape">
              <a:avLst/>
            </a:prstTxWarp>
            <a:noAutofit/>
          </a:bodyPr>
          <a:lstStyle/>
          <a:p>
            <a:pPr algn="ctr" defTabSz="911815" fontAlgn="base">
              <a:spcBef>
                <a:spcPct val="0"/>
              </a:spcBef>
              <a:spcAft>
                <a:spcPct val="0"/>
              </a:spcAft>
            </a:pPr>
            <a:endParaRPr lang="en-US" sz="219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700" y="720725"/>
            <a:ext cx="3819289" cy="1687393"/>
          </a:xfrm>
          <a:prstGeom prst="rect">
            <a:avLst/>
          </a:prstGeom>
        </p:spPr>
        <p:txBody>
          <a:bodyPr>
            <a:noAutofit/>
          </a:bodyPr>
          <a:lstStyle>
            <a:lvl1pPr marL="0" indent="0">
              <a:buNone/>
              <a:defRPr sz="3990" b="0" cap="none" baseline="0">
                <a:gradFill>
                  <a:gsLst>
                    <a:gs pos="100000">
                      <a:schemeClr val="bg1"/>
                    </a:gs>
                    <a:gs pos="0">
                      <a:schemeClr val="bg1"/>
                    </a:gs>
                  </a:gsLst>
                  <a:lin ang="5400000" scaled="0"/>
                </a:gradFill>
                <a:latin typeface="+mj-lt"/>
              </a:defRPr>
            </a:lvl1pPr>
            <a:lvl2pPr marL="607970" indent="0">
              <a:buNone/>
              <a:defRPr sz="2693" b="1"/>
            </a:lvl2pPr>
            <a:lvl3pPr marL="1215940" indent="0">
              <a:buNone/>
              <a:defRPr sz="2394" b="1"/>
            </a:lvl3pPr>
            <a:lvl4pPr marL="1823910" indent="0">
              <a:buNone/>
              <a:defRPr sz="2094" b="1"/>
            </a:lvl4pPr>
            <a:lvl5pPr marL="2431880" indent="0">
              <a:buNone/>
              <a:defRPr sz="2094" b="1"/>
            </a:lvl5pPr>
            <a:lvl6pPr marL="3039851" indent="0">
              <a:buNone/>
              <a:defRPr sz="2094" b="1"/>
            </a:lvl6pPr>
            <a:lvl7pPr marL="3647820" indent="0">
              <a:buNone/>
              <a:defRPr sz="2094" b="1"/>
            </a:lvl7pPr>
            <a:lvl8pPr marL="4255790" indent="0">
              <a:buNone/>
              <a:defRPr sz="2094" b="1"/>
            </a:lvl8pPr>
            <a:lvl9pPr marL="4863760" indent="0">
              <a:buNone/>
              <a:defRPr sz="2094" b="1"/>
            </a:lvl9pPr>
          </a:lstStyle>
          <a:p>
            <a:pPr lvl="0"/>
            <a:r>
              <a:rPr lang="en-US" dirty="0" smtClean="0"/>
              <a:t>Click to edit Master text styles.</a:t>
            </a:r>
          </a:p>
        </p:txBody>
      </p:sp>
      <p:sp>
        <p:nvSpPr>
          <p:cNvPr id="6" name="Content Placeholder 5"/>
          <p:cNvSpPr>
            <a:spLocks noGrp="1"/>
          </p:cNvSpPr>
          <p:nvPr>
            <p:ph sz="quarter" idx="4"/>
          </p:nvPr>
        </p:nvSpPr>
        <p:spPr>
          <a:xfrm>
            <a:off x="6188150" y="1681907"/>
            <a:ext cx="5484740" cy="332399"/>
          </a:xfrm>
          <a:prstGeom prst="rect">
            <a:avLst/>
          </a:prstGeom>
        </p:spPr>
        <p:txBody>
          <a:bodyPr>
            <a:noAutofit/>
          </a:bodyPr>
          <a:lstStyle>
            <a:lvl1pPr marL="0" indent="0">
              <a:spcBef>
                <a:spcPts val="1197"/>
              </a:spcBef>
              <a:buNone/>
              <a:defRPr lang="en-US" sz="1995" kern="1200" spc="0" dirty="0" smtClean="0">
                <a:gradFill>
                  <a:gsLst>
                    <a:gs pos="100000">
                      <a:schemeClr val="bg2"/>
                    </a:gs>
                    <a:gs pos="0">
                      <a:schemeClr val="bg2"/>
                    </a:gs>
                  </a:gsLst>
                  <a:lin ang="5400000" scaled="0"/>
                </a:gradFill>
                <a:latin typeface="+mn-lt"/>
                <a:ea typeface="+mn-ea"/>
                <a:cs typeface="Segoe UI" pitchFamily="34" charset="0"/>
              </a:defRPr>
            </a:lvl1pPr>
            <a:lvl2pPr marL="911955" indent="-379981">
              <a:defRPr lang="en-US" sz="2094" kern="1200" dirty="0" smtClean="0">
                <a:solidFill>
                  <a:schemeClr val="bg2">
                    <a:lumMod val="50000"/>
                  </a:schemeClr>
                </a:solidFill>
                <a:latin typeface="+mn-lt"/>
                <a:ea typeface="+mn-ea"/>
                <a:cs typeface="Arial" pitchFamily="34" charset="0"/>
              </a:defRPr>
            </a:lvl2pPr>
            <a:lvl3pPr marL="911955" indent="-227988">
              <a:defRPr lang="en-US" sz="1895" kern="1200" dirty="0" smtClean="0">
                <a:solidFill>
                  <a:schemeClr val="bg2">
                    <a:lumMod val="50000"/>
                  </a:schemeClr>
                </a:solidFill>
                <a:latin typeface="+mn-lt"/>
                <a:ea typeface="+mn-ea"/>
                <a:cs typeface="Arial" pitchFamily="34" charset="0"/>
              </a:defRPr>
            </a:lvl3pPr>
            <a:lvl4pPr marL="1215940" indent="-227988">
              <a:defRPr lang="en-US" sz="1596" kern="1200" dirty="0" smtClean="0">
                <a:solidFill>
                  <a:schemeClr val="bg2">
                    <a:lumMod val="50000"/>
                  </a:schemeClr>
                </a:solidFill>
                <a:latin typeface="+mn-lt"/>
                <a:ea typeface="+mn-ea"/>
                <a:cs typeface="Arial" pitchFamily="34" charset="0"/>
              </a:defRPr>
            </a:lvl4pPr>
            <a:lvl5pPr marL="1443929" indent="-227988">
              <a:defRPr lang="en-US" sz="1596" kern="1200" dirty="0">
                <a:solidFill>
                  <a:schemeClr val="bg2">
                    <a:lumMod val="50000"/>
                  </a:schemeClr>
                </a:solidFill>
                <a:latin typeface="+mn-lt"/>
                <a:ea typeface="+mn-ea"/>
                <a:cs typeface="Arial" pitchFamily="34" charset="0"/>
              </a:defRPr>
            </a:lvl5pPr>
            <a:lvl6pPr>
              <a:defRPr sz="2094"/>
            </a:lvl6pPr>
            <a:lvl7pPr>
              <a:defRPr sz="2094"/>
            </a:lvl7pPr>
            <a:lvl8pPr>
              <a:defRPr sz="2094"/>
            </a:lvl8pPr>
            <a:lvl9pPr>
              <a:defRPr sz="2094"/>
            </a:lvl9pPr>
          </a:lstStyle>
          <a:p>
            <a:pPr lvl="0"/>
            <a:r>
              <a:rPr lang="en-US" smtClean="0"/>
              <a:t>Click to edit Master text styles</a:t>
            </a:r>
          </a:p>
        </p:txBody>
      </p:sp>
    </p:spTree>
    <p:extLst>
      <p:ext uri="{BB962C8B-B14F-4D97-AF65-F5344CB8AC3E}">
        <p14:creationId xmlns:p14="http://schemas.microsoft.com/office/powerpoint/2010/main" val="965812379"/>
      </p:ext>
    </p:extLst>
  </p:cSld>
  <p:clrMapOvr>
    <a:masterClrMapping/>
  </p:clrMapOvr>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Color Block Header&amp; Subtext">
    <p:spTree>
      <p:nvGrpSpPr>
        <p:cNvPr id="1" name=""/>
        <p:cNvGrpSpPr/>
        <p:nvPr/>
      </p:nvGrpSpPr>
      <p:grpSpPr>
        <a:xfrm>
          <a:off x="0" y="0"/>
          <a:ext cx="0" cy="0"/>
          <a:chOff x="0" y="0"/>
          <a:chExt cx="0" cy="0"/>
        </a:xfrm>
      </p:grpSpPr>
      <p:sp>
        <p:nvSpPr>
          <p:cNvPr id="2" name="Rectangle 1"/>
          <p:cNvSpPr/>
          <p:nvPr/>
        </p:nvSpPr>
        <p:spPr bwMode="white">
          <a:xfrm>
            <a:off x="-9524" y="0"/>
            <a:ext cx="4499638"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ctr" defTabSz="911815" fontAlgn="base">
              <a:spcBef>
                <a:spcPct val="0"/>
              </a:spcBef>
              <a:spcAft>
                <a:spcPct val="0"/>
              </a:spcAft>
            </a:pPr>
            <a:endParaRPr lang="en-US" sz="219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12075" y="27027"/>
            <a:ext cx="2852227" cy="2751138"/>
          </a:xfrm>
          <a:prstGeom prst="rect">
            <a:avLst/>
          </a:prstGeom>
        </p:spPr>
        <p:txBody>
          <a:bodyPr anchor="b" anchorCtr="0">
            <a:noAutofit/>
          </a:bodyPr>
          <a:lstStyle>
            <a:lvl1pPr marL="0" indent="0">
              <a:lnSpc>
                <a:spcPts val="3800"/>
              </a:lnSpc>
              <a:spcBef>
                <a:spcPts val="0"/>
              </a:spcBef>
              <a:buNone/>
              <a:defRPr sz="3600" b="0" cap="none" baseline="0">
                <a:gradFill>
                  <a:gsLst>
                    <a:gs pos="100000">
                      <a:schemeClr val="bg1"/>
                    </a:gs>
                    <a:gs pos="0">
                      <a:schemeClr val="bg1"/>
                    </a:gs>
                  </a:gsLst>
                  <a:lin ang="5400000" scaled="0"/>
                </a:gradFill>
                <a:latin typeface="+mj-lt"/>
              </a:defRPr>
            </a:lvl1pPr>
            <a:lvl2pPr marL="607970" indent="0">
              <a:buNone/>
              <a:defRPr sz="2693" b="1"/>
            </a:lvl2pPr>
            <a:lvl3pPr marL="1215940" indent="0">
              <a:buNone/>
              <a:defRPr sz="2394" b="1"/>
            </a:lvl3pPr>
            <a:lvl4pPr marL="1823910" indent="0">
              <a:buNone/>
              <a:defRPr sz="2094" b="1"/>
            </a:lvl4pPr>
            <a:lvl5pPr marL="2431880" indent="0">
              <a:buNone/>
              <a:defRPr sz="2094" b="1"/>
            </a:lvl5pPr>
            <a:lvl6pPr marL="3039851" indent="0">
              <a:buNone/>
              <a:defRPr sz="2094" b="1"/>
            </a:lvl6pPr>
            <a:lvl7pPr marL="3647820" indent="0">
              <a:buNone/>
              <a:defRPr sz="2094" b="1"/>
            </a:lvl7pPr>
            <a:lvl8pPr marL="4255790" indent="0">
              <a:buNone/>
              <a:defRPr sz="2094" b="1"/>
            </a:lvl8pPr>
            <a:lvl9pPr marL="4863760" indent="0">
              <a:buNone/>
              <a:defRPr sz="2094" b="1"/>
            </a:lvl9pPr>
          </a:lstStyle>
          <a:p>
            <a:pPr lvl="0"/>
            <a:r>
              <a:rPr lang="en-US" dirty="0" smtClean="0"/>
              <a:t>Click to edit Master text styles.</a:t>
            </a:r>
          </a:p>
        </p:txBody>
      </p:sp>
      <p:sp>
        <p:nvSpPr>
          <p:cNvPr id="7" name="Text Placeholder 6"/>
          <p:cNvSpPr>
            <a:spLocks noGrp="1"/>
          </p:cNvSpPr>
          <p:nvPr>
            <p:ph type="body" sz="quarter" idx="10"/>
          </p:nvPr>
        </p:nvSpPr>
        <p:spPr>
          <a:xfrm>
            <a:off x="532923" y="3054083"/>
            <a:ext cx="2865884" cy="3575317"/>
          </a:xfrm>
        </p:spPr>
        <p:txBody>
          <a:bodyPr/>
          <a:lstStyle>
            <a:lvl1pPr marL="0" indent="0">
              <a:lnSpc>
                <a:spcPts val="2200"/>
              </a:lnSpc>
              <a:spcBef>
                <a:spcPts val="0"/>
              </a:spcBef>
              <a:spcAft>
                <a:spcPts val="1200"/>
              </a:spcAft>
              <a:buNone/>
              <a:defRPr sz="2100" spc="0" baseline="0">
                <a:solidFill>
                  <a:schemeClr val="bg1"/>
                </a:solidFill>
                <a:latin typeface="+mj-lt"/>
              </a:defRPr>
            </a:lvl1pPr>
            <a:lvl2pPr marL="0" indent="0">
              <a:lnSpc>
                <a:spcPts val="2200"/>
              </a:lnSpc>
              <a:spcBef>
                <a:spcPts val="0"/>
              </a:spcBef>
              <a:spcAft>
                <a:spcPts val="1200"/>
              </a:spcAft>
              <a:buNone/>
              <a:defRPr sz="2100" spc="0" baseline="0">
                <a:solidFill>
                  <a:schemeClr val="bg1"/>
                </a:solidFill>
                <a:latin typeface="+mj-lt"/>
              </a:defRPr>
            </a:lvl2pPr>
            <a:lvl3pPr marL="0" indent="0">
              <a:lnSpc>
                <a:spcPts val="2200"/>
              </a:lnSpc>
              <a:spcBef>
                <a:spcPts val="0"/>
              </a:spcBef>
              <a:spcAft>
                <a:spcPts val="1200"/>
              </a:spcAft>
              <a:buNone/>
              <a:defRPr sz="2100" spc="0" baseline="0">
                <a:solidFill>
                  <a:schemeClr val="bg1"/>
                </a:solidFill>
                <a:latin typeface="+mj-lt"/>
              </a:defRPr>
            </a:lvl3pPr>
            <a:lvl4pPr marL="0" indent="0">
              <a:lnSpc>
                <a:spcPts val="2200"/>
              </a:lnSpc>
              <a:spcBef>
                <a:spcPts val="0"/>
              </a:spcBef>
              <a:spcAft>
                <a:spcPts val="1200"/>
              </a:spcAft>
              <a:buNone/>
              <a:defRPr sz="2100" spc="0" baseline="0">
                <a:solidFill>
                  <a:schemeClr val="bg1"/>
                </a:solidFill>
                <a:latin typeface="+mj-lt"/>
              </a:defRPr>
            </a:lvl4pPr>
            <a:lvl5pPr marL="0" indent="0">
              <a:lnSpc>
                <a:spcPts val="2200"/>
              </a:lnSpc>
              <a:spcBef>
                <a:spcPts val="0"/>
              </a:spcBef>
              <a:spcAft>
                <a:spcPts val="1200"/>
              </a:spcAft>
              <a:buNone/>
              <a:defRPr sz="2100" spc="0" baseline="0">
                <a:solidFill>
                  <a:schemeClr val="bg1"/>
                </a:solidFill>
                <a:latin typeface="+mj-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839231972"/>
      </p:ext>
    </p:extLst>
  </p:cSld>
  <p:clrMapOvr>
    <a:masterClrMapping/>
  </p:clrMapOvr>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1_Color Block Header on Left &amp; Text on Right ">
    <p:spTree>
      <p:nvGrpSpPr>
        <p:cNvPr id="1" name=""/>
        <p:cNvGrpSpPr/>
        <p:nvPr/>
      </p:nvGrpSpPr>
      <p:grpSpPr>
        <a:xfrm>
          <a:off x="0" y="0"/>
          <a:ext cx="0" cy="0"/>
          <a:chOff x="0" y="0"/>
          <a:chExt cx="0" cy="0"/>
        </a:xfrm>
      </p:grpSpPr>
      <p:sp>
        <p:nvSpPr>
          <p:cNvPr id="2" name="Rectangle 1"/>
          <p:cNvSpPr/>
          <p:nvPr/>
        </p:nvSpPr>
        <p:spPr bwMode="white">
          <a:xfrm>
            <a:off x="-9524" y="0"/>
            <a:ext cx="4499638"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07" tIns="45607" rIns="45607" bIns="45607" numCol="1" spcCol="0" rtlCol="0" fromWordArt="0" anchor="ctr" anchorCtr="0" forceAA="0" compatLnSpc="1">
            <a:prstTxWarp prst="textNoShape">
              <a:avLst/>
            </a:prstTxWarp>
            <a:noAutofit/>
          </a:bodyPr>
          <a:lstStyle/>
          <a:p>
            <a:pPr algn="ctr" defTabSz="911815" fontAlgn="base">
              <a:spcBef>
                <a:spcPct val="0"/>
              </a:spcBef>
              <a:spcAft>
                <a:spcPct val="0"/>
              </a:spcAft>
            </a:pPr>
            <a:endParaRPr lang="en-US" sz="219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700" y="720725"/>
            <a:ext cx="3819289" cy="1687393"/>
          </a:xfrm>
          <a:prstGeom prst="rect">
            <a:avLst/>
          </a:prstGeom>
        </p:spPr>
        <p:txBody>
          <a:bodyPr>
            <a:noAutofit/>
          </a:bodyPr>
          <a:lstStyle>
            <a:lvl1pPr marL="0" indent="0">
              <a:buNone/>
              <a:defRPr sz="3990" b="0" cap="none" baseline="0">
                <a:gradFill>
                  <a:gsLst>
                    <a:gs pos="100000">
                      <a:schemeClr val="bg1"/>
                    </a:gs>
                    <a:gs pos="0">
                      <a:schemeClr val="bg1"/>
                    </a:gs>
                  </a:gsLst>
                  <a:lin ang="5400000" scaled="0"/>
                </a:gradFill>
                <a:latin typeface="+mj-lt"/>
              </a:defRPr>
            </a:lvl1pPr>
            <a:lvl2pPr marL="607970" indent="0">
              <a:buNone/>
              <a:defRPr sz="2693" b="1"/>
            </a:lvl2pPr>
            <a:lvl3pPr marL="1215940" indent="0">
              <a:buNone/>
              <a:defRPr sz="2394" b="1"/>
            </a:lvl3pPr>
            <a:lvl4pPr marL="1823910" indent="0">
              <a:buNone/>
              <a:defRPr sz="2094" b="1"/>
            </a:lvl4pPr>
            <a:lvl5pPr marL="2431880" indent="0">
              <a:buNone/>
              <a:defRPr sz="2094" b="1"/>
            </a:lvl5pPr>
            <a:lvl6pPr marL="3039851" indent="0">
              <a:buNone/>
              <a:defRPr sz="2094" b="1"/>
            </a:lvl6pPr>
            <a:lvl7pPr marL="3647820" indent="0">
              <a:buNone/>
              <a:defRPr sz="2094" b="1"/>
            </a:lvl7pPr>
            <a:lvl8pPr marL="4255790" indent="0">
              <a:buNone/>
              <a:defRPr sz="2094" b="1"/>
            </a:lvl8pPr>
            <a:lvl9pPr marL="4863760" indent="0">
              <a:buNone/>
              <a:defRPr sz="2094" b="1"/>
            </a:lvl9pPr>
          </a:lstStyle>
          <a:p>
            <a:pPr lvl="0"/>
            <a:r>
              <a:rPr lang="en-US" dirty="0" smtClean="0"/>
              <a:t>Click to edit Master text styles.</a:t>
            </a:r>
          </a:p>
        </p:txBody>
      </p:sp>
      <p:sp>
        <p:nvSpPr>
          <p:cNvPr id="6" name="Content Placeholder 5"/>
          <p:cNvSpPr>
            <a:spLocks noGrp="1"/>
          </p:cNvSpPr>
          <p:nvPr>
            <p:ph sz="quarter" idx="4"/>
          </p:nvPr>
        </p:nvSpPr>
        <p:spPr>
          <a:xfrm>
            <a:off x="6188150" y="1681907"/>
            <a:ext cx="5484740" cy="332399"/>
          </a:xfrm>
          <a:prstGeom prst="rect">
            <a:avLst/>
          </a:prstGeom>
        </p:spPr>
        <p:txBody>
          <a:bodyPr>
            <a:noAutofit/>
          </a:bodyPr>
          <a:lstStyle>
            <a:lvl1pPr marL="0" indent="0">
              <a:spcBef>
                <a:spcPts val="1197"/>
              </a:spcBef>
              <a:buNone/>
              <a:defRPr lang="en-US" sz="1995" kern="1200" spc="0" dirty="0" smtClean="0">
                <a:gradFill>
                  <a:gsLst>
                    <a:gs pos="100000">
                      <a:schemeClr val="bg2"/>
                    </a:gs>
                    <a:gs pos="0">
                      <a:schemeClr val="bg2"/>
                    </a:gs>
                  </a:gsLst>
                  <a:lin ang="5400000" scaled="0"/>
                </a:gradFill>
                <a:latin typeface="+mn-lt"/>
                <a:ea typeface="+mn-ea"/>
                <a:cs typeface="Segoe UI" pitchFamily="34" charset="0"/>
              </a:defRPr>
            </a:lvl1pPr>
            <a:lvl2pPr marL="911955" indent="-379981">
              <a:defRPr lang="en-US" sz="2094" kern="1200" dirty="0" smtClean="0">
                <a:solidFill>
                  <a:schemeClr val="bg2">
                    <a:lumMod val="50000"/>
                  </a:schemeClr>
                </a:solidFill>
                <a:latin typeface="+mn-lt"/>
                <a:ea typeface="+mn-ea"/>
                <a:cs typeface="Arial" pitchFamily="34" charset="0"/>
              </a:defRPr>
            </a:lvl2pPr>
            <a:lvl3pPr marL="911955" indent="-227988">
              <a:defRPr lang="en-US" sz="1895" kern="1200" dirty="0" smtClean="0">
                <a:solidFill>
                  <a:schemeClr val="bg2">
                    <a:lumMod val="50000"/>
                  </a:schemeClr>
                </a:solidFill>
                <a:latin typeface="+mn-lt"/>
                <a:ea typeface="+mn-ea"/>
                <a:cs typeface="Arial" pitchFamily="34" charset="0"/>
              </a:defRPr>
            </a:lvl3pPr>
            <a:lvl4pPr marL="1215940" indent="-227988">
              <a:defRPr lang="en-US" sz="1596" kern="1200" dirty="0" smtClean="0">
                <a:solidFill>
                  <a:schemeClr val="bg2">
                    <a:lumMod val="50000"/>
                  </a:schemeClr>
                </a:solidFill>
                <a:latin typeface="+mn-lt"/>
                <a:ea typeface="+mn-ea"/>
                <a:cs typeface="Arial" pitchFamily="34" charset="0"/>
              </a:defRPr>
            </a:lvl4pPr>
            <a:lvl5pPr marL="1443929" indent="-227988">
              <a:defRPr lang="en-US" sz="1596" kern="1200" dirty="0">
                <a:solidFill>
                  <a:schemeClr val="bg2">
                    <a:lumMod val="50000"/>
                  </a:schemeClr>
                </a:solidFill>
                <a:latin typeface="+mn-lt"/>
                <a:ea typeface="+mn-ea"/>
                <a:cs typeface="Arial" pitchFamily="34" charset="0"/>
              </a:defRPr>
            </a:lvl5pPr>
            <a:lvl6pPr>
              <a:defRPr sz="2094"/>
            </a:lvl6pPr>
            <a:lvl7pPr>
              <a:defRPr sz="2094"/>
            </a:lvl7pPr>
            <a:lvl8pPr>
              <a:defRPr sz="2094"/>
            </a:lvl8pPr>
            <a:lvl9pPr>
              <a:defRPr sz="2094"/>
            </a:lvl9pPr>
          </a:lstStyle>
          <a:p>
            <a:pPr lvl="0"/>
            <a:r>
              <a:rPr lang="en-US" smtClean="0"/>
              <a:t>Click to edit Master text styles</a:t>
            </a:r>
          </a:p>
        </p:txBody>
      </p:sp>
    </p:spTree>
    <p:extLst>
      <p:ext uri="{BB962C8B-B14F-4D97-AF65-F5344CB8AC3E}">
        <p14:creationId xmlns:p14="http://schemas.microsoft.com/office/powerpoint/2010/main" val="4226489310"/>
      </p:ext>
    </p:extLst>
  </p:cSld>
  <p:clrMapOvr>
    <a:masterClrMapping/>
  </p:clrMapOvr>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Color Block text w/Photo on Right">
    <p:spTree>
      <p:nvGrpSpPr>
        <p:cNvPr id="1" name=""/>
        <p:cNvGrpSpPr/>
        <p:nvPr/>
      </p:nvGrpSpPr>
      <p:grpSpPr>
        <a:xfrm>
          <a:off x="0" y="0"/>
          <a:ext cx="0" cy="0"/>
          <a:chOff x="0" y="0"/>
          <a:chExt cx="0" cy="0"/>
        </a:xfrm>
      </p:grpSpPr>
      <p:sp>
        <p:nvSpPr>
          <p:cNvPr id="7" name="Rectangle 6"/>
          <p:cNvSpPr/>
          <p:nvPr/>
        </p:nvSpPr>
        <p:spPr bwMode="white">
          <a:xfrm>
            <a:off x="1" y="0"/>
            <a:ext cx="6219825"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07" tIns="45607" rIns="45607" bIns="45607" numCol="1" spcCol="0" rtlCol="0" fromWordArt="0" anchor="ctr" anchorCtr="0" forceAA="0" compatLnSpc="1">
            <a:prstTxWarp prst="textNoShape">
              <a:avLst/>
            </a:prstTxWarp>
            <a:noAutofit/>
          </a:bodyPr>
          <a:lstStyle/>
          <a:p>
            <a:pPr algn="ctr" defTabSz="911815" fontAlgn="base">
              <a:spcBef>
                <a:spcPct val="0"/>
              </a:spcBef>
              <a:spcAft>
                <a:spcPct val="0"/>
              </a:spcAft>
            </a:pPr>
            <a:endParaRPr lang="en-US" sz="219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701" y="1447801"/>
            <a:ext cx="5433533" cy="1178442"/>
          </a:xfrm>
          <a:prstGeom prst="rect">
            <a:avLst/>
          </a:prstGeom>
        </p:spPr>
        <p:txBody>
          <a:bodyPr>
            <a:noAutofit/>
          </a:bodyPr>
          <a:lstStyle>
            <a:lvl1pPr marL="0" indent="0">
              <a:buNone/>
              <a:defRPr sz="3990" b="0" cap="none" baseline="0">
                <a:gradFill>
                  <a:gsLst>
                    <a:gs pos="100000">
                      <a:schemeClr val="bg1"/>
                    </a:gs>
                    <a:gs pos="0">
                      <a:schemeClr val="bg1"/>
                    </a:gs>
                  </a:gsLst>
                  <a:lin ang="5400000" scaled="0"/>
                </a:gradFill>
                <a:latin typeface="+mj-lt"/>
              </a:defRPr>
            </a:lvl1pPr>
            <a:lvl2pPr marL="607970" indent="0">
              <a:buNone/>
              <a:defRPr sz="2693" b="1"/>
            </a:lvl2pPr>
            <a:lvl3pPr marL="1215940" indent="0">
              <a:buNone/>
              <a:defRPr sz="2394" b="1"/>
            </a:lvl3pPr>
            <a:lvl4pPr marL="1823910" indent="0">
              <a:buNone/>
              <a:defRPr sz="2094" b="1"/>
            </a:lvl4pPr>
            <a:lvl5pPr marL="2431880" indent="0">
              <a:buNone/>
              <a:defRPr sz="2094" b="1"/>
            </a:lvl5pPr>
            <a:lvl6pPr marL="3039851" indent="0">
              <a:buNone/>
              <a:defRPr sz="2094" b="1"/>
            </a:lvl6pPr>
            <a:lvl7pPr marL="3647820" indent="0">
              <a:buNone/>
              <a:defRPr sz="2094" b="1"/>
            </a:lvl7pPr>
            <a:lvl8pPr marL="4255790" indent="0">
              <a:buNone/>
              <a:defRPr sz="2094" b="1"/>
            </a:lvl8pPr>
            <a:lvl9pPr marL="4863760" indent="0">
              <a:buNone/>
              <a:defRPr sz="2094" b="1"/>
            </a:lvl9pPr>
          </a:lstStyle>
          <a:p>
            <a:pPr lvl="0"/>
            <a:r>
              <a:rPr lang="en-US" dirty="0" smtClean="0"/>
              <a:t>Click to edit Master text styles.</a:t>
            </a:r>
          </a:p>
        </p:txBody>
      </p:sp>
      <p:sp>
        <p:nvSpPr>
          <p:cNvPr id="9" name="Content Placeholder 5"/>
          <p:cNvSpPr>
            <a:spLocks noGrp="1"/>
          </p:cNvSpPr>
          <p:nvPr>
            <p:ph sz="quarter" idx="13"/>
          </p:nvPr>
        </p:nvSpPr>
        <p:spPr>
          <a:xfrm>
            <a:off x="520701" y="2734985"/>
            <a:ext cx="5444165" cy="609398"/>
          </a:xfrm>
          <a:prstGeom prst="rect">
            <a:avLst/>
          </a:prstGeom>
        </p:spPr>
        <p:txBody>
          <a:bodyPr>
            <a:noAutofit/>
          </a:bodyPr>
          <a:lstStyle>
            <a:lvl1pPr marL="0" indent="0">
              <a:spcBef>
                <a:spcPts val="1197"/>
              </a:spcBef>
              <a:buFont typeface="Arial" pitchFamily="34" charset="0"/>
              <a:buNone/>
              <a:defRPr lang="en-US" sz="1995" kern="1200" spc="0" dirty="0" smtClean="0">
                <a:gradFill>
                  <a:gsLst>
                    <a:gs pos="100000">
                      <a:schemeClr val="bg1"/>
                    </a:gs>
                    <a:gs pos="0">
                      <a:schemeClr val="bg1"/>
                    </a:gs>
                  </a:gsLst>
                  <a:lin ang="5400000" scaled="0"/>
                </a:gradFill>
                <a:latin typeface="+mn-lt"/>
                <a:ea typeface="+mn-ea"/>
                <a:cs typeface="Segoe UI" pitchFamily="34" charset="0"/>
              </a:defRPr>
            </a:lvl1pPr>
            <a:lvl2pPr marL="911955" indent="-379981">
              <a:defRPr lang="en-US" sz="2094" kern="1200" dirty="0" smtClean="0">
                <a:solidFill>
                  <a:schemeClr val="bg2">
                    <a:lumMod val="50000"/>
                  </a:schemeClr>
                </a:solidFill>
                <a:latin typeface="+mn-lt"/>
                <a:ea typeface="+mn-ea"/>
                <a:cs typeface="Arial" pitchFamily="34" charset="0"/>
              </a:defRPr>
            </a:lvl2pPr>
            <a:lvl3pPr marL="911955" indent="-227988">
              <a:defRPr lang="en-US" sz="1895" kern="1200" dirty="0" smtClean="0">
                <a:solidFill>
                  <a:schemeClr val="bg2">
                    <a:lumMod val="50000"/>
                  </a:schemeClr>
                </a:solidFill>
                <a:latin typeface="+mn-lt"/>
                <a:ea typeface="+mn-ea"/>
                <a:cs typeface="Arial" pitchFamily="34" charset="0"/>
              </a:defRPr>
            </a:lvl3pPr>
            <a:lvl4pPr marL="1215940" indent="-227988">
              <a:defRPr lang="en-US" sz="1596" kern="1200" dirty="0" smtClean="0">
                <a:solidFill>
                  <a:schemeClr val="bg2">
                    <a:lumMod val="50000"/>
                  </a:schemeClr>
                </a:solidFill>
                <a:latin typeface="+mn-lt"/>
                <a:ea typeface="+mn-ea"/>
                <a:cs typeface="Arial" pitchFamily="34" charset="0"/>
              </a:defRPr>
            </a:lvl4pPr>
            <a:lvl5pPr marL="1443929" indent="-227988">
              <a:defRPr lang="en-US" sz="1596" kern="1200" dirty="0">
                <a:solidFill>
                  <a:schemeClr val="bg2">
                    <a:lumMod val="50000"/>
                  </a:schemeClr>
                </a:solidFill>
                <a:latin typeface="+mn-lt"/>
                <a:ea typeface="+mn-ea"/>
                <a:cs typeface="Arial" pitchFamily="34" charset="0"/>
              </a:defRPr>
            </a:lvl5pPr>
            <a:lvl6pPr>
              <a:defRPr sz="2094"/>
            </a:lvl6pPr>
            <a:lvl7pPr>
              <a:defRPr sz="2094"/>
            </a:lvl7pPr>
            <a:lvl8pPr>
              <a:defRPr sz="2094"/>
            </a:lvl8pPr>
            <a:lvl9pPr>
              <a:defRPr sz="2094"/>
            </a:lvl9pPr>
          </a:lstStyle>
          <a:p>
            <a:pPr lvl="0"/>
            <a:r>
              <a:rPr lang="en-US" smtClean="0"/>
              <a:t>Click to edit Master text styles</a:t>
            </a:r>
          </a:p>
        </p:txBody>
      </p:sp>
      <p:sp>
        <p:nvSpPr>
          <p:cNvPr id="4" name="Picture Placeholder 3"/>
          <p:cNvSpPr>
            <a:spLocks noGrp="1"/>
          </p:cNvSpPr>
          <p:nvPr>
            <p:ph type="pic" sz="quarter" idx="14" hasCustomPrompt="1"/>
          </p:nvPr>
        </p:nvSpPr>
        <p:spPr>
          <a:xfrm>
            <a:off x="6208713" y="0"/>
            <a:ext cx="5980112" cy="6858000"/>
          </a:xfrm>
        </p:spPr>
        <p:txBody>
          <a:bodyPr lIns="182880" anchor="ctr"/>
          <a:lstStyle>
            <a:lvl1pPr marL="0" indent="0" algn="l">
              <a:buNone/>
              <a:defRPr/>
            </a:lvl1pPr>
          </a:lstStyle>
          <a:p>
            <a:r>
              <a:rPr lang="en-US" dirty="0" smtClean="0"/>
              <a:t>Click to insert photo.</a:t>
            </a:r>
            <a:endParaRPr lang="en-US" dirty="0"/>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9888252" y="6100346"/>
            <a:ext cx="2164584" cy="749808"/>
          </a:xfrm>
          <a:prstGeom prst="rect">
            <a:avLst/>
          </a:prstGeom>
        </p:spPr>
      </p:pic>
    </p:spTree>
    <p:extLst>
      <p:ext uri="{BB962C8B-B14F-4D97-AF65-F5344CB8AC3E}">
        <p14:creationId xmlns:p14="http://schemas.microsoft.com/office/powerpoint/2010/main" val="1397956062"/>
      </p:ext>
    </p:extLst>
  </p:cSld>
  <p:clrMapOvr>
    <a:masterClrMapping/>
  </p:clrMapOvr>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Color Block text w/Photo on Left">
    <p:spTree>
      <p:nvGrpSpPr>
        <p:cNvPr id="1" name=""/>
        <p:cNvGrpSpPr/>
        <p:nvPr/>
      </p:nvGrpSpPr>
      <p:grpSpPr>
        <a:xfrm>
          <a:off x="0" y="0"/>
          <a:ext cx="0" cy="0"/>
          <a:chOff x="0" y="0"/>
          <a:chExt cx="0" cy="0"/>
        </a:xfrm>
      </p:grpSpPr>
      <p:sp>
        <p:nvSpPr>
          <p:cNvPr id="7" name="Rectangle 6"/>
          <p:cNvSpPr/>
          <p:nvPr/>
        </p:nvSpPr>
        <p:spPr bwMode="white">
          <a:xfrm>
            <a:off x="8763990" y="0"/>
            <a:ext cx="3437533"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07" tIns="45607" rIns="45607" bIns="45607" numCol="1" spcCol="0" rtlCol="0" fromWordArt="0" anchor="ctr" anchorCtr="0" forceAA="0" compatLnSpc="1">
            <a:prstTxWarp prst="textNoShape">
              <a:avLst/>
            </a:prstTxWarp>
            <a:noAutofit/>
          </a:bodyPr>
          <a:lstStyle/>
          <a:p>
            <a:pPr algn="ctr" defTabSz="911815" fontAlgn="base">
              <a:spcBef>
                <a:spcPct val="0"/>
              </a:spcBef>
              <a:spcAft>
                <a:spcPct val="0"/>
              </a:spcAft>
            </a:pPr>
            <a:endParaRPr lang="en-US" sz="219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8763990" y="1447801"/>
            <a:ext cx="2887633" cy="1178442"/>
          </a:xfrm>
          <a:prstGeom prst="rect">
            <a:avLst/>
          </a:prstGeom>
        </p:spPr>
        <p:txBody>
          <a:bodyPr>
            <a:noAutofit/>
          </a:bodyPr>
          <a:lstStyle>
            <a:lvl1pPr marL="0" indent="0">
              <a:buNone/>
              <a:defRPr sz="3990" b="0" cap="none" baseline="0">
                <a:gradFill>
                  <a:gsLst>
                    <a:gs pos="100000">
                      <a:schemeClr val="bg1"/>
                    </a:gs>
                    <a:gs pos="0">
                      <a:schemeClr val="bg1"/>
                    </a:gs>
                  </a:gsLst>
                  <a:lin ang="5400000" scaled="0"/>
                </a:gradFill>
                <a:latin typeface="+mj-lt"/>
              </a:defRPr>
            </a:lvl1pPr>
            <a:lvl2pPr marL="607970" indent="0">
              <a:buNone/>
              <a:defRPr sz="2693" b="1"/>
            </a:lvl2pPr>
            <a:lvl3pPr marL="1215940" indent="0">
              <a:buNone/>
              <a:defRPr sz="2394" b="1"/>
            </a:lvl3pPr>
            <a:lvl4pPr marL="1823910" indent="0">
              <a:buNone/>
              <a:defRPr sz="2094" b="1"/>
            </a:lvl4pPr>
            <a:lvl5pPr marL="2431880" indent="0">
              <a:buNone/>
              <a:defRPr sz="2094" b="1"/>
            </a:lvl5pPr>
            <a:lvl6pPr marL="3039851" indent="0">
              <a:buNone/>
              <a:defRPr sz="2094" b="1"/>
            </a:lvl6pPr>
            <a:lvl7pPr marL="3647820" indent="0">
              <a:buNone/>
              <a:defRPr sz="2094" b="1"/>
            </a:lvl7pPr>
            <a:lvl8pPr marL="4255790" indent="0">
              <a:buNone/>
              <a:defRPr sz="2094" b="1"/>
            </a:lvl8pPr>
            <a:lvl9pPr marL="4863760" indent="0">
              <a:buNone/>
              <a:defRPr sz="2094" b="1"/>
            </a:lvl9pPr>
          </a:lstStyle>
          <a:p>
            <a:pPr lvl="0"/>
            <a:r>
              <a:rPr lang="en-US" dirty="0" smtClean="0"/>
              <a:t>Click to edit Master text styles.</a:t>
            </a:r>
          </a:p>
        </p:txBody>
      </p:sp>
      <p:sp>
        <p:nvSpPr>
          <p:cNvPr id="9" name="Content Placeholder 5"/>
          <p:cNvSpPr>
            <a:spLocks noGrp="1"/>
          </p:cNvSpPr>
          <p:nvPr>
            <p:ph sz="quarter" idx="13"/>
          </p:nvPr>
        </p:nvSpPr>
        <p:spPr>
          <a:xfrm>
            <a:off x="8763991" y="3264991"/>
            <a:ext cx="2898266" cy="609398"/>
          </a:xfrm>
          <a:prstGeom prst="rect">
            <a:avLst/>
          </a:prstGeom>
        </p:spPr>
        <p:txBody>
          <a:bodyPr>
            <a:noAutofit/>
          </a:bodyPr>
          <a:lstStyle>
            <a:lvl1pPr marL="0" indent="0">
              <a:spcBef>
                <a:spcPts val="1197"/>
              </a:spcBef>
              <a:buFont typeface="Arial" pitchFamily="34" charset="0"/>
              <a:buNone/>
              <a:defRPr lang="en-US" sz="1995" kern="1200" spc="0" dirty="0" smtClean="0">
                <a:gradFill>
                  <a:gsLst>
                    <a:gs pos="100000">
                      <a:schemeClr val="bg1"/>
                    </a:gs>
                    <a:gs pos="0">
                      <a:schemeClr val="bg1"/>
                    </a:gs>
                  </a:gsLst>
                  <a:lin ang="5400000" scaled="0"/>
                </a:gradFill>
                <a:latin typeface="+mn-lt"/>
                <a:ea typeface="+mn-ea"/>
                <a:cs typeface="Segoe UI" pitchFamily="34" charset="0"/>
              </a:defRPr>
            </a:lvl1pPr>
            <a:lvl2pPr marL="911955" indent="-379981">
              <a:defRPr lang="en-US" sz="2094" kern="1200" dirty="0" smtClean="0">
                <a:solidFill>
                  <a:schemeClr val="bg2">
                    <a:lumMod val="50000"/>
                  </a:schemeClr>
                </a:solidFill>
                <a:latin typeface="+mn-lt"/>
                <a:ea typeface="+mn-ea"/>
                <a:cs typeface="Arial" pitchFamily="34" charset="0"/>
              </a:defRPr>
            </a:lvl2pPr>
            <a:lvl3pPr marL="911955" indent="-227988">
              <a:defRPr lang="en-US" sz="1895" kern="1200" dirty="0" smtClean="0">
                <a:solidFill>
                  <a:schemeClr val="bg2">
                    <a:lumMod val="50000"/>
                  </a:schemeClr>
                </a:solidFill>
                <a:latin typeface="+mn-lt"/>
                <a:ea typeface="+mn-ea"/>
                <a:cs typeface="Arial" pitchFamily="34" charset="0"/>
              </a:defRPr>
            </a:lvl3pPr>
            <a:lvl4pPr marL="1215940" indent="-227988">
              <a:defRPr lang="en-US" sz="1596" kern="1200" dirty="0" smtClean="0">
                <a:solidFill>
                  <a:schemeClr val="bg2">
                    <a:lumMod val="50000"/>
                  </a:schemeClr>
                </a:solidFill>
                <a:latin typeface="+mn-lt"/>
                <a:ea typeface="+mn-ea"/>
                <a:cs typeface="Arial" pitchFamily="34" charset="0"/>
              </a:defRPr>
            </a:lvl4pPr>
            <a:lvl5pPr marL="1443929" indent="-227988">
              <a:defRPr lang="en-US" sz="1596" kern="1200" dirty="0">
                <a:solidFill>
                  <a:schemeClr val="bg2">
                    <a:lumMod val="50000"/>
                  </a:schemeClr>
                </a:solidFill>
                <a:latin typeface="+mn-lt"/>
                <a:ea typeface="+mn-ea"/>
                <a:cs typeface="Arial" pitchFamily="34" charset="0"/>
              </a:defRPr>
            </a:lvl5pPr>
            <a:lvl6pPr>
              <a:defRPr sz="2094"/>
            </a:lvl6pPr>
            <a:lvl7pPr>
              <a:defRPr sz="2094"/>
            </a:lvl7pPr>
            <a:lvl8pPr>
              <a:defRPr sz="2094"/>
            </a:lvl8pPr>
            <a:lvl9pPr>
              <a:defRPr sz="2094"/>
            </a:lvl9pPr>
          </a:lstStyle>
          <a:p>
            <a:pPr lvl="0"/>
            <a:r>
              <a:rPr lang="en-US" dirty="0" smtClean="0"/>
              <a:t>Click to edit Master text styles</a:t>
            </a:r>
          </a:p>
        </p:txBody>
      </p:sp>
      <p:sp>
        <p:nvSpPr>
          <p:cNvPr id="4" name="Picture Placeholder 3"/>
          <p:cNvSpPr>
            <a:spLocks noGrp="1"/>
          </p:cNvSpPr>
          <p:nvPr>
            <p:ph type="pic" sz="quarter" idx="14" hasCustomPrompt="1"/>
          </p:nvPr>
        </p:nvSpPr>
        <p:spPr>
          <a:xfrm>
            <a:off x="661596" y="532563"/>
            <a:ext cx="7966080" cy="6858000"/>
          </a:xfrm>
        </p:spPr>
        <p:txBody>
          <a:bodyPr lIns="182880" anchor="ctr"/>
          <a:lstStyle>
            <a:lvl1pPr marL="0" indent="0" algn="l">
              <a:buNone/>
              <a:defRPr/>
            </a:lvl1pPr>
          </a:lstStyle>
          <a:p>
            <a:r>
              <a:rPr lang="en-US" dirty="0" smtClean="0"/>
              <a:t>Click to insert photo.</a:t>
            </a:r>
            <a:endParaRPr lang="en-US" dirty="0"/>
          </a:p>
        </p:txBody>
      </p:sp>
      <p:pic>
        <p:nvPicPr>
          <p:cNvPr id="8" name="Picture 7"/>
          <p:cNvPicPr>
            <a:picLocks noChangeAspect="1"/>
          </p:cNvPicPr>
          <p:nvPr userDrawn="1"/>
        </p:nvPicPr>
        <p:blipFill>
          <a:blip r:embed="rId2" cstate="screen">
            <a:biLevel thresh="25000"/>
            <a:extLst>
              <a:ext uri="{28A0092B-C50C-407E-A947-70E740481C1C}">
                <a14:useLocalDpi xmlns:a14="http://schemas.microsoft.com/office/drawing/2010/main" val="0"/>
              </a:ext>
            </a:extLst>
          </a:blip>
          <a:stretch>
            <a:fillRect/>
          </a:stretch>
        </p:blipFill>
        <p:spPr>
          <a:xfrm>
            <a:off x="9888252" y="6100346"/>
            <a:ext cx="2164584" cy="749808"/>
          </a:xfrm>
          <a:prstGeom prst="rect">
            <a:avLst/>
          </a:prstGeom>
        </p:spPr>
      </p:pic>
    </p:spTree>
    <p:extLst>
      <p:ext uri="{BB962C8B-B14F-4D97-AF65-F5344CB8AC3E}">
        <p14:creationId xmlns:p14="http://schemas.microsoft.com/office/powerpoint/2010/main" val="2356700197"/>
      </p:ext>
    </p:extLst>
  </p:cSld>
  <p:clrMapOvr>
    <a:masterClrMapping/>
  </p:clrMapOvr>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p:nvSpPr>
        <p:spPr bwMode="white">
          <a:xfrm>
            <a:off x="1" y="857250"/>
            <a:ext cx="12188825" cy="51244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07" tIns="45607" rIns="45607" bIns="45607" numCol="1" spcCol="0" rtlCol="0" fromWordArt="0" anchor="ctr" anchorCtr="0" forceAA="0" compatLnSpc="1">
            <a:prstTxWarp prst="textNoShape">
              <a:avLst/>
            </a:prstTxWarp>
            <a:noAutofit/>
          </a:bodyPr>
          <a:lstStyle/>
          <a:p>
            <a:pPr algn="ctr" defTabSz="911815" fontAlgn="base">
              <a:spcBef>
                <a:spcPct val="0"/>
              </a:spcBef>
              <a:spcAft>
                <a:spcPct val="0"/>
              </a:spcAft>
            </a:pPr>
            <a:endParaRPr lang="en-US" sz="219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Content Placeholder 4"/>
          <p:cNvSpPr>
            <a:spLocks noGrp="1"/>
          </p:cNvSpPr>
          <p:nvPr>
            <p:ph sz="quarter" idx="11" hasCustomPrompt="1"/>
          </p:nvPr>
        </p:nvSpPr>
        <p:spPr>
          <a:xfrm>
            <a:off x="520701" y="1358057"/>
            <a:ext cx="11152188" cy="2863073"/>
          </a:xfrm>
          <a:prstGeom prst="rect">
            <a:avLst/>
          </a:prstGeom>
        </p:spPr>
        <p:txBody>
          <a:bodyPr>
            <a:normAutofit/>
          </a:bodyPr>
          <a:lstStyle>
            <a:lvl1pPr marL="0" indent="0">
              <a:lnSpc>
                <a:spcPct val="90000"/>
              </a:lnSpc>
              <a:buNone/>
              <a:defRPr sz="6384">
                <a:gradFill>
                  <a:gsLst>
                    <a:gs pos="100000">
                      <a:schemeClr val="bg1"/>
                    </a:gs>
                    <a:gs pos="0">
                      <a:schemeClr val="bg1"/>
                    </a:gs>
                  </a:gsLst>
                  <a:lin ang="5400000" scaled="0"/>
                </a:gradFill>
                <a:latin typeface="+mj-lt"/>
              </a:defRPr>
            </a:lvl1pPr>
            <a:lvl2pPr>
              <a:defRPr sz="6384">
                <a:solidFill>
                  <a:schemeClr val="tx2"/>
                </a:solidFill>
                <a:latin typeface="+mn-lt"/>
              </a:defRPr>
            </a:lvl2pPr>
          </a:lstStyle>
          <a:p>
            <a:pPr lvl="0"/>
            <a:r>
              <a:rPr lang="en-US" dirty="0" smtClean="0"/>
              <a:t>“Click to edit Master text styles”</a:t>
            </a:r>
          </a:p>
        </p:txBody>
      </p:sp>
      <p:sp>
        <p:nvSpPr>
          <p:cNvPr id="10" name="Slide Number Placeholder 9"/>
          <p:cNvSpPr>
            <a:spLocks noGrp="1"/>
          </p:cNvSpPr>
          <p:nvPr>
            <p:ph type="sldNum" sz="quarter" idx="12"/>
          </p:nvPr>
        </p:nvSpPr>
        <p:spPr>
          <a:xfrm>
            <a:off x="520701" y="6399557"/>
            <a:ext cx="560686" cy="219456"/>
          </a:xfrm>
          <a:prstGeom prst="rect">
            <a:avLst/>
          </a:prstGeom>
        </p:spPr>
        <p:txBody>
          <a:bodyPr lIns="121899" tIns="60949" rIns="121899" bIns="60949" anchor="ctr"/>
          <a:lstStyle>
            <a:lvl1pPr algn="l">
              <a:defRPr sz="1596">
                <a:gradFill>
                  <a:gsLst>
                    <a:gs pos="100000">
                      <a:schemeClr val="bg2"/>
                    </a:gs>
                    <a:gs pos="0">
                      <a:schemeClr val="bg2"/>
                    </a:gs>
                  </a:gsLst>
                  <a:lin ang="5400000" scaled="0"/>
                </a:gradFill>
              </a:defRPr>
            </a:lvl1pPr>
          </a:lstStyle>
          <a:p>
            <a:pPr defTabSz="912115"/>
            <a:fld id="{727B4C2D-45E2-4621-8491-2995EB46A674}" type="slidenum">
              <a:rPr lang="en-US" smtClean="0">
                <a:gradFill>
                  <a:gsLst>
                    <a:gs pos="100000">
                      <a:srgbClr val="797A7D"/>
                    </a:gs>
                    <a:gs pos="0">
                      <a:srgbClr val="797A7D"/>
                    </a:gs>
                  </a:gsLst>
                  <a:lin ang="5400000" scaled="0"/>
                </a:gradFill>
              </a:rPr>
              <a:pPr defTabSz="912115"/>
              <a:t>‹#›</a:t>
            </a:fld>
            <a:endParaRPr lang="en-US" dirty="0">
              <a:gradFill>
                <a:gsLst>
                  <a:gs pos="100000">
                    <a:srgbClr val="797A7D"/>
                  </a:gs>
                  <a:gs pos="0">
                    <a:srgbClr val="797A7D"/>
                  </a:gs>
                </a:gsLst>
                <a:lin ang="5400000" scaled="0"/>
              </a:gradFill>
            </a:endParaRPr>
          </a:p>
        </p:txBody>
      </p:sp>
      <p:sp>
        <p:nvSpPr>
          <p:cNvPr id="11" name="Content Placeholder 4"/>
          <p:cNvSpPr>
            <a:spLocks noGrp="1"/>
          </p:cNvSpPr>
          <p:nvPr>
            <p:ph sz="quarter" idx="13"/>
          </p:nvPr>
        </p:nvSpPr>
        <p:spPr>
          <a:xfrm>
            <a:off x="520701" y="4343404"/>
            <a:ext cx="11152188" cy="470747"/>
          </a:xfrm>
          <a:prstGeom prst="rect">
            <a:avLst/>
          </a:prstGeom>
        </p:spPr>
        <p:txBody>
          <a:bodyPr>
            <a:normAutofit/>
          </a:bodyPr>
          <a:lstStyle>
            <a:lvl1pPr marL="0" indent="0">
              <a:lnSpc>
                <a:spcPct val="90000"/>
              </a:lnSpc>
              <a:buNone/>
              <a:defRPr sz="3591">
                <a:gradFill>
                  <a:gsLst>
                    <a:gs pos="100000">
                      <a:schemeClr val="bg1"/>
                    </a:gs>
                    <a:gs pos="0">
                      <a:schemeClr val="bg1"/>
                    </a:gs>
                  </a:gsLst>
                  <a:lin ang="5400000" scaled="0"/>
                </a:gradFill>
                <a:latin typeface="+mj-lt"/>
              </a:defRPr>
            </a:lvl1pPr>
            <a:lvl2pPr>
              <a:defRPr sz="6384">
                <a:solidFill>
                  <a:schemeClr val="tx2"/>
                </a:solidFill>
                <a:latin typeface="+mn-lt"/>
              </a:defRPr>
            </a:lvl2pPr>
          </a:lstStyle>
          <a:p>
            <a:pPr lvl="0"/>
            <a:r>
              <a:rPr lang="en-US" smtClean="0"/>
              <a:t>Click to edit Master text styles</a:t>
            </a: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9888252" y="6100346"/>
            <a:ext cx="2164584" cy="749808"/>
          </a:xfrm>
          <a:prstGeom prst="rect">
            <a:avLst/>
          </a:prstGeom>
        </p:spPr>
      </p:pic>
    </p:spTree>
    <p:extLst>
      <p:ext uri="{BB962C8B-B14F-4D97-AF65-F5344CB8AC3E}">
        <p14:creationId xmlns:p14="http://schemas.microsoft.com/office/powerpoint/2010/main" val="2828315831"/>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3" y="1447799"/>
            <a:ext cx="11149013" cy="1975926"/>
          </a:xfrm>
          <a:prstGeom prst="rect">
            <a:avLst/>
          </a:prstGeom>
        </p:spPr>
        <p:txBody>
          <a:bodyPr/>
          <a:lstStyle>
            <a:lvl1pPr marL="0" indent="0">
              <a:spcBef>
                <a:spcPts val="2394"/>
              </a:spcBef>
              <a:buNone/>
              <a:defRPr sz="3990">
                <a:gradFill>
                  <a:gsLst>
                    <a:gs pos="100000">
                      <a:schemeClr val="bg2"/>
                    </a:gs>
                    <a:gs pos="0">
                      <a:schemeClr val="bg2"/>
                    </a:gs>
                  </a:gsLst>
                  <a:lin ang="5400000" scaled="0"/>
                </a:gradFill>
                <a:latin typeface="+mj-lt"/>
              </a:defRPr>
            </a:lvl1pPr>
            <a:lvl2pPr marL="0" indent="0">
              <a:buNone/>
              <a:defRPr sz="1995">
                <a:gradFill>
                  <a:gsLst>
                    <a:gs pos="100000">
                      <a:schemeClr val="bg2"/>
                    </a:gs>
                    <a:gs pos="0">
                      <a:schemeClr val="bg2"/>
                    </a:gs>
                  </a:gsLst>
                  <a:lin ang="5400000" scaled="0"/>
                </a:gradFill>
              </a:defRPr>
            </a:lvl2pPr>
            <a:lvl3pPr marL="231195" indent="0">
              <a:buNone/>
              <a:defRPr sz="1995">
                <a:gradFill>
                  <a:gsLst>
                    <a:gs pos="100000">
                      <a:schemeClr val="bg2"/>
                    </a:gs>
                    <a:gs pos="0">
                      <a:schemeClr val="bg2"/>
                    </a:gs>
                  </a:gsLst>
                  <a:lin ang="5400000" scaled="0"/>
                </a:gradFill>
              </a:defRPr>
            </a:lvl3pPr>
            <a:lvl4pPr marL="456057" indent="0">
              <a:buNone/>
              <a:defRPr sz="1995">
                <a:gradFill>
                  <a:gsLst>
                    <a:gs pos="100000">
                      <a:schemeClr val="bg2"/>
                    </a:gs>
                    <a:gs pos="0">
                      <a:schemeClr val="bg2"/>
                    </a:gs>
                  </a:gsLst>
                  <a:lin ang="5400000" scaled="0"/>
                </a:gradFill>
              </a:defRPr>
            </a:lvl4pPr>
            <a:lvl5pPr marL="692004" indent="0">
              <a:buNone/>
              <a:defRPr sz="1995">
                <a:gradFill>
                  <a:gsLst>
                    <a:gs pos="100000">
                      <a:schemeClr val="bg2"/>
                    </a:gs>
                    <a:gs pos="0">
                      <a:schemeClr val="bg2"/>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6" name="Slide Number Placeholder 9"/>
          <p:cNvSpPr>
            <a:spLocks noGrp="1"/>
          </p:cNvSpPr>
          <p:nvPr>
            <p:ph type="sldNum" sz="quarter" idx="12"/>
          </p:nvPr>
        </p:nvSpPr>
        <p:spPr>
          <a:xfrm>
            <a:off x="520701" y="6399557"/>
            <a:ext cx="560686" cy="219456"/>
          </a:xfrm>
          <a:prstGeom prst="rect">
            <a:avLst/>
          </a:prstGeom>
        </p:spPr>
        <p:txBody>
          <a:bodyPr lIns="121899" tIns="60949" rIns="121899" bIns="60949" anchor="ctr"/>
          <a:lstStyle>
            <a:lvl1pPr algn="l">
              <a:defRPr sz="1596">
                <a:gradFill>
                  <a:gsLst>
                    <a:gs pos="100000">
                      <a:schemeClr val="bg2"/>
                    </a:gs>
                    <a:gs pos="0">
                      <a:schemeClr val="bg2"/>
                    </a:gs>
                  </a:gsLst>
                  <a:lin ang="5400000" scaled="0"/>
                </a:gradFill>
              </a:defRPr>
            </a:lvl1pPr>
          </a:lstStyle>
          <a:p>
            <a:pPr defTabSz="912115"/>
            <a:fld id="{727B4C2D-45E2-4621-8491-2995EB46A674}" type="slidenum">
              <a:rPr lang="en-US" smtClean="0">
                <a:gradFill>
                  <a:gsLst>
                    <a:gs pos="100000">
                      <a:srgbClr val="797A7D"/>
                    </a:gs>
                    <a:gs pos="0">
                      <a:srgbClr val="797A7D"/>
                    </a:gs>
                  </a:gsLst>
                  <a:lin ang="5400000" scaled="0"/>
                </a:gradFill>
              </a:rPr>
              <a:pPr defTabSz="912115"/>
              <a:t>‹#›</a:t>
            </a:fld>
            <a:endParaRPr lang="en-US" dirty="0">
              <a:gradFill>
                <a:gsLst>
                  <a:gs pos="100000">
                    <a:srgbClr val="797A7D"/>
                  </a:gs>
                  <a:gs pos="0">
                    <a:srgbClr val="797A7D"/>
                  </a:gs>
                </a:gsLst>
                <a:lin ang="5400000" scaled="0"/>
              </a:gradFill>
            </a:endParaRPr>
          </a:p>
        </p:txBody>
      </p:sp>
      <p:pic>
        <p:nvPicPr>
          <p:cNvPr id="8" name="Picture 7"/>
          <p:cNvPicPr>
            <a:picLocks noChangeAspect="1"/>
          </p:cNvPicPr>
          <p:nvPr userDrawn="1"/>
        </p:nvPicPr>
        <p:blipFill>
          <a:blip r:embed="rId2"/>
          <a:stretch>
            <a:fillRect/>
          </a:stretch>
        </p:blipFill>
        <p:spPr>
          <a:xfrm>
            <a:off x="10699082" y="6301222"/>
            <a:ext cx="1489745" cy="548317"/>
          </a:xfrm>
          <a:prstGeom prst="rect">
            <a:avLst/>
          </a:prstGeom>
        </p:spPr>
      </p:pic>
    </p:spTree>
    <p:extLst>
      <p:ext uri="{BB962C8B-B14F-4D97-AF65-F5344CB8AC3E}">
        <p14:creationId xmlns:p14="http://schemas.microsoft.com/office/powerpoint/2010/main" val="3217396960"/>
      </p:ext>
    </p:extLst>
  </p:cSld>
  <p:clrMapOvr>
    <a:masterClrMapping/>
  </p:clrMapOvr>
  <p:transition>
    <p:fade/>
  </p:transition>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3194293763"/>
      </p:ext>
    </p:extLst>
  </p:cSld>
  <p:clrMapOvr>
    <a:masterClrMapping/>
  </p:clrMapOvr>
  <p:transition>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0362096"/>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dirty="0" smtClean="0"/>
              <a:t>Slide for Developer Code</a:t>
            </a:r>
            <a:endParaRPr lang="en-US" dirty="0"/>
          </a:p>
        </p:txBody>
      </p:sp>
      <p:sp>
        <p:nvSpPr>
          <p:cNvPr id="3" name="Rectangle 2"/>
          <p:cNvSpPr/>
          <p:nvPr/>
        </p:nvSpPr>
        <p:spPr bwMode="hidden">
          <a:xfrm>
            <a:off x="1" y="1155940"/>
            <a:ext cx="12188825"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07" tIns="45607" rIns="45607" bIns="45607" numCol="1" spcCol="0" rtlCol="0" fromWordArt="0" anchor="ctr" anchorCtr="0" forceAA="0" compatLnSpc="1">
            <a:prstTxWarp prst="textNoShape">
              <a:avLst/>
            </a:prstTxWarp>
            <a:noAutofit/>
          </a:bodyPr>
          <a:lstStyle/>
          <a:p>
            <a:pPr algn="ctr" defTabSz="911815" fontAlgn="base">
              <a:spcBef>
                <a:spcPct val="0"/>
              </a:spcBef>
              <a:spcAft>
                <a:spcPct val="0"/>
              </a:spcAft>
            </a:pPr>
            <a:endParaRPr lang="en-US" sz="1795"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18319" y="1447804"/>
            <a:ext cx="11152188" cy="1988237"/>
          </a:xfrm>
        </p:spPr>
        <p:txBody>
          <a:bodyPr/>
          <a:lstStyle>
            <a:lvl1pPr marL="0" indent="0">
              <a:lnSpc>
                <a:spcPct val="95000"/>
              </a:lnSpc>
              <a:buNone/>
              <a:defRPr sz="3192">
                <a:gradFill>
                  <a:gsLst>
                    <a:gs pos="1250">
                      <a:srgbClr val="000000"/>
                    </a:gs>
                    <a:gs pos="100000">
                      <a:srgbClr val="000000"/>
                    </a:gs>
                  </a:gsLst>
                  <a:lin ang="5400000" scaled="0"/>
                </a:gradFill>
                <a:latin typeface="Consolas" pitchFamily="49" charset="0"/>
                <a:cs typeface="Consolas" pitchFamily="49" charset="0"/>
              </a:defRPr>
            </a:lvl1pPr>
            <a:lvl2pPr marL="338876"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71656"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796517"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2771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81073091"/>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701" y="228604"/>
            <a:ext cx="11152188" cy="664797"/>
          </a:xfrm>
        </p:spPr>
        <p:txBody>
          <a:bodyPr/>
          <a:lstStyle>
            <a:lvl1pPr>
              <a:defRPr sz="4788"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113" y="1447799"/>
            <a:ext cx="11149013" cy="2043636"/>
          </a:xfrm>
          <a:prstGeom prst="rect">
            <a:avLst/>
          </a:prstGeom>
        </p:spPr>
        <p:txBody>
          <a:bodyPr/>
          <a:lstStyle>
            <a:lvl1pPr marL="342043" indent="-34204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7078" indent="-28503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2115" indent="-28503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0143" indent="-228028">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68172" indent="-228028">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80"/>
            <a:ext cx="12188826"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591"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1958606030"/>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4"/>
            <a:ext cx="11149013" cy="66638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0" indent="0">
              <a:spcBef>
                <a:spcPts val="0"/>
              </a:spcBef>
              <a:spcAft>
                <a:spcPts val="898"/>
              </a:spcAft>
              <a:buNone/>
              <a:defRPr sz="3990" spc="-100" baseline="0">
                <a:latin typeface="Segoe UI Light" pitchFamily="34" charset="0"/>
              </a:defRPr>
            </a:lvl1pPr>
            <a:lvl2pPr marL="0" indent="0">
              <a:spcBef>
                <a:spcPts val="0"/>
              </a:spcBef>
              <a:spcAft>
                <a:spcPts val="399"/>
              </a:spcAft>
              <a:buNone/>
              <a:defRPr sz="1995" spc="-50" baseline="0"/>
            </a:lvl2pPr>
            <a:lvl3pPr marL="0" indent="0">
              <a:spcBef>
                <a:spcPts val="0"/>
              </a:spcBef>
              <a:spcAft>
                <a:spcPts val="399"/>
              </a:spcAft>
              <a:buNone/>
              <a:defRPr sz="1995"/>
            </a:lvl3pPr>
            <a:lvl4pPr marL="0" indent="0">
              <a:spcBef>
                <a:spcPts val="0"/>
              </a:spcBef>
              <a:spcAft>
                <a:spcPts val="399"/>
              </a:spcAft>
              <a:buNone/>
              <a:defRPr/>
            </a:lvl4pPr>
            <a:lvl5pPr marL="0" indent="0">
              <a:spcBef>
                <a:spcPts val="0"/>
              </a:spcBef>
              <a:spcAft>
                <a:spcPts val="399"/>
              </a:spcAft>
              <a:buNone/>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943879518"/>
      </p:ext>
    </p:extLst>
  </p:cSld>
  <p:clrMapOvr>
    <a:masterClrMapping/>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422276" y="1239664"/>
            <a:ext cx="5570564" cy="346248"/>
          </a:xfrm>
        </p:spPr>
        <p:txBody>
          <a:bodyPr anchor="b"/>
          <a:lstStyle>
            <a:lvl1pPr marL="0" indent="0">
              <a:lnSpc>
                <a:spcPct val="90000"/>
              </a:lnSpc>
              <a:spcBef>
                <a:spcPts val="0"/>
              </a:spcBef>
              <a:buNone/>
              <a:defRPr sz="2494" b="0">
                <a:latin typeface="Segoe UI Semibold" pitchFamily="34" charset="0"/>
              </a:defRPr>
            </a:lvl1pPr>
            <a:lvl2pPr marL="456072" indent="0">
              <a:buNone/>
              <a:defRPr sz="1995" b="1"/>
            </a:lvl2pPr>
            <a:lvl3pPr marL="912145" indent="0">
              <a:buNone/>
              <a:defRPr sz="1829" b="1"/>
            </a:lvl3pPr>
            <a:lvl4pPr marL="1368216" indent="0">
              <a:buNone/>
              <a:defRPr sz="1580" b="1"/>
            </a:lvl4pPr>
            <a:lvl5pPr marL="1824291" indent="0">
              <a:buNone/>
              <a:defRPr sz="1580" b="1"/>
            </a:lvl5pPr>
            <a:lvl6pPr marL="2280363" indent="0">
              <a:buNone/>
              <a:defRPr sz="1580" b="1"/>
            </a:lvl6pPr>
            <a:lvl7pPr marL="2736435" indent="0">
              <a:buNone/>
              <a:defRPr sz="1580" b="1"/>
            </a:lvl7pPr>
            <a:lvl8pPr marL="3192507" indent="0">
              <a:buNone/>
              <a:defRPr sz="1580" b="1"/>
            </a:lvl8pPr>
            <a:lvl9pPr marL="3648579" indent="0">
              <a:buNone/>
              <a:defRPr sz="1580" b="1"/>
            </a:lvl9pPr>
          </a:lstStyle>
          <a:p>
            <a:pPr lvl="0"/>
            <a:r>
              <a:rPr lang="en-US" smtClean="0"/>
              <a:t>Click to edit Master text styles</a:t>
            </a:r>
          </a:p>
        </p:txBody>
      </p:sp>
      <p:sp>
        <p:nvSpPr>
          <p:cNvPr id="4" name="Content Placeholder 3"/>
          <p:cNvSpPr>
            <a:spLocks noGrp="1"/>
          </p:cNvSpPr>
          <p:nvPr>
            <p:ph sz="half" idx="2"/>
          </p:nvPr>
        </p:nvSpPr>
        <p:spPr>
          <a:xfrm>
            <a:off x="411056" y="1905000"/>
            <a:ext cx="5581783" cy="1394228"/>
          </a:xfrm>
        </p:spPr>
        <p:txBody>
          <a:bodyPr/>
          <a:lstStyle>
            <a:lvl1pPr marL="281086" indent="-281086">
              <a:defRPr sz="1995"/>
            </a:lvl1pPr>
            <a:lvl2pPr marL="560853" indent="-265251">
              <a:defRPr sz="1829"/>
            </a:lvl2pPr>
            <a:lvl3pPr marL="811589" indent="-242816">
              <a:defRPr sz="1580"/>
            </a:lvl3pPr>
            <a:lvl4pPr marL="1047806" indent="-228301">
              <a:defRPr sz="1580"/>
            </a:lvl4pPr>
            <a:lvl5pPr marL="1276106" indent="-205867">
              <a:defRPr sz="1580"/>
            </a:lvl5pPr>
            <a:lvl6pPr>
              <a:defRPr sz="1580"/>
            </a:lvl6pPr>
            <a:lvl7pPr>
              <a:defRPr sz="1580"/>
            </a:lvl7pPr>
            <a:lvl8pPr>
              <a:defRPr sz="1580"/>
            </a:lvl8pPr>
            <a:lvl9pPr>
              <a:defRPr sz="158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239664"/>
            <a:ext cx="5638800" cy="346248"/>
          </a:xfrm>
        </p:spPr>
        <p:txBody>
          <a:bodyPr anchor="b"/>
          <a:lstStyle>
            <a:lvl1pPr marL="0" indent="0">
              <a:lnSpc>
                <a:spcPct val="90000"/>
              </a:lnSpc>
              <a:spcBef>
                <a:spcPts val="0"/>
              </a:spcBef>
              <a:buNone/>
              <a:defRPr sz="2494" b="1"/>
            </a:lvl1pPr>
            <a:lvl2pPr marL="456072" indent="0">
              <a:buNone/>
              <a:defRPr sz="1995" b="1"/>
            </a:lvl2pPr>
            <a:lvl3pPr marL="912145" indent="0">
              <a:buNone/>
              <a:defRPr sz="1829" b="1"/>
            </a:lvl3pPr>
            <a:lvl4pPr marL="1368216" indent="0">
              <a:buNone/>
              <a:defRPr sz="1580" b="1"/>
            </a:lvl4pPr>
            <a:lvl5pPr marL="1824291" indent="0">
              <a:buNone/>
              <a:defRPr sz="1580" b="1"/>
            </a:lvl5pPr>
            <a:lvl6pPr marL="2280363" indent="0">
              <a:buNone/>
              <a:defRPr sz="1580" b="1"/>
            </a:lvl6pPr>
            <a:lvl7pPr marL="2736435" indent="0">
              <a:buNone/>
              <a:defRPr sz="1580" b="1"/>
            </a:lvl7pPr>
            <a:lvl8pPr marL="3192507" indent="0">
              <a:buNone/>
              <a:defRPr sz="1580" b="1"/>
            </a:lvl8pPr>
            <a:lvl9pPr marL="3648579" indent="0">
              <a:buNone/>
              <a:defRPr sz="1580" b="1"/>
            </a:lvl9pPr>
          </a:lstStyle>
          <a:p>
            <a:pPr lvl="0"/>
            <a:r>
              <a:rPr lang="en-US" smtClean="0"/>
              <a:t>Click to edit Master text styles</a:t>
            </a:r>
          </a:p>
        </p:txBody>
      </p:sp>
      <p:sp>
        <p:nvSpPr>
          <p:cNvPr id="6" name="Content Placeholder 5"/>
          <p:cNvSpPr>
            <a:spLocks noGrp="1"/>
          </p:cNvSpPr>
          <p:nvPr>
            <p:ph sz="quarter" idx="4"/>
          </p:nvPr>
        </p:nvSpPr>
        <p:spPr>
          <a:xfrm>
            <a:off x="6181727" y="1905001"/>
            <a:ext cx="5608493" cy="1394228"/>
          </a:xfrm>
        </p:spPr>
        <p:txBody>
          <a:bodyPr/>
          <a:lstStyle>
            <a:lvl1pPr marL="295602" indent="-295602">
              <a:defRPr sz="1995"/>
            </a:lvl1pPr>
            <a:lvl2pPr marL="568771" indent="-273169">
              <a:defRPr sz="1829"/>
            </a:lvl2pPr>
            <a:lvl3pPr marL="819505" indent="-244136">
              <a:defRPr sz="1580"/>
            </a:lvl3pPr>
            <a:lvl4pPr marL="1047806" indent="-236219">
              <a:defRPr sz="1580"/>
            </a:lvl4pPr>
            <a:lvl5pPr marL="1276106" indent="-220383">
              <a:defRPr sz="1580"/>
            </a:lvl5pPr>
            <a:lvl6pPr>
              <a:defRPr sz="1580"/>
            </a:lvl6pPr>
            <a:lvl7pPr>
              <a:defRPr sz="1580"/>
            </a:lvl7pPr>
            <a:lvl8pPr>
              <a:defRPr sz="1580"/>
            </a:lvl8pPr>
            <a:lvl9pPr>
              <a:defRPr sz="158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2" cstate="email">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10590215" y="6344945"/>
            <a:ext cx="1371600" cy="436856"/>
          </a:xfrm>
          <a:prstGeom prst="rect">
            <a:avLst/>
          </a:prstGeom>
        </p:spPr>
      </p:pic>
    </p:spTree>
    <p:extLst>
      <p:ext uri="{BB962C8B-B14F-4D97-AF65-F5344CB8AC3E}">
        <p14:creationId xmlns:p14="http://schemas.microsoft.com/office/powerpoint/2010/main" val="2858048568"/>
      </p:ext>
    </p:extLst>
  </p:cSld>
  <p:clrMapOvr>
    <a:masterClrMapping/>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611188" y="1449390"/>
            <a:ext cx="5397500" cy="1742015"/>
          </a:xfrm>
          <a:prstGeom prst="rect">
            <a:avLst/>
          </a:prstGeom>
        </p:spPr>
        <p:txBody>
          <a:bodyPr/>
          <a:lstStyle>
            <a:lvl1pPr marL="228097" indent="-228097">
              <a:lnSpc>
                <a:spcPct val="90000"/>
              </a:lnSpc>
              <a:defRPr sz="2794">
                <a:latin typeface="Segoe UI" pitchFamily="34" charset="0"/>
              </a:defRPr>
            </a:lvl1pPr>
            <a:lvl2pPr marL="456194" indent="-228097">
              <a:lnSpc>
                <a:spcPct val="90000"/>
              </a:lnSpc>
              <a:defRPr sz="2395"/>
            </a:lvl2pPr>
            <a:lvl3pPr marL="684291" indent="-228097">
              <a:lnSpc>
                <a:spcPct val="90000"/>
              </a:lnSpc>
              <a:defRPr sz="1996"/>
            </a:lvl3pPr>
            <a:lvl4pPr marL="912388" indent="-228097">
              <a:lnSpc>
                <a:spcPct val="90000"/>
              </a:lnSpc>
              <a:defRPr sz="1796"/>
            </a:lvl4pPr>
            <a:lvl5pPr marL="1089797" indent="-177409">
              <a:lnSpc>
                <a:spcPct val="90000"/>
              </a:lnSpc>
              <a:defRPr sz="1796"/>
            </a:lvl5pPr>
            <a:lvl6pPr>
              <a:defRPr sz="1796"/>
            </a:lvl6pPr>
            <a:lvl7pPr>
              <a:defRPr sz="1796"/>
            </a:lvl7pPr>
            <a:lvl8pPr>
              <a:defRPr sz="1796"/>
            </a:lvl8pPr>
            <a:lvl9pPr>
              <a:defRPr sz="1796"/>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6173414" y="1449390"/>
            <a:ext cx="5399087" cy="1742015"/>
          </a:xfrm>
          <a:prstGeom prst="rect">
            <a:avLst/>
          </a:prstGeom>
        </p:spPr>
        <p:txBody>
          <a:bodyPr/>
          <a:lstStyle>
            <a:lvl1pPr marL="228097" indent="-228097">
              <a:lnSpc>
                <a:spcPct val="90000"/>
              </a:lnSpc>
              <a:defRPr sz="2794">
                <a:latin typeface="Segoe UI" pitchFamily="34" charset="0"/>
              </a:defRPr>
            </a:lvl1pPr>
            <a:lvl2pPr marL="456194" indent="-228097">
              <a:lnSpc>
                <a:spcPct val="90000"/>
              </a:lnSpc>
              <a:defRPr sz="2395"/>
            </a:lvl2pPr>
            <a:lvl3pPr marL="684291" indent="-228097">
              <a:lnSpc>
                <a:spcPct val="90000"/>
              </a:lnSpc>
              <a:defRPr sz="1996"/>
            </a:lvl3pPr>
            <a:lvl4pPr marL="912388" indent="-228097">
              <a:lnSpc>
                <a:spcPct val="90000"/>
              </a:lnSpc>
              <a:defRPr sz="1796"/>
            </a:lvl4pPr>
            <a:lvl5pPr marL="1089797" indent="-177409">
              <a:lnSpc>
                <a:spcPct val="90000"/>
              </a:lnSpc>
              <a:defRPr sz="1796"/>
            </a:lvl5pPr>
            <a:lvl6pPr>
              <a:defRPr sz="1796"/>
            </a:lvl6pPr>
            <a:lvl7pPr>
              <a:defRPr sz="1796"/>
            </a:lvl7pPr>
            <a:lvl8pPr>
              <a:defRPr sz="1796"/>
            </a:lvl8pPr>
            <a:lvl9pPr>
              <a:defRPr sz="1796"/>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342956190"/>
      </p:ext>
    </p:extLst>
  </p:cSld>
  <p:clrMapOvr>
    <a:masterClrMapping/>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type="blank">
  <p:cSld name="2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84360269"/>
      </p:ext>
    </p:extLst>
  </p:cSld>
  <p:clrMapOvr>
    <a:masterClrMapping/>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cSld name="2_Content w/Photo on Right">
    <p:spTree>
      <p:nvGrpSpPr>
        <p:cNvPr id="1" name=""/>
        <p:cNvGrpSpPr/>
        <p:nvPr/>
      </p:nvGrpSpPr>
      <p:grpSpPr>
        <a:xfrm>
          <a:off x="0" y="0"/>
          <a:ext cx="0" cy="0"/>
          <a:chOff x="0" y="0"/>
          <a:chExt cx="0" cy="0"/>
        </a:xfrm>
      </p:grpSpPr>
      <p:sp>
        <p:nvSpPr>
          <p:cNvPr id="4" name="Picture Placeholder 3"/>
          <p:cNvSpPr>
            <a:spLocks noGrp="1"/>
          </p:cNvSpPr>
          <p:nvPr>
            <p:ph type="pic" sz="quarter" idx="14" hasCustomPrompt="1"/>
          </p:nvPr>
        </p:nvSpPr>
        <p:spPr>
          <a:xfrm>
            <a:off x="6208715" y="3319887"/>
            <a:ext cx="5980112" cy="332527"/>
          </a:xfrm>
        </p:spPr>
        <p:txBody>
          <a:bodyPr lIns="182611" anchor="ctr"/>
          <a:lstStyle>
            <a:lvl1pPr marL="0" indent="0" algn="l">
              <a:buNone/>
              <a:defRPr/>
            </a:lvl1pPr>
          </a:lstStyle>
          <a:p>
            <a:r>
              <a:rPr lang="en-US" dirty="0" smtClean="0"/>
              <a:t>Click to insert photo.</a:t>
            </a:r>
            <a:endParaRPr lang="en-US" dirty="0"/>
          </a:p>
        </p:txBody>
      </p:sp>
      <p:sp>
        <p:nvSpPr>
          <p:cNvPr id="3" name="Text Placeholder 2"/>
          <p:cNvSpPr>
            <a:spLocks noGrp="1"/>
          </p:cNvSpPr>
          <p:nvPr>
            <p:ph type="body" idx="1" hasCustomPrompt="1"/>
          </p:nvPr>
        </p:nvSpPr>
        <p:spPr>
          <a:xfrm>
            <a:off x="520700" y="1447802"/>
            <a:ext cx="5433533" cy="1178443"/>
          </a:xfrm>
          <a:prstGeom prst="rect">
            <a:avLst/>
          </a:prstGeom>
        </p:spPr>
        <p:txBody>
          <a:bodyPr>
            <a:noAutofit/>
          </a:bodyPr>
          <a:lstStyle>
            <a:lvl1pPr marL="0" indent="0">
              <a:spcBef>
                <a:spcPts val="900"/>
              </a:spcBef>
              <a:buNone/>
              <a:defRPr sz="3000" b="0" cap="none" baseline="0">
                <a:solidFill>
                  <a:schemeClr val="tx2"/>
                </a:solidFill>
                <a:latin typeface="+mj-lt"/>
              </a:defRPr>
            </a:lvl1pPr>
            <a:lvl2pPr marL="456449" indent="0">
              <a:buNone/>
              <a:defRPr sz="2025" b="1"/>
            </a:lvl2pPr>
            <a:lvl3pPr marL="912899" indent="0">
              <a:buNone/>
              <a:defRPr sz="1800" b="1"/>
            </a:lvl3pPr>
            <a:lvl4pPr marL="1369349" indent="0">
              <a:buNone/>
              <a:defRPr sz="1575" b="1"/>
            </a:lvl4pPr>
            <a:lvl5pPr marL="1825798" indent="0">
              <a:buNone/>
              <a:defRPr sz="1575" b="1"/>
            </a:lvl5pPr>
            <a:lvl6pPr marL="2282248" indent="0">
              <a:buNone/>
              <a:defRPr sz="1575" b="1"/>
            </a:lvl6pPr>
            <a:lvl7pPr marL="2738697" indent="0">
              <a:buNone/>
              <a:defRPr sz="1575" b="1"/>
            </a:lvl7pPr>
            <a:lvl8pPr marL="3195146" indent="0">
              <a:buNone/>
              <a:defRPr sz="1575" b="1"/>
            </a:lvl8pPr>
            <a:lvl9pPr marL="3651596" indent="0">
              <a:buNone/>
              <a:defRPr sz="1575" b="1"/>
            </a:lvl9pPr>
          </a:lstStyle>
          <a:p>
            <a:pPr lvl="0"/>
            <a:r>
              <a:rPr lang="en-US" dirty="0" smtClean="0"/>
              <a:t>Click to edit Master text styles.</a:t>
            </a:r>
          </a:p>
        </p:txBody>
      </p:sp>
      <p:sp>
        <p:nvSpPr>
          <p:cNvPr id="10" name="Slide Number Placeholder 9"/>
          <p:cNvSpPr>
            <a:spLocks noGrp="1"/>
          </p:cNvSpPr>
          <p:nvPr>
            <p:ph type="sldNum" sz="quarter" idx="12"/>
          </p:nvPr>
        </p:nvSpPr>
        <p:spPr>
          <a:xfrm>
            <a:off x="520700" y="6399557"/>
            <a:ext cx="560686" cy="219456"/>
          </a:xfrm>
          <a:prstGeom prst="rect">
            <a:avLst/>
          </a:prstGeom>
        </p:spPr>
        <p:txBody>
          <a:bodyPr lIns="121720" tIns="60860" rIns="121720" bIns="60860" anchor="ctr"/>
          <a:lstStyle>
            <a:lvl1pPr algn="l">
              <a:defRPr sz="1200">
                <a:gradFill>
                  <a:gsLst>
                    <a:gs pos="100000">
                      <a:schemeClr val="bg2"/>
                    </a:gs>
                    <a:gs pos="0">
                      <a:schemeClr val="bg2"/>
                    </a:gs>
                  </a:gsLst>
                  <a:lin ang="5400000" scaled="0"/>
                </a:gradFill>
              </a:defRPr>
            </a:lvl1pPr>
          </a:lstStyle>
          <a:p>
            <a:pPr defTabSz="914400"/>
            <a:fld id="{727B4C2D-45E2-4621-8491-2995EB46A674}" type="slidenum">
              <a:rPr lang="en-US" smtClean="0">
                <a:gradFill>
                  <a:gsLst>
                    <a:gs pos="100000">
                      <a:srgbClr val="EAEEFB"/>
                    </a:gs>
                    <a:gs pos="0">
                      <a:srgbClr val="EAEEFB"/>
                    </a:gs>
                  </a:gsLst>
                  <a:lin ang="5400000" scaled="0"/>
                </a:gradFill>
              </a:rPr>
              <a:pPr defTabSz="914400"/>
              <a:t>‹#›</a:t>
            </a:fld>
            <a:endParaRPr lang="en-US" dirty="0">
              <a:gradFill>
                <a:gsLst>
                  <a:gs pos="100000">
                    <a:srgbClr val="EAEEFB"/>
                  </a:gs>
                  <a:gs pos="0">
                    <a:srgbClr val="EAEEFB"/>
                  </a:gs>
                </a:gsLst>
                <a:lin ang="5400000" scaled="0"/>
              </a:gradFill>
            </a:endParaRPr>
          </a:p>
        </p:txBody>
      </p:sp>
      <p:sp>
        <p:nvSpPr>
          <p:cNvPr id="9" name="Content Placeholder 5"/>
          <p:cNvSpPr>
            <a:spLocks noGrp="1"/>
          </p:cNvSpPr>
          <p:nvPr>
            <p:ph sz="quarter" idx="13"/>
          </p:nvPr>
        </p:nvSpPr>
        <p:spPr>
          <a:xfrm>
            <a:off x="520702" y="2734989"/>
            <a:ext cx="5444165" cy="609399"/>
          </a:xfrm>
          <a:prstGeom prst="rect">
            <a:avLst/>
          </a:prstGeom>
        </p:spPr>
        <p:txBody>
          <a:bodyPr>
            <a:noAutofit/>
          </a:bodyPr>
          <a:lstStyle>
            <a:lvl1pPr marL="0" indent="0">
              <a:spcBef>
                <a:spcPts val="900"/>
              </a:spcBef>
              <a:buFont typeface="Arial" pitchFamily="34" charset="0"/>
              <a:buNone/>
              <a:defRPr lang="en-US" sz="1500" kern="1200" spc="0" dirty="0" smtClean="0">
                <a:gradFill>
                  <a:gsLst>
                    <a:gs pos="100000">
                      <a:schemeClr val="bg2"/>
                    </a:gs>
                    <a:gs pos="0">
                      <a:schemeClr val="bg2"/>
                    </a:gs>
                  </a:gsLst>
                  <a:lin ang="5400000" scaled="0"/>
                </a:gradFill>
                <a:latin typeface="+mn-lt"/>
                <a:ea typeface="+mn-ea"/>
                <a:cs typeface="Segoe UI" pitchFamily="34" charset="0"/>
              </a:defRPr>
            </a:lvl1pPr>
            <a:lvl2pPr marL="684674" indent="-285281">
              <a:defRPr lang="en-US" sz="1575" kern="1200" dirty="0" smtClean="0">
                <a:solidFill>
                  <a:schemeClr val="bg2">
                    <a:lumMod val="50000"/>
                  </a:schemeClr>
                </a:solidFill>
                <a:latin typeface="+mn-lt"/>
                <a:ea typeface="+mn-ea"/>
                <a:cs typeface="Arial" pitchFamily="34" charset="0"/>
              </a:defRPr>
            </a:lvl2pPr>
            <a:lvl3pPr marL="684674" indent="-171169">
              <a:defRPr lang="en-US" sz="1425" kern="1200" dirty="0" smtClean="0">
                <a:solidFill>
                  <a:schemeClr val="bg2">
                    <a:lumMod val="50000"/>
                  </a:schemeClr>
                </a:solidFill>
                <a:latin typeface="+mn-lt"/>
                <a:ea typeface="+mn-ea"/>
                <a:cs typeface="Arial" pitchFamily="34" charset="0"/>
              </a:defRPr>
            </a:lvl3pPr>
            <a:lvl4pPr marL="912899" indent="-171169">
              <a:defRPr lang="en-US" sz="1200" kern="1200" dirty="0" smtClean="0">
                <a:solidFill>
                  <a:schemeClr val="bg2">
                    <a:lumMod val="50000"/>
                  </a:schemeClr>
                </a:solidFill>
                <a:latin typeface="+mn-lt"/>
                <a:ea typeface="+mn-ea"/>
                <a:cs typeface="Arial" pitchFamily="34" charset="0"/>
              </a:defRPr>
            </a:lvl4pPr>
            <a:lvl5pPr marL="1084068" indent="-171169">
              <a:defRPr lang="en-US" sz="1200" kern="1200" dirty="0">
                <a:solidFill>
                  <a:schemeClr val="bg2">
                    <a:lumMod val="50000"/>
                  </a:schemeClr>
                </a:solidFill>
                <a:latin typeface="+mn-lt"/>
                <a:ea typeface="+mn-ea"/>
                <a:cs typeface="Arial" pitchFamily="34" charset="0"/>
              </a:defRPr>
            </a:lvl5pPr>
            <a:lvl6pPr>
              <a:defRPr sz="1575"/>
            </a:lvl6pPr>
            <a:lvl7pPr>
              <a:defRPr sz="1575"/>
            </a:lvl7pPr>
            <a:lvl8pPr>
              <a:defRPr sz="1575"/>
            </a:lvl8pPr>
            <a:lvl9pPr>
              <a:defRPr sz="1575"/>
            </a:lvl9pPr>
          </a:lstStyle>
          <a:p>
            <a:pPr lvl="0"/>
            <a:r>
              <a:rPr lang="en-US" smtClean="0"/>
              <a:t>Click to edit Master text styles</a:t>
            </a:r>
          </a:p>
        </p:txBody>
      </p:sp>
      <p:sp>
        <p:nvSpPr>
          <p:cNvPr id="11" name="TextBox 10"/>
          <p:cNvSpPr txBox="1"/>
          <p:nvPr/>
        </p:nvSpPr>
        <p:spPr>
          <a:xfrm>
            <a:off x="10615310" y="6186238"/>
            <a:ext cx="1521272" cy="450123"/>
          </a:xfrm>
          <a:prstGeom prst="rect">
            <a:avLst/>
          </a:prstGeom>
          <a:noFill/>
        </p:spPr>
        <p:txBody>
          <a:bodyPr wrap="square" lIns="0" tIns="0" rIns="0" bIns="0" rtlCol="0" anchor="ctr">
            <a:spAutoFit/>
          </a:bodyPr>
          <a:lstStyle/>
          <a:p>
            <a:pPr algn="ctr" defTabSz="914400"/>
            <a:r>
              <a:rPr lang="en-US" sz="2925" spc="-53" dirty="0" smtClean="0">
                <a:solidFill>
                  <a:srgbClr val="3955A1"/>
                </a:solidFill>
                <a:latin typeface="Segoe Pro" pitchFamily="34" charset="0"/>
              </a:rPr>
              <a:t>Visio</a:t>
            </a:r>
          </a:p>
        </p:txBody>
      </p:sp>
    </p:spTree>
    <p:extLst>
      <p:ext uri="{BB962C8B-B14F-4D97-AF65-F5344CB8AC3E}">
        <p14:creationId xmlns:p14="http://schemas.microsoft.com/office/powerpoint/2010/main" val="1293768086"/>
      </p:ext>
    </p:extLst>
  </p:cSld>
  <p:clrMapOvr>
    <a:masterClrMapping/>
  </p:clrMapOvr>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936944363"/>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4"/>
            <a:ext cx="11149013" cy="747897"/>
          </a:xfrm>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43636"/>
          </a:xfrm>
          <a:prstGeom prst="rect">
            <a:avLst/>
          </a:prstGeom>
        </p:spPr>
        <p:txBody>
          <a:bodyPr/>
          <a:lstStyle>
            <a:lvl1pPr marL="283453" indent="-283453">
              <a:buFont typeface="Wingdings" pitchFamily="2" charset="2"/>
              <a:buChar char=""/>
              <a:defRPr sz="3990"/>
            </a:lvl1pPr>
            <a:lvl2pPr marL="516232" indent="-232780">
              <a:buFont typeface="Wingdings" pitchFamily="2" charset="2"/>
              <a:buChar char=""/>
              <a:defRPr>
                <a:latin typeface="+mn-lt"/>
              </a:defRPr>
            </a:lvl2pPr>
            <a:lvl3pPr marL="739510" indent="-223279">
              <a:buFont typeface="Wingdings" pitchFamily="2" charset="2"/>
              <a:buChar char=""/>
              <a:tabLst/>
              <a:defRPr>
                <a:latin typeface="+mn-lt"/>
              </a:defRPr>
            </a:lvl3pPr>
            <a:lvl4pPr marL="912115" indent="-172605">
              <a:buFont typeface="Wingdings" pitchFamily="2" charset="2"/>
              <a:buChar char=""/>
              <a:defRPr>
                <a:latin typeface="+mn-lt"/>
              </a:defRPr>
            </a:lvl4pPr>
            <a:lvl5pPr marL="1084720" indent="-172605">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9"/>
          <p:cNvSpPr>
            <a:spLocks noGrp="1"/>
          </p:cNvSpPr>
          <p:nvPr>
            <p:ph type="sldNum" sz="quarter" idx="12"/>
          </p:nvPr>
        </p:nvSpPr>
        <p:spPr>
          <a:xfrm>
            <a:off x="520701" y="6399557"/>
            <a:ext cx="560686" cy="219456"/>
          </a:xfrm>
          <a:prstGeom prst="rect">
            <a:avLst/>
          </a:prstGeom>
        </p:spPr>
        <p:txBody>
          <a:bodyPr lIns="121899" tIns="60949" rIns="121899" bIns="60949" anchor="ctr"/>
          <a:lstStyle>
            <a:lvl1pPr algn="l">
              <a:defRPr sz="1596">
                <a:gradFill>
                  <a:gsLst>
                    <a:gs pos="100000">
                      <a:schemeClr val="bg2"/>
                    </a:gs>
                    <a:gs pos="0">
                      <a:schemeClr val="bg2"/>
                    </a:gs>
                  </a:gsLst>
                  <a:lin ang="5400000" scaled="0"/>
                </a:gradFill>
              </a:defRPr>
            </a:lvl1pPr>
          </a:lstStyle>
          <a:p>
            <a:pPr defTabSz="912115"/>
            <a:fld id="{727B4C2D-45E2-4621-8491-2995EB46A674}" type="slidenum">
              <a:rPr lang="en-US" smtClean="0">
                <a:gradFill>
                  <a:gsLst>
                    <a:gs pos="100000">
                      <a:srgbClr val="797A7D"/>
                    </a:gs>
                    <a:gs pos="0">
                      <a:srgbClr val="797A7D"/>
                    </a:gs>
                  </a:gsLst>
                  <a:lin ang="5400000" scaled="0"/>
                </a:gradFill>
              </a:rPr>
              <a:pPr defTabSz="912115"/>
              <a:t>‹#›</a:t>
            </a:fld>
            <a:endParaRPr lang="en-US" dirty="0">
              <a:gradFill>
                <a:gsLst>
                  <a:gs pos="100000">
                    <a:srgbClr val="797A7D"/>
                  </a:gs>
                  <a:gs pos="0">
                    <a:srgbClr val="797A7D"/>
                  </a:gs>
                </a:gsLst>
                <a:lin ang="5400000" scaled="0"/>
              </a:gradFill>
            </a:endParaRPr>
          </a:p>
        </p:txBody>
      </p:sp>
      <p:pic>
        <p:nvPicPr>
          <p:cNvPr id="8" name="Picture 7"/>
          <p:cNvPicPr>
            <a:picLocks noChangeAspect="1"/>
          </p:cNvPicPr>
          <p:nvPr userDrawn="1"/>
        </p:nvPicPr>
        <p:blipFill>
          <a:blip r:embed="rId2"/>
          <a:stretch>
            <a:fillRect/>
          </a:stretch>
        </p:blipFill>
        <p:spPr>
          <a:xfrm>
            <a:off x="10699082" y="6301222"/>
            <a:ext cx="1489745" cy="548317"/>
          </a:xfrm>
          <a:prstGeom prst="rect">
            <a:avLst/>
          </a:prstGeom>
        </p:spPr>
      </p:pic>
    </p:spTree>
    <p:extLst>
      <p:ext uri="{BB962C8B-B14F-4D97-AF65-F5344CB8AC3E}">
        <p14:creationId xmlns:p14="http://schemas.microsoft.com/office/powerpoint/2010/main" val="3777590708"/>
      </p:ext>
    </p:extLst>
  </p:cSld>
  <p:clrMapOvr>
    <a:masterClrMapping/>
  </p:clrMapOvr>
  <p:transition>
    <p:fade/>
  </p:transition>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Section Header_2">
    <p:bg>
      <p:bgPr>
        <a:solidFill>
          <a:schemeClr val="accent5"/>
        </a:solidFill>
        <a:effectLst/>
      </p:bgPr>
    </p:bg>
    <p:spTree>
      <p:nvGrpSpPr>
        <p:cNvPr id="1" name=""/>
        <p:cNvGrpSpPr/>
        <p:nvPr/>
      </p:nvGrpSpPr>
      <p:grpSpPr>
        <a:xfrm>
          <a:off x="0" y="0"/>
          <a:ext cx="0" cy="0"/>
          <a:chOff x="0" y="0"/>
          <a:chExt cx="0" cy="0"/>
        </a:xfrm>
      </p:grpSpPr>
      <p:sp>
        <p:nvSpPr>
          <p:cNvPr id="3" name="Title 1"/>
          <p:cNvSpPr>
            <a:spLocks noGrp="1"/>
          </p:cNvSpPr>
          <p:nvPr>
            <p:ph type="title"/>
          </p:nvPr>
        </p:nvSpPr>
        <p:spPr>
          <a:xfrm>
            <a:off x="962834" y="2747962"/>
            <a:ext cx="10360501" cy="1362075"/>
          </a:xfrm>
          <a:prstGeom prst="rect">
            <a:avLst/>
          </a:prstGeom>
        </p:spPr>
        <p:txBody>
          <a:bodyPr/>
          <a:lstStyle/>
          <a:p>
            <a:r>
              <a:rPr lang="en-US" dirty="0" smtClean="0"/>
              <a:t>Solid divider</a:t>
            </a:r>
            <a:endParaRPr lang="en-US" dirty="0"/>
          </a:p>
        </p:txBody>
      </p:sp>
    </p:spTree>
    <p:extLst>
      <p:ext uri="{BB962C8B-B14F-4D97-AF65-F5344CB8AC3E}">
        <p14:creationId xmlns:p14="http://schemas.microsoft.com/office/powerpoint/2010/main" val="1454446990"/>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701" y="1447804"/>
            <a:ext cx="5394960" cy="2462213"/>
          </a:xfrm>
        </p:spPr>
        <p:txBody>
          <a:bodyPr/>
          <a:lstStyle>
            <a:lvl1pPr marL="0" indent="0">
              <a:spcBef>
                <a:spcPts val="1197"/>
              </a:spcBef>
              <a:buNone/>
              <a:defRPr sz="3990">
                <a:gradFill>
                  <a:gsLst>
                    <a:gs pos="100000">
                      <a:schemeClr val="tx2"/>
                    </a:gs>
                    <a:gs pos="0">
                      <a:schemeClr val="tx2"/>
                    </a:gs>
                  </a:gsLst>
                  <a:lin ang="5400000" scaled="0"/>
                </a:gradFill>
                <a:latin typeface="+mj-lt"/>
              </a:defRPr>
            </a:lvl1pPr>
            <a:lvl2pPr marL="0" indent="0">
              <a:buNone/>
              <a:defRPr sz="1995"/>
            </a:lvl2pPr>
            <a:lvl3pPr marL="232780" indent="0">
              <a:buNone/>
              <a:defRPr sz="1995"/>
            </a:lvl3pPr>
            <a:lvl4pPr marL="456057" indent="0">
              <a:buNone/>
              <a:defRPr sz="1995"/>
            </a:lvl4pPr>
            <a:lvl5pPr marL="692004" indent="0">
              <a:buNone/>
              <a:defRPr sz="199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6277928" y="1447804"/>
            <a:ext cx="5394960" cy="2462213"/>
          </a:xfrm>
        </p:spPr>
        <p:txBody>
          <a:bodyPr/>
          <a:lstStyle>
            <a:lvl1pPr marL="0" indent="0">
              <a:spcBef>
                <a:spcPts val="1197"/>
              </a:spcBef>
              <a:buNone/>
              <a:defRPr lang="en-US" sz="3990" kern="1200" spc="-70" baseline="0" dirty="0" smtClean="0">
                <a:gradFill>
                  <a:gsLst>
                    <a:gs pos="100000">
                      <a:schemeClr val="tx2"/>
                    </a:gs>
                    <a:gs pos="0">
                      <a:schemeClr val="tx2"/>
                    </a:gs>
                  </a:gsLst>
                  <a:lin ang="5400000" scaled="0"/>
                </a:gradFill>
                <a:latin typeface="+mj-lt"/>
                <a:ea typeface="+mn-ea"/>
                <a:cs typeface="+mn-cs"/>
              </a:defRPr>
            </a:lvl1pPr>
            <a:lvl2pPr marL="3167" marR="0" indent="0" algn="l" defTabSz="912078" rtl="0" eaLnBrk="1" fontAlgn="auto" latinLnBrk="0" hangingPunct="1">
              <a:lnSpc>
                <a:spcPct val="90000"/>
              </a:lnSpc>
              <a:spcBef>
                <a:spcPct val="20000"/>
              </a:spcBef>
              <a:spcAft>
                <a:spcPts val="0"/>
              </a:spcAft>
              <a:buClrTx/>
              <a:buSzPct val="90000"/>
              <a:buFont typeface="Arial" pitchFamily="34" charset="0"/>
              <a:buNone/>
              <a:tabLst/>
              <a:defRPr lang="en-US" sz="1995" kern="1200" spc="-70" baseline="0" dirty="0" smtClean="0">
                <a:gradFill>
                  <a:gsLst>
                    <a:gs pos="1250">
                      <a:schemeClr val="bg2"/>
                    </a:gs>
                    <a:gs pos="100000">
                      <a:schemeClr val="bg2"/>
                    </a:gs>
                  </a:gsLst>
                  <a:lin ang="5400000" scaled="0"/>
                </a:gradFill>
                <a:latin typeface="+mn-lt"/>
                <a:ea typeface="+mn-ea"/>
                <a:cs typeface="+mn-cs"/>
              </a:defRPr>
            </a:lvl2pPr>
            <a:lvl3pPr marL="232780" marR="0" indent="0" algn="l" defTabSz="912078" rtl="0" eaLnBrk="1" fontAlgn="auto" latinLnBrk="0" hangingPunct="1">
              <a:lnSpc>
                <a:spcPct val="90000"/>
              </a:lnSpc>
              <a:spcBef>
                <a:spcPct val="20000"/>
              </a:spcBef>
              <a:spcAft>
                <a:spcPts val="0"/>
              </a:spcAft>
              <a:buClrTx/>
              <a:buSzPct val="90000"/>
              <a:buFont typeface="Arial" pitchFamily="34" charset="0"/>
              <a:buNone/>
              <a:tabLst/>
              <a:defRPr lang="en-US" sz="1995" kern="1200" spc="-70" baseline="0" dirty="0" smtClean="0">
                <a:gradFill>
                  <a:gsLst>
                    <a:gs pos="1250">
                      <a:schemeClr val="bg2"/>
                    </a:gs>
                    <a:gs pos="100000">
                      <a:schemeClr val="bg2"/>
                    </a:gs>
                  </a:gsLst>
                  <a:lin ang="5400000" scaled="0"/>
                </a:gradFill>
                <a:latin typeface="+mn-lt"/>
                <a:ea typeface="+mn-ea"/>
                <a:cs typeface="+mn-cs"/>
              </a:defRPr>
            </a:lvl3pPr>
            <a:lvl4pPr marL="459224" marR="0" indent="0" algn="l" defTabSz="912078" rtl="0" eaLnBrk="1" fontAlgn="auto" latinLnBrk="0" hangingPunct="1">
              <a:lnSpc>
                <a:spcPct val="90000"/>
              </a:lnSpc>
              <a:spcBef>
                <a:spcPct val="20000"/>
              </a:spcBef>
              <a:spcAft>
                <a:spcPts val="0"/>
              </a:spcAft>
              <a:buClrTx/>
              <a:buSzPct val="90000"/>
              <a:buFont typeface="Arial" pitchFamily="34" charset="0"/>
              <a:buNone/>
              <a:tabLst/>
              <a:defRPr lang="en-US" sz="1995" kern="1200" spc="-70" baseline="0" dirty="0" smtClean="0">
                <a:gradFill>
                  <a:gsLst>
                    <a:gs pos="1250">
                      <a:schemeClr val="bg2"/>
                    </a:gs>
                    <a:gs pos="100000">
                      <a:schemeClr val="bg2"/>
                    </a:gs>
                  </a:gsLst>
                  <a:lin ang="5400000" scaled="0"/>
                </a:gradFill>
                <a:latin typeface="+mn-lt"/>
                <a:ea typeface="+mn-ea"/>
                <a:cs typeface="+mn-cs"/>
              </a:defRPr>
            </a:lvl4pPr>
            <a:lvl5pPr marL="685670" marR="0" indent="0" algn="l" defTabSz="912078" rtl="0" eaLnBrk="1" fontAlgn="auto" latinLnBrk="0" hangingPunct="1">
              <a:lnSpc>
                <a:spcPct val="90000"/>
              </a:lnSpc>
              <a:spcBef>
                <a:spcPct val="20000"/>
              </a:spcBef>
              <a:spcAft>
                <a:spcPts val="0"/>
              </a:spcAft>
              <a:buClrTx/>
              <a:buSzPct val="90000"/>
              <a:buFont typeface="Arial" pitchFamily="34" charset="0"/>
              <a:buNone/>
              <a:tabLst/>
              <a:defRPr lang="en-US" sz="1995" kern="1200" spc="-70" baseline="0" dirty="0">
                <a:gradFill>
                  <a:gsLst>
                    <a:gs pos="1250">
                      <a:schemeClr val="bg2"/>
                    </a:gs>
                    <a:gs pos="100000">
                      <a:schemeClr val="bg2"/>
                    </a:gs>
                  </a:gsLst>
                  <a:lin ang="5400000" scaled="0"/>
                </a:gradFill>
                <a:latin typeface="+mn-lt"/>
                <a:ea typeface="+mn-ea"/>
                <a:cs typeface="+mn-cs"/>
              </a:defRPr>
            </a:lvl5pPr>
          </a:lstStyle>
          <a:p>
            <a:pPr marL="0" marR="0" lvl="0" indent="0" algn="l" defTabSz="912078"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12078"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12078"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12078"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12078"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
        <p:nvSpPr>
          <p:cNvPr id="7" name="Slide Number Placeholder 9"/>
          <p:cNvSpPr>
            <a:spLocks noGrp="1"/>
          </p:cNvSpPr>
          <p:nvPr>
            <p:ph type="sldNum" sz="quarter" idx="13"/>
          </p:nvPr>
        </p:nvSpPr>
        <p:spPr>
          <a:xfrm>
            <a:off x="520701" y="6399557"/>
            <a:ext cx="560686" cy="219456"/>
          </a:xfrm>
          <a:prstGeom prst="rect">
            <a:avLst/>
          </a:prstGeom>
        </p:spPr>
        <p:txBody>
          <a:bodyPr lIns="121899" tIns="60949" rIns="121899" bIns="60949" anchor="ctr"/>
          <a:lstStyle>
            <a:lvl1pPr algn="l">
              <a:defRPr sz="1596">
                <a:gradFill>
                  <a:gsLst>
                    <a:gs pos="100000">
                      <a:schemeClr val="bg2"/>
                    </a:gs>
                    <a:gs pos="0">
                      <a:schemeClr val="bg2"/>
                    </a:gs>
                  </a:gsLst>
                  <a:lin ang="5400000" scaled="0"/>
                </a:gradFill>
              </a:defRPr>
            </a:lvl1pPr>
          </a:lstStyle>
          <a:p>
            <a:pPr defTabSz="912115"/>
            <a:fld id="{727B4C2D-45E2-4621-8491-2995EB46A674}" type="slidenum">
              <a:rPr lang="en-US" smtClean="0">
                <a:gradFill>
                  <a:gsLst>
                    <a:gs pos="100000">
                      <a:srgbClr val="797A7D"/>
                    </a:gs>
                    <a:gs pos="0">
                      <a:srgbClr val="797A7D"/>
                    </a:gs>
                  </a:gsLst>
                  <a:lin ang="5400000" scaled="0"/>
                </a:gradFill>
              </a:rPr>
              <a:pPr defTabSz="912115"/>
              <a:t>‹#›</a:t>
            </a:fld>
            <a:endParaRPr lang="en-US" dirty="0">
              <a:gradFill>
                <a:gsLst>
                  <a:gs pos="100000">
                    <a:srgbClr val="797A7D"/>
                  </a:gs>
                  <a:gs pos="0">
                    <a:srgbClr val="797A7D"/>
                  </a:gs>
                </a:gsLst>
                <a:lin ang="5400000" scaled="0"/>
              </a:gradFill>
            </a:endParaRPr>
          </a:p>
        </p:txBody>
      </p:sp>
      <p:pic>
        <p:nvPicPr>
          <p:cNvPr id="10" name="Picture 9"/>
          <p:cNvPicPr>
            <a:picLocks noChangeAspect="1"/>
          </p:cNvPicPr>
          <p:nvPr userDrawn="1"/>
        </p:nvPicPr>
        <p:blipFill>
          <a:blip r:embed="rId2"/>
          <a:stretch>
            <a:fillRect/>
          </a:stretch>
        </p:blipFill>
        <p:spPr>
          <a:xfrm>
            <a:off x="10699082" y="6301222"/>
            <a:ext cx="1489745" cy="548317"/>
          </a:xfrm>
          <a:prstGeom prst="rect">
            <a:avLst/>
          </a:prstGeom>
        </p:spPr>
      </p:pic>
    </p:spTree>
    <p:extLst>
      <p:ext uri="{BB962C8B-B14F-4D97-AF65-F5344CB8AC3E}">
        <p14:creationId xmlns:p14="http://schemas.microsoft.com/office/powerpoint/2010/main" val="368546695"/>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701" y="1447804"/>
            <a:ext cx="5394960" cy="2462213"/>
          </a:xfrm>
        </p:spPr>
        <p:txBody>
          <a:bodyPr/>
          <a:lstStyle>
            <a:lvl1pPr marL="0" indent="0">
              <a:spcBef>
                <a:spcPts val="1197"/>
              </a:spcBef>
              <a:buNone/>
              <a:defRPr sz="3990">
                <a:gradFill>
                  <a:gsLst>
                    <a:gs pos="1000">
                      <a:schemeClr val="bg2"/>
                    </a:gs>
                    <a:gs pos="98000">
                      <a:schemeClr val="bg2"/>
                    </a:gs>
                  </a:gsLst>
                  <a:lin ang="5400000" scaled="0"/>
                </a:gradFill>
                <a:latin typeface="+mj-lt"/>
              </a:defRPr>
            </a:lvl1pPr>
            <a:lvl2pPr marL="0" indent="0">
              <a:buNone/>
              <a:defRPr sz="1995">
                <a:gradFill>
                  <a:gsLst>
                    <a:gs pos="1000">
                      <a:schemeClr val="bg2"/>
                    </a:gs>
                    <a:gs pos="98000">
                      <a:schemeClr val="bg2"/>
                    </a:gs>
                  </a:gsLst>
                  <a:lin ang="5400000" scaled="0"/>
                </a:gradFill>
              </a:defRPr>
            </a:lvl2pPr>
            <a:lvl3pPr marL="232780" indent="0">
              <a:buNone/>
              <a:defRPr sz="1995">
                <a:gradFill>
                  <a:gsLst>
                    <a:gs pos="1000">
                      <a:schemeClr val="bg2"/>
                    </a:gs>
                    <a:gs pos="98000">
                      <a:schemeClr val="bg2"/>
                    </a:gs>
                  </a:gsLst>
                  <a:lin ang="5400000" scaled="0"/>
                </a:gradFill>
              </a:defRPr>
            </a:lvl3pPr>
            <a:lvl4pPr marL="456057" indent="0">
              <a:buNone/>
              <a:defRPr sz="1995">
                <a:gradFill>
                  <a:gsLst>
                    <a:gs pos="1000">
                      <a:schemeClr val="bg2"/>
                    </a:gs>
                    <a:gs pos="98000">
                      <a:schemeClr val="bg2"/>
                    </a:gs>
                  </a:gsLst>
                  <a:lin ang="5400000" scaled="0"/>
                </a:gradFill>
              </a:defRPr>
            </a:lvl4pPr>
            <a:lvl5pPr marL="692004" indent="0">
              <a:buNone/>
              <a:defRPr sz="1995">
                <a:gradFill>
                  <a:gsLst>
                    <a:gs pos="1000">
                      <a:schemeClr val="bg2"/>
                    </a:gs>
                    <a:gs pos="98000">
                      <a:schemeClr val="bg2"/>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6277928" y="1447804"/>
            <a:ext cx="5394960" cy="2462213"/>
          </a:xfrm>
        </p:spPr>
        <p:txBody>
          <a:bodyPr/>
          <a:lstStyle>
            <a:lvl1pPr marL="0" indent="0">
              <a:spcBef>
                <a:spcPts val="1197"/>
              </a:spcBef>
              <a:buNone/>
              <a:defRPr lang="en-US" sz="3990" kern="1200" spc="-70" baseline="0" dirty="0" smtClean="0">
                <a:gradFill>
                  <a:gsLst>
                    <a:gs pos="1000">
                      <a:schemeClr val="bg2"/>
                    </a:gs>
                    <a:gs pos="98000">
                      <a:schemeClr val="bg2"/>
                    </a:gs>
                  </a:gsLst>
                  <a:lin ang="5400000" scaled="0"/>
                </a:gradFill>
                <a:latin typeface="+mj-lt"/>
                <a:ea typeface="+mn-ea"/>
                <a:cs typeface="+mn-cs"/>
              </a:defRPr>
            </a:lvl1pPr>
            <a:lvl2pPr marL="3167" marR="0" indent="0" algn="l" defTabSz="912078" rtl="0" eaLnBrk="1" fontAlgn="auto" latinLnBrk="0" hangingPunct="1">
              <a:lnSpc>
                <a:spcPct val="90000"/>
              </a:lnSpc>
              <a:spcBef>
                <a:spcPct val="20000"/>
              </a:spcBef>
              <a:spcAft>
                <a:spcPts val="0"/>
              </a:spcAft>
              <a:buClrTx/>
              <a:buSzPct val="90000"/>
              <a:buFont typeface="Arial" pitchFamily="34" charset="0"/>
              <a:buNone/>
              <a:tabLst/>
              <a:defRPr lang="en-US" sz="1995" kern="1200" spc="-70" baseline="0" dirty="0" smtClean="0">
                <a:gradFill>
                  <a:gsLst>
                    <a:gs pos="1000">
                      <a:schemeClr val="bg2"/>
                    </a:gs>
                    <a:gs pos="98000">
                      <a:schemeClr val="bg2"/>
                    </a:gs>
                  </a:gsLst>
                  <a:lin ang="5400000" scaled="0"/>
                </a:gradFill>
                <a:latin typeface="+mn-lt"/>
                <a:ea typeface="+mn-ea"/>
                <a:cs typeface="+mn-cs"/>
              </a:defRPr>
            </a:lvl2pPr>
            <a:lvl3pPr marL="232780" marR="0" indent="0" algn="l" defTabSz="912078" rtl="0" eaLnBrk="1" fontAlgn="auto" latinLnBrk="0" hangingPunct="1">
              <a:lnSpc>
                <a:spcPct val="90000"/>
              </a:lnSpc>
              <a:spcBef>
                <a:spcPct val="20000"/>
              </a:spcBef>
              <a:spcAft>
                <a:spcPts val="0"/>
              </a:spcAft>
              <a:buClrTx/>
              <a:buSzPct val="90000"/>
              <a:buFont typeface="Arial" pitchFamily="34" charset="0"/>
              <a:buNone/>
              <a:tabLst/>
              <a:defRPr lang="en-US" sz="1995" kern="1200" spc="-70" baseline="0" dirty="0" smtClean="0">
                <a:gradFill>
                  <a:gsLst>
                    <a:gs pos="1000">
                      <a:schemeClr val="bg2"/>
                    </a:gs>
                    <a:gs pos="98000">
                      <a:schemeClr val="bg2"/>
                    </a:gs>
                  </a:gsLst>
                  <a:lin ang="5400000" scaled="0"/>
                </a:gradFill>
                <a:latin typeface="+mn-lt"/>
                <a:ea typeface="+mn-ea"/>
                <a:cs typeface="+mn-cs"/>
              </a:defRPr>
            </a:lvl3pPr>
            <a:lvl4pPr marL="459224" marR="0" indent="0" algn="l" defTabSz="912078" rtl="0" eaLnBrk="1" fontAlgn="auto" latinLnBrk="0" hangingPunct="1">
              <a:lnSpc>
                <a:spcPct val="90000"/>
              </a:lnSpc>
              <a:spcBef>
                <a:spcPct val="20000"/>
              </a:spcBef>
              <a:spcAft>
                <a:spcPts val="0"/>
              </a:spcAft>
              <a:buClrTx/>
              <a:buSzPct val="90000"/>
              <a:buFont typeface="Arial" pitchFamily="34" charset="0"/>
              <a:buNone/>
              <a:tabLst/>
              <a:defRPr lang="en-US" sz="1995" kern="1200" spc="-70" baseline="0" dirty="0" smtClean="0">
                <a:gradFill>
                  <a:gsLst>
                    <a:gs pos="1000">
                      <a:schemeClr val="bg2"/>
                    </a:gs>
                    <a:gs pos="98000">
                      <a:schemeClr val="bg2"/>
                    </a:gs>
                  </a:gsLst>
                  <a:lin ang="5400000" scaled="0"/>
                </a:gradFill>
                <a:latin typeface="+mn-lt"/>
                <a:ea typeface="+mn-ea"/>
                <a:cs typeface="+mn-cs"/>
              </a:defRPr>
            </a:lvl4pPr>
            <a:lvl5pPr marL="685670" marR="0" indent="0" algn="l" defTabSz="912078" rtl="0" eaLnBrk="1" fontAlgn="auto" latinLnBrk="0" hangingPunct="1">
              <a:lnSpc>
                <a:spcPct val="90000"/>
              </a:lnSpc>
              <a:spcBef>
                <a:spcPct val="20000"/>
              </a:spcBef>
              <a:spcAft>
                <a:spcPts val="0"/>
              </a:spcAft>
              <a:buClrTx/>
              <a:buSzPct val="90000"/>
              <a:buFont typeface="Arial" pitchFamily="34" charset="0"/>
              <a:buNone/>
              <a:tabLst/>
              <a:defRPr lang="en-US" sz="1995" kern="1200" spc="-70" baseline="0" dirty="0">
                <a:gradFill>
                  <a:gsLst>
                    <a:gs pos="1000">
                      <a:schemeClr val="bg2"/>
                    </a:gs>
                    <a:gs pos="98000">
                      <a:schemeClr val="bg2"/>
                    </a:gs>
                  </a:gsLst>
                  <a:lin ang="5400000" scaled="0"/>
                </a:gradFill>
                <a:latin typeface="+mn-lt"/>
                <a:ea typeface="+mn-ea"/>
                <a:cs typeface="+mn-cs"/>
              </a:defRPr>
            </a:lvl5pPr>
          </a:lstStyle>
          <a:p>
            <a:pPr marL="0" marR="0" lvl="0" indent="0" algn="l" defTabSz="912078"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12078"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12078"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12078"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12078"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
        <p:nvSpPr>
          <p:cNvPr id="7" name="Slide Number Placeholder 9"/>
          <p:cNvSpPr>
            <a:spLocks noGrp="1"/>
          </p:cNvSpPr>
          <p:nvPr>
            <p:ph type="sldNum" sz="quarter" idx="13"/>
          </p:nvPr>
        </p:nvSpPr>
        <p:spPr>
          <a:xfrm>
            <a:off x="520701" y="6399557"/>
            <a:ext cx="560686" cy="219456"/>
          </a:xfrm>
          <a:prstGeom prst="rect">
            <a:avLst/>
          </a:prstGeom>
        </p:spPr>
        <p:txBody>
          <a:bodyPr lIns="121899" tIns="60949" rIns="121899" bIns="60949" anchor="ctr"/>
          <a:lstStyle>
            <a:lvl1pPr algn="l">
              <a:defRPr sz="1596">
                <a:gradFill>
                  <a:gsLst>
                    <a:gs pos="100000">
                      <a:schemeClr val="bg2"/>
                    </a:gs>
                    <a:gs pos="0">
                      <a:schemeClr val="bg2"/>
                    </a:gs>
                  </a:gsLst>
                  <a:lin ang="5400000" scaled="0"/>
                </a:gradFill>
              </a:defRPr>
            </a:lvl1pPr>
          </a:lstStyle>
          <a:p>
            <a:pPr defTabSz="912115"/>
            <a:fld id="{727B4C2D-45E2-4621-8491-2995EB46A674}" type="slidenum">
              <a:rPr lang="en-US" smtClean="0">
                <a:gradFill>
                  <a:gsLst>
                    <a:gs pos="100000">
                      <a:srgbClr val="797A7D"/>
                    </a:gs>
                    <a:gs pos="0">
                      <a:srgbClr val="797A7D"/>
                    </a:gs>
                  </a:gsLst>
                  <a:lin ang="5400000" scaled="0"/>
                </a:gradFill>
              </a:rPr>
              <a:pPr defTabSz="912115"/>
              <a:t>‹#›</a:t>
            </a:fld>
            <a:endParaRPr lang="en-US" dirty="0">
              <a:gradFill>
                <a:gsLst>
                  <a:gs pos="100000">
                    <a:srgbClr val="797A7D"/>
                  </a:gs>
                  <a:gs pos="0">
                    <a:srgbClr val="797A7D"/>
                  </a:gs>
                </a:gsLst>
                <a:lin ang="5400000" scaled="0"/>
              </a:gradFill>
            </a:endParaRPr>
          </a:p>
        </p:txBody>
      </p:sp>
      <p:pic>
        <p:nvPicPr>
          <p:cNvPr id="10" name="Picture 9"/>
          <p:cNvPicPr>
            <a:picLocks noChangeAspect="1"/>
          </p:cNvPicPr>
          <p:nvPr userDrawn="1"/>
        </p:nvPicPr>
        <p:blipFill>
          <a:blip r:embed="rId2"/>
          <a:stretch>
            <a:fillRect/>
          </a:stretch>
        </p:blipFill>
        <p:spPr>
          <a:xfrm>
            <a:off x="10699082" y="6301222"/>
            <a:ext cx="1489745" cy="548317"/>
          </a:xfrm>
          <a:prstGeom prst="rect">
            <a:avLst/>
          </a:prstGeom>
        </p:spPr>
      </p:pic>
    </p:spTree>
    <p:extLst>
      <p:ext uri="{BB962C8B-B14F-4D97-AF65-F5344CB8AC3E}">
        <p14:creationId xmlns:p14="http://schemas.microsoft.com/office/powerpoint/2010/main" val="2285784010"/>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701" y="1447804"/>
            <a:ext cx="5394960" cy="2351413"/>
          </a:xfrm>
        </p:spPr>
        <p:txBody>
          <a:bodyPr>
            <a:spAutoFit/>
          </a:bodyPr>
          <a:lstStyle>
            <a:lvl1pPr marL="291370" indent="-291370">
              <a:spcBef>
                <a:spcPts val="1197"/>
              </a:spcBef>
              <a:buClr>
                <a:schemeClr val="bg2"/>
              </a:buClr>
              <a:buSzPct val="100000"/>
              <a:buFont typeface="Wingdings" pitchFamily="2" charset="2"/>
              <a:buChar char=""/>
              <a:defRPr lang="en-US" sz="3591" kern="1200" spc="-70" baseline="0" dirty="0" smtClean="0">
                <a:gradFill>
                  <a:gsLst>
                    <a:gs pos="1250">
                      <a:schemeClr val="bg2"/>
                    </a:gs>
                    <a:gs pos="100000">
                      <a:schemeClr val="bg2"/>
                    </a:gs>
                  </a:gsLst>
                  <a:lin ang="5400000" scaled="0"/>
                </a:gradFill>
                <a:latin typeface="+mj-lt"/>
                <a:ea typeface="+mn-ea"/>
                <a:cs typeface="+mn-cs"/>
              </a:defRPr>
            </a:lvl1pPr>
            <a:lvl2pPr marL="519399" indent="-228028">
              <a:defRPr sz="1995"/>
            </a:lvl2pPr>
            <a:lvl3pPr marL="684086" indent="-164687">
              <a:tabLst/>
              <a:defRPr sz="1995"/>
            </a:lvl3pPr>
            <a:lvl4pPr marL="861442" indent="-177356">
              <a:defRPr/>
            </a:lvl4pPr>
            <a:lvl5pPr marL="1026129" indent="-1646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7928" y="1447804"/>
            <a:ext cx="5394960" cy="2720745"/>
          </a:xfrm>
        </p:spPr>
        <p:txBody>
          <a:bodyPr>
            <a:spAutoFit/>
          </a:bodyPr>
          <a:lstStyle>
            <a:lvl1pPr marL="338876" indent="-338876">
              <a:spcBef>
                <a:spcPts val="1197"/>
              </a:spcBef>
              <a:buClr>
                <a:schemeClr val="bg2"/>
              </a:buClr>
              <a:buFont typeface="Arial" pitchFamily="34" charset="0"/>
              <a:buChar char="•"/>
              <a:defRPr lang="en-US" sz="3591" kern="1200" spc="-70" baseline="0" dirty="0" smtClean="0">
                <a:gradFill>
                  <a:gsLst>
                    <a:gs pos="1250">
                      <a:schemeClr val="bg2"/>
                    </a:gs>
                    <a:gs pos="100000">
                      <a:schemeClr val="bg2"/>
                    </a:gs>
                  </a:gsLst>
                  <a:lin ang="5400000" scaled="0"/>
                </a:gradFill>
                <a:latin typeface="+mj-lt"/>
                <a:ea typeface="+mn-ea"/>
                <a:cs typeface="+mn-cs"/>
              </a:defRPr>
            </a:lvl1pPr>
            <a:lvl2pPr marL="633413" indent="-342043">
              <a:defRPr lang="en-US" sz="1995" kern="1200" spc="0" baseline="0" dirty="0" smtClean="0">
                <a:gradFill>
                  <a:gsLst>
                    <a:gs pos="1250">
                      <a:schemeClr val="bg2"/>
                    </a:gs>
                    <a:gs pos="100000">
                      <a:schemeClr val="bg2"/>
                    </a:gs>
                  </a:gsLst>
                  <a:lin ang="5400000" scaled="0"/>
                </a:gradFill>
                <a:latin typeface="+mn-lt"/>
                <a:ea typeface="+mn-ea"/>
                <a:cs typeface="+mn-cs"/>
              </a:defRPr>
            </a:lvl2pPr>
            <a:lvl3pPr marL="861442" indent="-342043">
              <a:defRPr lang="en-US" sz="1995" kern="1200" spc="0" baseline="0" dirty="0" smtClean="0">
                <a:gradFill>
                  <a:gsLst>
                    <a:gs pos="1250">
                      <a:schemeClr val="bg2"/>
                    </a:gs>
                    <a:gs pos="100000">
                      <a:schemeClr val="bg2"/>
                    </a:gs>
                  </a:gsLst>
                  <a:lin ang="5400000" scaled="0"/>
                </a:gradFill>
                <a:latin typeface="+mn-lt"/>
                <a:ea typeface="+mn-ea"/>
                <a:cs typeface="+mn-cs"/>
              </a:defRPr>
            </a:lvl3pPr>
            <a:lvl4pPr marL="1026129" indent="-342043">
              <a:defRPr lang="en-US" sz="1995" kern="1200" spc="0" baseline="0" dirty="0" smtClean="0">
                <a:gradFill>
                  <a:gsLst>
                    <a:gs pos="1250">
                      <a:schemeClr val="bg2"/>
                    </a:gs>
                    <a:gs pos="100000">
                      <a:schemeClr val="bg2"/>
                    </a:gs>
                  </a:gsLst>
                  <a:lin ang="5400000" scaled="0"/>
                </a:gradFill>
                <a:latin typeface="+mn-lt"/>
                <a:ea typeface="+mn-ea"/>
                <a:cs typeface="+mn-cs"/>
              </a:defRPr>
            </a:lvl4pPr>
            <a:lvl5pPr marL="1203484" indent="-342043">
              <a:defRPr lang="en-US" sz="1995" kern="1200" spc="0" baseline="0" dirty="0">
                <a:gradFill>
                  <a:gsLst>
                    <a:gs pos="1250">
                      <a:schemeClr val="bg2"/>
                    </a:gs>
                    <a:gs pos="100000">
                      <a:schemeClr val="bg2"/>
                    </a:gs>
                  </a:gsLst>
                  <a:lin ang="5400000" scaled="0"/>
                </a:gradFill>
                <a:latin typeface="+mn-lt"/>
                <a:ea typeface="+mn-ea"/>
                <a:cs typeface="+mn-cs"/>
              </a:defRPr>
            </a:lvl5pPr>
          </a:lstStyle>
          <a:p>
            <a:pPr marL="291370" marR="0" lvl="0" indent="-291370" algn="l" defTabSz="912078" rtl="0" eaLnBrk="1" fontAlgn="auto" latinLnBrk="0" hangingPunct="1">
              <a:lnSpc>
                <a:spcPct val="90000"/>
              </a:lnSpc>
              <a:spcBef>
                <a:spcPts val="1197"/>
              </a:spcBef>
              <a:spcAft>
                <a:spcPts val="0"/>
              </a:spcAft>
              <a:buClr>
                <a:schemeClr val="bg2"/>
              </a:buClr>
              <a:buSzPct val="100000"/>
              <a:buFont typeface="Wingdings" pitchFamily="2" charset="2"/>
              <a:buChar char=""/>
              <a:tabLst/>
            </a:pPr>
            <a:r>
              <a:rPr lang="en-US" smtClean="0"/>
              <a:t>Click to edit Master text styles</a:t>
            </a:r>
          </a:p>
          <a:p>
            <a:pPr marL="291370" marR="0" lvl="1" indent="-291370" algn="l" defTabSz="912078" rtl="0" eaLnBrk="1" fontAlgn="auto" latinLnBrk="0" hangingPunct="1">
              <a:lnSpc>
                <a:spcPct val="90000"/>
              </a:lnSpc>
              <a:spcBef>
                <a:spcPts val="1197"/>
              </a:spcBef>
              <a:spcAft>
                <a:spcPts val="0"/>
              </a:spcAft>
              <a:buClr>
                <a:schemeClr val="bg2"/>
              </a:buClr>
              <a:buSzPct val="100000"/>
              <a:buFont typeface="Wingdings" pitchFamily="2" charset="2"/>
              <a:buChar char=""/>
              <a:tabLst/>
            </a:pPr>
            <a:r>
              <a:rPr lang="en-US" smtClean="0"/>
              <a:t>Second level</a:t>
            </a:r>
          </a:p>
          <a:p>
            <a:pPr marL="291370" marR="0" lvl="2" indent="-291370" algn="l" defTabSz="912078" rtl="0" eaLnBrk="1" fontAlgn="auto" latinLnBrk="0" hangingPunct="1">
              <a:lnSpc>
                <a:spcPct val="90000"/>
              </a:lnSpc>
              <a:spcBef>
                <a:spcPts val="1197"/>
              </a:spcBef>
              <a:spcAft>
                <a:spcPts val="0"/>
              </a:spcAft>
              <a:buClr>
                <a:schemeClr val="bg2"/>
              </a:buClr>
              <a:buSzPct val="100000"/>
              <a:buFont typeface="Wingdings" pitchFamily="2" charset="2"/>
              <a:buChar char=""/>
              <a:tabLst/>
            </a:pPr>
            <a:r>
              <a:rPr lang="en-US" smtClean="0"/>
              <a:t>Third level</a:t>
            </a:r>
          </a:p>
          <a:p>
            <a:pPr marL="291370" marR="0" lvl="3" indent="-291370" algn="l" defTabSz="912078" rtl="0" eaLnBrk="1" fontAlgn="auto" latinLnBrk="0" hangingPunct="1">
              <a:lnSpc>
                <a:spcPct val="90000"/>
              </a:lnSpc>
              <a:spcBef>
                <a:spcPts val="1197"/>
              </a:spcBef>
              <a:spcAft>
                <a:spcPts val="0"/>
              </a:spcAft>
              <a:buClr>
                <a:schemeClr val="bg2"/>
              </a:buClr>
              <a:buSzPct val="100000"/>
              <a:buFont typeface="Wingdings" pitchFamily="2" charset="2"/>
              <a:buChar char=""/>
              <a:tabLst/>
            </a:pPr>
            <a:r>
              <a:rPr lang="en-US" smtClean="0"/>
              <a:t>Fourth level</a:t>
            </a:r>
          </a:p>
          <a:p>
            <a:pPr marL="291370" marR="0" lvl="4" indent="-291370" algn="l" defTabSz="912078" rtl="0" eaLnBrk="1" fontAlgn="auto" latinLnBrk="0" hangingPunct="1">
              <a:lnSpc>
                <a:spcPct val="90000"/>
              </a:lnSpc>
              <a:spcBef>
                <a:spcPts val="1197"/>
              </a:spcBef>
              <a:spcAft>
                <a:spcPts val="0"/>
              </a:spcAft>
              <a:buClr>
                <a:schemeClr val="bg2"/>
              </a:buClr>
              <a:buSzPct val="100000"/>
              <a:buFont typeface="Wingdings" pitchFamily="2" charset="2"/>
              <a:buChar char=""/>
              <a:tabLst/>
            </a:pPr>
            <a:r>
              <a:rPr lang="en-US" smtClean="0"/>
              <a:t>Fifth level</a:t>
            </a:r>
            <a:endParaRPr lang="en-US" dirty="0"/>
          </a:p>
        </p:txBody>
      </p:sp>
      <p:sp>
        <p:nvSpPr>
          <p:cNvPr id="6" name="Slide Number Placeholder 9"/>
          <p:cNvSpPr>
            <a:spLocks noGrp="1"/>
          </p:cNvSpPr>
          <p:nvPr>
            <p:ph type="sldNum" sz="quarter" idx="12"/>
          </p:nvPr>
        </p:nvSpPr>
        <p:spPr>
          <a:xfrm>
            <a:off x="520701" y="6399557"/>
            <a:ext cx="560686" cy="219456"/>
          </a:xfrm>
          <a:prstGeom prst="rect">
            <a:avLst/>
          </a:prstGeom>
        </p:spPr>
        <p:txBody>
          <a:bodyPr lIns="121899" tIns="60949" rIns="121899" bIns="60949" anchor="ctr"/>
          <a:lstStyle>
            <a:lvl1pPr algn="l">
              <a:defRPr sz="1596">
                <a:gradFill>
                  <a:gsLst>
                    <a:gs pos="100000">
                      <a:schemeClr val="bg2"/>
                    </a:gs>
                    <a:gs pos="0">
                      <a:schemeClr val="bg2"/>
                    </a:gs>
                  </a:gsLst>
                  <a:lin ang="5400000" scaled="0"/>
                </a:gradFill>
              </a:defRPr>
            </a:lvl1pPr>
          </a:lstStyle>
          <a:p>
            <a:pPr defTabSz="912115"/>
            <a:fld id="{727B4C2D-45E2-4621-8491-2995EB46A674}" type="slidenum">
              <a:rPr lang="en-US" smtClean="0">
                <a:gradFill>
                  <a:gsLst>
                    <a:gs pos="100000">
                      <a:srgbClr val="797A7D"/>
                    </a:gs>
                    <a:gs pos="0">
                      <a:srgbClr val="797A7D"/>
                    </a:gs>
                  </a:gsLst>
                  <a:lin ang="5400000" scaled="0"/>
                </a:gradFill>
              </a:rPr>
              <a:pPr defTabSz="912115"/>
              <a:t>‹#›</a:t>
            </a:fld>
            <a:endParaRPr lang="en-US" dirty="0">
              <a:gradFill>
                <a:gsLst>
                  <a:gs pos="100000">
                    <a:srgbClr val="797A7D"/>
                  </a:gs>
                  <a:gs pos="0">
                    <a:srgbClr val="797A7D"/>
                  </a:gs>
                </a:gsLst>
                <a:lin ang="5400000" scaled="0"/>
              </a:gradFill>
            </a:endParaRPr>
          </a:p>
        </p:txBody>
      </p:sp>
      <p:pic>
        <p:nvPicPr>
          <p:cNvPr id="9" name="Picture 8"/>
          <p:cNvPicPr>
            <a:picLocks noChangeAspect="1"/>
          </p:cNvPicPr>
          <p:nvPr userDrawn="1"/>
        </p:nvPicPr>
        <p:blipFill>
          <a:blip r:embed="rId2"/>
          <a:stretch>
            <a:fillRect/>
          </a:stretch>
        </p:blipFill>
        <p:spPr>
          <a:xfrm>
            <a:off x="10699082" y="6301222"/>
            <a:ext cx="1489745" cy="548317"/>
          </a:xfrm>
          <a:prstGeom prst="rect">
            <a:avLst/>
          </a:prstGeom>
        </p:spPr>
      </p:pic>
    </p:spTree>
    <p:extLst>
      <p:ext uri="{BB962C8B-B14F-4D97-AF65-F5344CB8AC3E}">
        <p14:creationId xmlns:p14="http://schemas.microsoft.com/office/powerpoint/2010/main" val="3979928416"/>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701" y="1447804"/>
            <a:ext cx="5433533" cy="1661993"/>
          </a:xfrm>
          <a:prstGeom prst="rect">
            <a:avLst/>
          </a:prstGeom>
        </p:spPr>
        <p:txBody>
          <a:bodyPr>
            <a:noAutofit/>
          </a:bodyPr>
          <a:lstStyle>
            <a:lvl1pPr marL="0" indent="0">
              <a:buNone/>
              <a:defRPr sz="3990" b="0" cap="none" baseline="0">
                <a:gradFill>
                  <a:gsLst>
                    <a:gs pos="100000">
                      <a:schemeClr val="tx2"/>
                    </a:gs>
                    <a:gs pos="0">
                      <a:schemeClr val="tx2"/>
                    </a:gs>
                  </a:gsLst>
                  <a:lin ang="5400000" scaled="0"/>
                </a:gradFill>
                <a:latin typeface="+mj-lt"/>
              </a:defRPr>
            </a:lvl1pPr>
            <a:lvl2pPr marL="607970" indent="0">
              <a:buNone/>
              <a:defRPr sz="2693" b="1"/>
            </a:lvl2pPr>
            <a:lvl3pPr marL="1215940" indent="0">
              <a:buNone/>
              <a:defRPr sz="2394" b="1"/>
            </a:lvl3pPr>
            <a:lvl4pPr marL="1823910" indent="0">
              <a:buNone/>
              <a:defRPr sz="2094" b="1"/>
            </a:lvl4pPr>
            <a:lvl5pPr marL="2431880" indent="0">
              <a:buNone/>
              <a:defRPr sz="2094" b="1"/>
            </a:lvl5pPr>
            <a:lvl6pPr marL="3039851" indent="0">
              <a:buNone/>
              <a:defRPr sz="2094" b="1"/>
            </a:lvl6pPr>
            <a:lvl7pPr marL="3647820" indent="0">
              <a:buNone/>
              <a:defRPr sz="2094" b="1"/>
            </a:lvl7pPr>
            <a:lvl8pPr marL="4255790" indent="0">
              <a:buNone/>
              <a:defRPr sz="2094" b="1"/>
            </a:lvl8pPr>
            <a:lvl9pPr marL="4863760" indent="0">
              <a:buNone/>
              <a:defRPr sz="2094" b="1"/>
            </a:lvl9pPr>
          </a:lstStyle>
          <a:p>
            <a:pPr lvl="0"/>
            <a:r>
              <a:rPr lang="en-US" dirty="0" smtClean="0"/>
              <a:t>Click to edit Master text styles.</a:t>
            </a:r>
          </a:p>
        </p:txBody>
      </p:sp>
      <p:sp>
        <p:nvSpPr>
          <p:cNvPr id="6" name="Content Placeholder 5"/>
          <p:cNvSpPr>
            <a:spLocks noGrp="1"/>
          </p:cNvSpPr>
          <p:nvPr>
            <p:ph sz="quarter" idx="4"/>
          </p:nvPr>
        </p:nvSpPr>
        <p:spPr>
          <a:xfrm>
            <a:off x="6188150" y="1681907"/>
            <a:ext cx="5484740" cy="332399"/>
          </a:xfrm>
          <a:prstGeom prst="rect">
            <a:avLst/>
          </a:prstGeom>
        </p:spPr>
        <p:txBody>
          <a:bodyPr>
            <a:noAutofit/>
          </a:bodyPr>
          <a:lstStyle>
            <a:lvl1pPr marL="0" indent="0">
              <a:spcBef>
                <a:spcPts val="1197"/>
              </a:spcBef>
              <a:buNone/>
              <a:defRPr lang="en-US" sz="1995" kern="1200" spc="0" dirty="0" smtClean="0">
                <a:gradFill>
                  <a:gsLst>
                    <a:gs pos="100000">
                      <a:schemeClr val="bg2"/>
                    </a:gs>
                    <a:gs pos="0">
                      <a:schemeClr val="bg2"/>
                    </a:gs>
                  </a:gsLst>
                  <a:lin ang="5400000" scaled="0"/>
                </a:gradFill>
                <a:latin typeface="+mn-lt"/>
                <a:ea typeface="+mn-ea"/>
                <a:cs typeface="Segoe UI" pitchFamily="34" charset="0"/>
              </a:defRPr>
            </a:lvl1pPr>
            <a:lvl2pPr marL="911955" indent="-379981">
              <a:defRPr lang="en-US" sz="2094" kern="1200" dirty="0" smtClean="0">
                <a:solidFill>
                  <a:schemeClr val="bg2">
                    <a:lumMod val="50000"/>
                  </a:schemeClr>
                </a:solidFill>
                <a:latin typeface="+mn-lt"/>
                <a:ea typeface="+mn-ea"/>
                <a:cs typeface="Arial" pitchFamily="34" charset="0"/>
              </a:defRPr>
            </a:lvl2pPr>
            <a:lvl3pPr marL="911955" indent="-227988">
              <a:defRPr lang="en-US" sz="1895" kern="1200" dirty="0" smtClean="0">
                <a:solidFill>
                  <a:schemeClr val="bg2">
                    <a:lumMod val="50000"/>
                  </a:schemeClr>
                </a:solidFill>
                <a:latin typeface="+mn-lt"/>
                <a:ea typeface="+mn-ea"/>
                <a:cs typeface="Arial" pitchFamily="34" charset="0"/>
              </a:defRPr>
            </a:lvl3pPr>
            <a:lvl4pPr marL="1215940" indent="-227988">
              <a:defRPr lang="en-US" sz="1596" kern="1200" dirty="0" smtClean="0">
                <a:solidFill>
                  <a:schemeClr val="bg2">
                    <a:lumMod val="50000"/>
                  </a:schemeClr>
                </a:solidFill>
                <a:latin typeface="+mn-lt"/>
                <a:ea typeface="+mn-ea"/>
                <a:cs typeface="Arial" pitchFamily="34" charset="0"/>
              </a:defRPr>
            </a:lvl4pPr>
            <a:lvl5pPr marL="1443929" indent="-227988">
              <a:defRPr lang="en-US" sz="1596" kern="1200" dirty="0">
                <a:solidFill>
                  <a:schemeClr val="bg2">
                    <a:lumMod val="50000"/>
                  </a:schemeClr>
                </a:solidFill>
                <a:latin typeface="+mn-lt"/>
                <a:ea typeface="+mn-ea"/>
                <a:cs typeface="Arial" pitchFamily="34" charset="0"/>
              </a:defRPr>
            </a:lvl5pPr>
            <a:lvl6pPr>
              <a:defRPr sz="2094"/>
            </a:lvl6pPr>
            <a:lvl7pPr>
              <a:defRPr sz="2094"/>
            </a:lvl7pPr>
            <a:lvl8pPr>
              <a:defRPr sz="2094"/>
            </a:lvl8pPr>
            <a:lvl9pPr>
              <a:defRPr sz="2094"/>
            </a:lvl9pPr>
          </a:lstStyle>
          <a:p>
            <a:pPr lvl="0"/>
            <a:r>
              <a:rPr lang="en-US" smtClean="0"/>
              <a:t>Click to edit Master text styles</a:t>
            </a:r>
          </a:p>
        </p:txBody>
      </p:sp>
      <p:sp>
        <p:nvSpPr>
          <p:cNvPr id="12" name="Title 11"/>
          <p:cNvSpPr>
            <a:spLocks noGrp="1"/>
          </p:cNvSpPr>
          <p:nvPr>
            <p:ph type="title"/>
          </p:nvPr>
        </p:nvSpPr>
        <p:spPr/>
        <p:txBody>
          <a:bodyPr>
            <a:noAutofit/>
          </a:bodyPr>
          <a:lstStyle>
            <a:lvl1pPr>
              <a:defRPr/>
            </a:lvl1pPr>
          </a:lstStyle>
          <a:p>
            <a:r>
              <a:rPr lang="en-US" smtClean="0"/>
              <a:t>Click to edit Master title style</a:t>
            </a:r>
            <a:endParaRPr lang="en-US" dirty="0"/>
          </a:p>
        </p:txBody>
      </p:sp>
      <p:sp>
        <p:nvSpPr>
          <p:cNvPr id="10" name="Slide Number Placeholder 9"/>
          <p:cNvSpPr>
            <a:spLocks noGrp="1"/>
          </p:cNvSpPr>
          <p:nvPr>
            <p:ph type="sldNum" sz="quarter" idx="12"/>
          </p:nvPr>
        </p:nvSpPr>
        <p:spPr>
          <a:xfrm>
            <a:off x="520701" y="6399557"/>
            <a:ext cx="560686" cy="219456"/>
          </a:xfrm>
          <a:prstGeom prst="rect">
            <a:avLst/>
          </a:prstGeom>
        </p:spPr>
        <p:txBody>
          <a:bodyPr lIns="121899" tIns="60949" rIns="121899" bIns="60949" anchor="ctr"/>
          <a:lstStyle>
            <a:lvl1pPr algn="l">
              <a:defRPr sz="1596">
                <a:gradFill>
                  <a:gsLst>
                    <a:gs pos="100000">
                      <a:schemeClr val="bg2"/>
                    </a:gs>
                    <a:gs pos="0">
                      <a:schemeClr val="bg2"/>
                    </a:gs>
                  </a:gsLst>
                  <a:lin ang="5400000" scaled="0"/>
                </a:gradFill>
              </a:defRPr>
            </a:lvl1pPr>
          </a:lstStyle>
          <a:p>
            <a:pPr defTabSz="912115"/>
            <a:fld id="{727B4C2D-45E2-4621-8491-2995EB46A674}" type="slidenum">
              <a:rPr lang="en-US" smtClean="0">
                <a:gradFill>
                  <a:gsLst>
                    <a:gs pos="100000">
                      <a:srgbClr val="797A7D"/>
                    </a:gs>
                    <a:gs pos="0">
                      <a:srgbClr val="797A7D"/>
                    </a:gs>
                  </a:gsLst>
                  <a:lin ang="5400000" scaled="0"/>
                </a:gradFill>
              </a:rPr>
              <a:pPr defTabSz="912115"/>
              <a:t>‹#›</a:t>
            </a:fld>
            <a:endParaRPr lang="en-US" dirty="0">
              <a:gradFill>
                <a:gsLst>
                  <a:gs pos="100000">
                    <a:srgbClr val="797A7D"/>
                  </a:gs>
                  <a:gs pos="0">
                    <a:srgbClr val="797A7D"/>
                  </a:gs>
                </a:gsLst>
                <a:lin ang="5400000" scaled="0"/>
              </a:gradFill>
            </a:endParaRPr>
          </a:p>
        </p:txBody>
      </p:sp>
      <p:pic>
        <p:nvPicPr>
          <p:cNvPr id="8" name="Picture 7"/>
          <p:cNvPicPr>
            <a:picLocks noChangeAspect="1"/>
          </p:cNvPicPr>
          <p:nvPr userDrawn="1"/>
        </p:nvPicPr>
        <p:blipFill>
          <a:blip r:embed="rId2"/>
          <a:stretch>
            <a:fillRect/>
          </a:stretch>
        </p:blipFill>
        <p:spPr>
          <a:xfrm>
            <a:off x="10699082" y="6301222"/>
            <a:ext cx="1489745" cy="548317"/>
          </a:xfrm>
          <a:prstGeom prst="rect">
            <a:avLst/>
          </a:prstGeom>
        </p:spPr>
      </p:pic>
    </p:spTree>
    <p:extLst>
      <p:ext uri="{BB962C8B-B14F-4D97-AF65-F5344CB8AC3E}">
        <p14:creationId xmlns:p14="http://schemas.microsoft.com/office/powerpoint/2010/main" val="1356924121"/>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w/Photo on Righ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701" y="1447801"/>
            <a:ext cx="5433533" cy="1178442"/>
          </a:xfrm>
          <a:prstGeom prst="rect">
            <a:avLst/>
          </a:prstGeom>
        </p:spPr>
        <p:txBody>
          <a:bodyPr>
            <a:noAutofit/>
          </a:bodyPr>
          <a:lstStyle>
            <a:lvl1pPr marL="0" indent="0">
              <a:buNone/>
              <a:defRPr sz="3990" b="0" cap="none" baseline="0">
                <a:gradFill>
                  <a:gsLst>
                    <a:gs pos="100000">
                      <a:schemeClr val="tx2"/>
                    </a:gs>
                    <a:gs pos="0">
                      <a:schemeClr val="tx2"/>
                    </a:gs>
                  </a:gsLst>
                  <a:lin ang="5400000" scaled="0"/>
                </a:gradFill>
                <a:latin typeface="+mj-lt"/>
              </a:defRPr>
            </a:lvl1pPr>
            <a:lvl2pPr marL="607970" indent="0">
              <a:buNone/>
              <a:defRPr sz="2693" b="1"/>
            </a:lvl2pPr>
            <a:lvl3pPr marL="1215940" indent="0">
              <a:buNone/>
              <a:defRPr sz="2394" b="1"/>
            </a:lvl3pPr>
            <a:lvl4pPr marL="1823910" indent="0">
              <a:buNone/>
              <a:defRPr sz="2094" b="1"/>
            </a:lvl4pPr>
            <a:lvl5pPr marL="2431880" indent="0">
              <a:buNone/>
              <a:defRPr sz="2094" b="1"/>
            </a:lvl5pPr>
            <a:lvl6pPr marL="3039851" indent="0">
              <a:buNone/>
              <a:defRPr sz="2094" b="1"/>
            </a:lvl6pPr>
            <a:lvl7pPr marL="3647820" indent="0">
              <a:buNone/>
              <a:defRPr sz="2094" b="1"/>
            </a:lvl7pPr>
            <a:lvl8pPr marL="4255790" indent="0">
              <a:buNone/>
              <a:defRPr sz="2094" b="1"/>
            </a:lvl8pPr>
            <a:lvl9pPr marL="4863760" indent="0">
              <a:buNone/>
              <a:defRPr sz="2094" b="1"/>
            </a:lvl9pPr>
          </a:lstStyle>
          <a:p>
            <a:pPr lvl="0"/>
            <a:r>
              <a:rPr lang="en-US" dirty="0" smtClean="0"/>
              <a:t>Click to edit Master text styles.</a:t>
            </a:r>
          </a:p>
        </p:txBody>
      </p:sp>
      <p:sp>
        <p:nvSpPr>
          <p:cNvPr id="10" name="Slide Number Placeholder 9"/>
          <p:cNvSpPr>
            <a:spLocks noGrp="1"/>
          </p:cNvSpPr>
          <p:nvPr>
            <p:ph type="sldNum" sz="quarter" idx="12"/>
          </p:nvPr>
        </p:nvSpPr>
        <p:spPr>
          <a:xfrm>
            <a:off x="520701" y="6399557"/>
            <a:ext cx="560686" cy="219456"/>
          </a:xfrm>
          <a:prstGeom prst="rect">
            <a:avLst/>
          </a:prstGeom>
        </p:spPr>
        <p:txBody>
          <a:bodyPr lIns="121899" tIns="60949" rIns="121899" bIns="60949" anchor="ctr"/>
          <a:lstStyle>
            <a:lvl1pPr algn="l">
              <a:defRPr sz="1596">
                <a:gradFill>
                  <a:gsLst>
                    <a:gs pos="100000">
                      <a:schemeClr val="bg2"/>
                    </a:gs>
                    <a:gs pos="0">
                      <a:schemeClr val="bg2"/>
                    </a:gs>
                  </a:gsLst>
                  <a:lin ang="5400000" scaled="0"/>
                </a:gradFill>
              </a:defRPr>
            </a:lvl1pPr>
          </a:lstStyle>
          <a:p>
            <a:pPr defTabSz="912115"/>
            <a:fld id="{727B4C2D-45E2-4621-8491-2995EB46A674}" type="slidenum">
              <a:rPr lang="en-US" smtClean="0">
                <a:gradFill>
                  <a:gsLst>
                    <a:gs pos="100000">
                      <a:srgbClr val="797A7D"/>
                    </a:gs>
                    <a:gs pos="0">
                      <a:srgbClr val="797A7D"/>
                    </a:gs>
                  </a:gsLst>
                  <a:lin ang="5400000" scaled="0"/>
                </a:gradFill>
              </a:rPr>
              <a:pPr defTabSz="912115"/>
              <a:t>‹#›</a:t>
            </a:fld>
            <a:endParaRPr lang="en-US" dirty="0">
              <a:gradFill>
                <a:gsLst>
                  <a:gs pos="100000">
                    <a:srgbClr val="797A7D"/>
                  </a:gs>
                  <a:gs pos="0">
                    <a:srgbClr val="797A7D"/>
                  </a:gs>
                </a:gsLst>
                <a:lin ang="5400000" scaled="0"/>
              </a:gradFill>
            </a:endParaRPr>
          </a:p>
        </p:txBody>
      </p:sp>
      <p:sp>
        <p:nvSpPr>
          <p:cNvPr id="9" name="Content Placeholder 5"/>
          <p:cNvSpPr>
            <a:spLocks noGrp="1"/>
          </p:cNvSpPr>
          <p:nvPr>
            <p:ph sz="quarter" idx="13"/>
          </p:nvPr>
        </p:nvSpPr>
        <p:spPr>
          <a:xfrm>
            <a:off x="520701" y="2734985"/>
            <a:ext cx="5444165" cy="609398"/>
          </a:xfrm>
          <a:prstGeom prst="rect">
            <a:avLst/>
          </a:prstGeom>
        </p:spPr>
        <p:txBody>
          <a:bodyPr>
            <a:noAutofit/>
          </a:bodyPr>
          <a:lstStyle>
            <a:lvl1pPr marL="0" indent="0">
              <a:spcBef>
                <a:spcPts val="1197"/>
              </a:spcBef>
              <a:buFont typeface="Arial" pitchFamily="34" charset="0"/>
              <a:buNone/>
              <a:defRPr lang="en-US" sz="1995" kern="1200" spc="0" dirty="0" smtClean="0">
                <a:gradFill>
                  <a:gsLst>
                    <a:gs pos="100000">
                      <a:schemeClr val="bg2"/>
                    </a:gs>
                    <a:gs pos="0">
                      <a:schemeClr val="bg2"/>
                    </a:gs>
                  </a:gsLst>
                  <a:lin ang="5400000" scaled="0"/>
                </a:gradFill>
                <a:latin typeface="+mn-lt"/>
                <a:ea typeface="+mn-ea"/>
                <a:cs typeface="Segoe UI" pitchFamily="34" charset="0"/>
              </a:defRPr>
            </a:lvl1pPr>
            <a:lvl2pPr marL="911955" indent="-379981">
              <a:defRPr lang="en-US" sz="2094" kern="1200" dirty="0" smtClean="0">
                <a:solidFill>
                  <a:schemeClr val="bg2">
                    <a:lumMod val="50000"/>
                  </a:schemeClr>
                </a:solidFill>
                <a:latin typeface="+mn-lt"/>
                <a:ea typeface="+mn-ea"/>
                <a:cs typeface="Arial" pitchFamily="34" charset="0"/>
              </a:defRPr>
            </a:lvl2pPr>
            <a:lvl3pPr marL="911955" indent="-227988">
              <a:defRPr lang="en-US" sz="1895" kern="1200" dirty="0" smtClean="0">
                <a:solidFill>
                  <a:schemeClr val="bg2">
                    <a:lumMod val="50000"/>
                  </a:schemeClr>
                </a:solidFill>
                <a:latin typeface="+mn-lt"/>
                <a:ea typeface="+mn-ea"/>
                <a:cs typeface="Arial" pitchFamily="34" charset="0"/>
              </a:defRPr>
            </a:lvl3pPr>
            <a:lvl4pPr marL="1215940" indent="-227988">
              <a:defRPr lang="en-US" sz="1596" kern="1200" dirty="0" smtClean="0">
                <a:solidFill>
                  <a:schemeClr val="bg2">
                    <a:lumMod val="50000"/>
                  </a:schemeClr>
                </a:solidFill>
                <a:latin typeface="+mn-lt"/>
                <a:ea typeface="+mn-ea"/>
                <a:cs typeface="Arial" pitchFamily="34" charset="0"/>
              </a:defRPr>
            </a:lvl4pPr>
            <a:lvl5pPr marL="1443929" indent="-227988">
              <a:defRPr lang="en-US" sz="1596" kern="1200" dirty="0">
                <a:solidFill>
                  <a:schemeClr val="bg2">
                    <a:lumMod val="50000"/>
                  </a:schemeClr>
                </a:solidFill>
                <a:latin typeface="+mn-lt"/>
                <a:ea typeface="+mn-ea"/>
                <a:cs typeface="Arial" pitchFamily="34" charset="0"/>
              </a:defRPr>
            </a:lvl5pPr>
            <a:lvl6pPr>
              <a:defRPr sz="2094"/>
            </a:lvl6pPr>
            <a:lvl7pPr>
              <a:defRPr sz="2094"/>
            </a:lvl7pPr>
            <a:lvl8pPr>
              <a:defRPr sz="2094"/>
            </a:lvl8pPr>
            <a:lvl9pPr>
              <a:defRPr sz="2094"/>
            </a:lvl9pPr>
          </a:lstStyle>
          <a:p>
            <a:pPr lvl="0"/>
            <a:r>
              <a:rPr lang="en-US" smtClean="0"/>
              <a:t>Click to edit Master text styles</a:t>
            </a:r>
          </a:p>
        </p:txBody>
      </p:sp>
      <p:pic>
        <p:nvPicPr>
          <p:cNvPr id="8" name="Picture 7"/>
          <p:cNvPicPr>
            <a:picLocks noChangeAspect="1"/>
          </p:cNvPicPr>
          <p:nvPr userDrawn="1"/>
        </p:nvPicPr>
        <p:blipFill>
          <a:blip r:embed="rId2"/>
          <a:stretch>
            <a:fillRect/>
          </a:stretch>
        </p:blipFill>
        <p:spPr>
          <a:xfrm>
            <a:off x="10699082" y="6301222"/>
            <a:ext cx="1489745" cy="548317"/>
          </a:xfrm>
          <a:prstGeom prst="rect">
            <a:avLst/>
          </a:prstGeom>
        </p:spPr>
      </p:pic>
    </p:spTree>
    <p:extLst>
      <p:ext uri="{BB962C8B-B14F-4D97-AF65-F5344CB8AC3E}">
        <p14:creationId xmlns:p14="http://schemas.microsoft.com/office/powerpoint/2010/main" val="460551234"/>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218091" y="1447801"/>
            <a:ext cx="5433533" cy="1178442"/>
          </a:xfrm>
          <a:prstGeom prst="rect">
            <a:avLst/>
          </a:prstGeom>
        </p:spPr>
        <p:txBody>
          <a:bodyPr>
            <a:noAutofit/>
          </a:bodyPr>
          <a:lstStyle>
            <a:lvl1pPr marL="0" indent="0">
              <a:buNone/>
              <a:defRPr sz="3990" b="0" cap="none" baseline="0">
                <a:gradFill>
                  <a:gsLst>
                    <a:gs pos="100000">
                      <a:schemeClr val="tx2"/>
                    </a:gs>
                    <a:gs pos="0">
                      <a:schemeClr val="tx2"/>
                    </a:gs>
                  </a:gsLst>
                  <a:lin ang="5400000" scaled="0"/>
                </a:gradFill>
                <a:latin typeface="+mj-lt"/>
              </a:defRPr>
            </a:lvl1pPr>
            <a:lvl2pPr marL="607970" indent="0">
              <a:buNone/>
              <a:defRPr sz="2693" b="1"/>
            </a:lvl2pPr>
            <a:lvl3pPr marL="1215940" indent="0">
              <a:buNone/>
              <a:defRPr sz="2394" b="1"/>
            </a:lvl3pPr>
            <a:lvl4pPr marL="1823910" indent="0">
              <a:buNone/>
              <a:defRPr sz="2094" b="1"/>
            </a:lvl4pPr>
            <a:lvl5pPr marL="2431880" indent="0">
              <a:buNone/>
              <a:defRPr sz="2094" b="1"/>
            </a:lvl5pPr>
            <a:lvl6pPr marL="3039851" indent="0">
              <a:buNone/>
              <a:defRPr sz="2094" b="1"/>
            </a:lvl6pPr>
            <a:lvl7pPr marL="3647820" indent="0">
              <a:buNone/>
              <a:defRPr sz="2094" b="1"/>
            </a:lvl7pPr>
            <a:lvl8pPr marL="4255790" indent="0">
              <a:buNone/>
              <a:defRPr sz="2094" b="1"/>
            </a:lvl8pPr>
            <a:lvl9pPr marL="4863760" indent="0">
              <a:buNone/>
              <a:defRPr sz="2094" b="1"/>
            </a:lvl9pPr>
          </a:lstStyle>
          <a:p>
            <a:pPr lvl="0"/>
            <a:r>
              <a:rPr lang="en-US" dirty="0" smtClean="0"/>
              <a:t>Click to edit Master text styles.</a:t>
            </a:r>
          </a:p>
        </p:txBody>
      </p:sp>
      <p:sp>
        <p:nvSpPr>
          <p:cNvPr id="9" name="Content Placeholder 5"/>
          <p:cNvSpPr>
            <a:spLocks noGrp="1"/>
          </p:cNvSpPr>
          <p:nvPr>
            <p:ph sz="quarter" idx="13"/>
          </p:nvPr>
        </p:nvSpPr>
        <p:spPr>
          <a:xfrm>
            <a:off x="6218092" y="2734985"/>
            <a:ext cx="5444165" cy="609398"/>
          </a:xfrm>
          <a:prstGeom prst="rect">
            <a:avLst/>
          </a:prstGeom>
        </p:spPr>
        <p:txBody>
          <a:bodyPr>
            <a:noAutofit/>
          </a:bodyPr>
          <a:lstStyle>
            <a:lvl1pPr marL="0" indent="0">
              <a:spcBef>
                <a:spcPts val="1197"/>
              </a:spcBef>
              <a:buFont typeface="Arial" pitchFamily="34" charset="0"/>
              <a:buNone/>
              <a:defRPr lang="en-US" sz="1995" kern="1200" spc="0" dirty="0" smtClean="0">
                <a:gradFill>
                  <a:gsLst>
                    <a:gs pos="100000">
                      <a:schemeClr val="bg2"/>
                    </a:gs>
                    <a:gs pos="0">
                      <a:schemeClr val="bg2"/>
                    </a:gs>
                  </a:gsLst>
                  <a:lin ang="5400000" scaled="0"/>
                </a:gradFill>
                <a:latin typeface="+mn-lt"/>
                <a:ea typeface="+mn-ea"/>
                <a:cs typeface="Segoe UI" pitchFamily="34" charset="0"/>
              </a:defRPr>
            </a:lvl1pPr>
            <a:lvl2pPr marL="911955" indent="-379981">
              <a:defRPr lang="en-US" sz="2094" kern="1200" dirty="0" smtClean="0">
                <a:solidFill>
                  <a:schemeClr val="bg2">
                    <a:lumMod val="50000"/>
                  </a:schemeClr>
                </a:solidFill>
                <a:latin typeface="+mn-lt"/>
                <a:ea typeface="+mn-ea"/>
                <a:cs typeface="Arial" pitchFamily="34" charset="0"/>
              </a:defRPr>
            </a:lvl2pPr>
            <a:lvl3pPr marL="911955" indent="-227988">
              <a:defRPr lang="en-US" sz="1895" kern="1200" dirty="0" smtClean="0">
                <a:solidFill>
                  <a:schemeClr val="bg2">
                    <a:lumMod val="50000"/>
                  </a:schemeClr>
                </a:solidFill>
                <a:latin typeface="+mn-lt"/>
                <a:ea typeface="+mn-ea"/>
                <a:cs typeface="Arial" pitchFamily="34" charset="0"/>
              </a:defRPr>
            </a:lvl3pPr>
            <a:lvl4pPr marL="1215940" indent="-227988">
              <a:defRPr lang="en-US" sz="1596" kern="1200" dirty="0" smtClean="0">
                <a:solidFill>
                  <a:schemeClr val="bg2">
                    <a:lumMod val="50000"/>
                  </a:schemeClr>
                </a:solidFill>
                <a:latin typeface="+mn-lt"/>
                <a:ea typeface="+mn-ea"/>
                <a:cs typeface="Arial" pitchFamily="34" charset="0"/>
              </a:defRPr>
            </a:lvl4pPr>
            <a:lvl5pPr marL="1443929" indent="-227988">
              <a:defRPr lang="en-US" sz="1596" kern="1200" dirty="0">
                <a:solidFill>
                  <a:schemeClr val="bg2">
                    <a:lumMod val="50000"/>
                  </a:schemeClr>
                </a:solidFill>
                <a:latin typeface="+mn-lt"/>
                <a:ea typeface="+mn-ea"/>
                <a:cs typeface="Arial" pitchFamily="34" charset="0"/>
              </a:defRPr>
            </a:lvl5pPr>
            <a:lvl6pPr>
              <a:defRPr sz="2094"/>
            </a:lvl6pPr>
            <a:lvl7pPr>
              <a:defRPr sz="2094"/>
            </a:lvl7pPr>
            <a:lvl8pPr>
              <a:defRPr sz="2094"/>
            </a:lvl8pPr>
            <a:lvl9pPr>
              <a:defRPr sz="2094"/>
            </a:lvl9pPr>
          </a:lstStyle>
          <a:p>
            <a:pPr lvl="0"/>
            <a:r>
              <a:rPr lang="en-US" smtClean="0"/>
              <a:t>Click to edit Master text styles</a:t>
            </a:r>
          </a:p>
        </p:txBody>
      </p:sp>
      <p:sp>
        <p:nvSpPr>
          <p:cNvPr id="4" name="Picture Placeholder 3"/>
          <p:cNvSpPr>
            <a:spLocks noGrp="1"/>
          </p:cNvSpPr>
          <p:nvPr>
            <p:ph type="pic" sz="quarter" idx="14" hasCustomPrompt="1"/>
          </p:nvPr>
        </p:nvSpPr>
        <p:spPr>
          <a:xfrm>
            <a:off x="0" y="0"/>
            <a:ext cx="5980112" cy="6858000"/>
          </a:xfrm>
        </p:spPr>
        <p:txBody>
          <a:bodyPr lIns="182880" anchor="ctr"/>
          <a:lstStyle>
            <a:lvl1pPr marL="0" indent="0" algn="l">
              <a:buNone/>
              <a:defRPr/>
            </a:lvl1pPr>
          </a:lstStyle>
          <a:p>
            <a:r>
              <a:rPr lang="en-US" dirty="0" smtClean="0"/>
              <a:t>Click to insert photo.</a:t>
            </a:r>
            <a:endParaRPr lang="en-US" dirty="0"/>
          </a:p>
        </p:txBody>
      </p:sp>
      <p:pic>
        <p:nvPicPr>
          <p:cNvPr id="7" name="Picture 6"/>
          <p:cNvPicPr>
            <a:picLocks noChangeAspect="1"/>
          </p:cNvPicPr>
          <p:nvPr userDrawn="1"/>
        </p:nvPicPr>
        <p:blipFill>
          <a:blip r:embed="rId2"/>
          <a:stretch>
            <a:fillRect/>
          </a:stretch>
        </p:blipFill>
        <p:spPr>
          <a:xfrm>
            <a:off x="10699082" y="6301222"/>
            <a:ext cx="1489745" cy="548317"/>
          </a:xfrm>
          <a:prstGeom prst="rect">
            <a:avLst/>
          </a:prstGeom>
        </p:spPr>
      </p:pic>
    </p:spTree>
    <p:extLst>
      <p:ext uri="{BB962C8B-B14F-4D97-AF65-F5344CB8AC3E}">
        <p14:creationId xmlns:p14="http://schemas.microsoft.com/office/powerpoint/2010/main" val="2423887679"/>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lor Block Header on Left &amp; Text on Right ">
    <p:spTree>
      <p:nvGrpSpPr>
        <p:cNvPr id="1" name=""/>
        <p:cNvGrpSpPr/>
        <p:nvPr/>
      </p:nvGrpSpPr>
      <p:grpSpPr>
        <a:xfrm>
          <a:off x="0" y="0"/>
          <a:ext cx="0" cy="0"/>
          <a:chOff x="0" y="0"/>
          <a:chExt cx="0" cy="0"/>
        </a:xfrm>
      </p:grpSpPr>
      <p:sp>
        <p:nvSpPr>
          <p:cNvPr id="2" name="Rectangle 1"/>
          <p:cNvSpPr/>
          <p:nvPr/>
        </p:nvSpPr>
        <p:spPr bwMode="white">
          <a:xfrm>
            <a:off x="-9524" y="0"/>
            <a:ext cx="4499638"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07" tIns="45607" rIns="45607" bIns="45607" numCol="1" spcCol="0" rtlCol="0" fromWordArt="0" anchor="ctr" anchorCtr="0" forceAA="0" compatLnSpc="1">
            <a:prstTxWarp prst="textNoShape">
              <a:avLst/>
            </a:prstTxWarp>
            <a:noAutofit/>
          </a:bodyPr>
          <a:lstStyle/>
          <a:p>
            <a:pPr algn="ctr" defTabSz="911815" fontAlgn="base">
              <a:spcBef>
                <a:spcPct val="0"/>
              </a:spcBef>
              <a:spcAft>
                <a:spcPct val="0"/>
              </a:spcAft>
            </a:pPr>
            <a:endParaRPr lang="en-US" sz="219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700" y="720725"/>
            <a:ext cx="3969413" cy="1687393"/>
          </a:xfrm>
          <a:prstGeom prst="rect">
            <a:avLst/>
          </a:prstGeom>
        </p:spPr>
        <p:txBody>
          <a:bodyPr>
            <a:noAutofit/>
          </a:bodyPr>
          <a:lstStyle>
            <a:lvl1pPr marL="0" indent="0">
              <a:buNone/>
              <a:defRPr sz="3990" b="0" cap="none" spc="-150" baseline="0">
                <a:gradFill>
                  <a:gsLst>
                    <a:gs pos="100000">
                      <a:schemeClr val="bg1"/>
                    </a:gs>
                    <a:gs pos="0">
                      <a:schemeClr val="bg1"/>
                    </a:gs>
                  </a:gsLst>
                  <a:lin ang="5400000" scaled="0"/>
                </a:gradFill>
                <a:latin typeface="Segoe UI Semibold" panose="020B0702040204020203" pitchFamily="34" charset="0"/>
                <a:cs typeface="Segoe UI Semibold" panose="020B0702040204020203" pitchFamily="34" charset="0"/>
              </a:defRPr>
            </a:lvl1pPr>
            <a:lvl2pPr marL="607970" indent="0">
              <a:buNone/>
              <a:defRPr sz="2693" b="1"/>
            </a:lvl2pPr>
            <a:lvl3pPr marL="1215940" indent="0">
              <a:buNone/>
              <a:defRPr sz="2394" b="1"/>
            </a:lvl3pPr>
            <a:lvl4pPr marL="1823910" indent="0">
              <a:buNone/>
              <a:defRPr sz="2094" b="1"/>
            </a:lvl4pPr>
            <a:lvl5pPr marL="2431880" indent="0">
              <a:buNone/>
              <a:defRPr sz="2094" b="1"/>
            </a:lvl5pPr>
            <a:lvl6pPr marL="3039851" indent="0">
              <a:buNone/>
              <a:defRPr sz="2094" b="1"/>
            </a:lvl6pPr>
            <a:lvl7pPr marL="3647820" indent="0">
              <a:buNone/>
              <a:defRPr sz="2094" b="1"/>
            </a:lvl7pPr>
            <a:lvl8pPr marL="4255790" indent="0">
              <a:buNone/>
              <a:defRPr sz="2094" b="1"/>
            </a:lvl8pPr>
            <a:lvl9pPr marL="4863760" indent="0">
              <a:buNone/>
              <a:defRPr sz="2094" b="1"/>
            </a:lvl9pPr>
          </a:lstStyle>
          <a:p>
            <a:pPr lvl="0"/>
            <a:r>
              <a:rPr lang="en-US" dirty="0" smtClean="0"/>
              <a:t>Click to edit Master text styles.</a:t>
            </a:r>
          </a:p>
        </p:txBody>
      </p:sp>
      <p:sp>
        <p:nvSpPr>
          <p:cNvPr id="6" name="Content Placeholder 5"/>
          <p:cNvSpPr>
            <a:spLocks noGrp="1"/>
          </p:cNvSpPr>
          <p:nvPr>
            <p:ph sz="quarter" idx="4"/>
          </p:nvPr>
        </p:nvSpPr>
        <p:spPr>
          <a:xfrm>
            <a:off x="6188150" y="1681907"/>
            <a:ext cx="5484740" cy="332399"/>
          </a:xfrm>
          <a:prstGeom prst="rect">
            <a:avLst/>
          </a:prstGeom>
        </p:spPr>
        <p:txBody>
          <a:bodyPr>
            <a:noAutofit/>
          </a:bodyPr>
          <a:lstStyle>
            <a:lvl1pPr marL="0" indent="0">
              <a:spcBef>
                <a:spcPts val="1197"/>
              </a:spcBef>
              <a:buNone/>
              <a:defRPr lang="en-US" sz="1995" kern="1200" spc="0" dirty="0" smtClean="0">
                <a:gradFill>
                  <a:gsLst>
                    <a:gs pos="100000">
                      <a:schemeClr val="bg2"/>
                    </a:gs>
                    <a:gs pos="0">
                      <a:schemeClr val="bg2"/>
                    </a:gs>
                  </a:gsLst>
                  <a:lin ang="5400000" scaled="0"/>
                </a:gradFill>
                <a:latin typeface="+mn-lt"/>
                <a:ea typeface="+mn-ea"/>
                <a:cs typeface="Segoe UI" pitchFamily="34" charset="0"/>
              </a:defRPr>
            </a:lvl1pPr>
            <a:lvl2pPr marL="911955" indent="-379981">
              <a:defRPr lang="en-US" sz="2094" kern="1200" dirty="0" smtClean="0">
                <a:solidFill>
                  <a:schemeClr val="bg2">
                    <a:lumMod val="50000"/>
                  </a:schemeClr>
                </a:solidFill>
                <a:latin typeface="+mn-lt"/>
                <a:ea typeface="+mn-ea"/>
                <a:cs typeface="Arial" pitchFamily="34" charset="0"/>
              </a:defRPr>
            </a:lvl2pPr>
            <a:lvl3pPr marL="911955" indent="-227988">
              <a:defRPr lang="en-US" sz="1895" kern="1200" dirty="0" smtClean="0">
                <a:solidFill>
                  <a:schemeClr val="bg2">
                    <a:lumMod val="50000"/>
                  </a:schemeClr>
                </a:solidFill>
                <a:latin typeface="+mn-lt"/>
                <a:ea typeface="+mn-ea"/>
                <a:cs typeface="Arial" pitchFamily="34" charset="0"/>
              </a:defRPr>
            </a:lvl3pPr>
            <a:lvl4pPr marL="1215940" indent="-227988">
              <a:defRPr lang="en-US" sz="1596" kern="1200" dirty="0" smtClean="0">
                <a:solidFill>
                  <a:schemeClr val="bg2">
                    <a:lumMod val="50000"/>
                  </a:schemeClr>
                </a:solidFill>
                <a:latin typeface="+mn-lt"/>
                <a:ea typeface="+mn-ea"/>
                <a:cs typeface="Arial" pitchFamily="34" charset="0"/>
              </a:defRPr>
            </a:lvl4pPr>
            <a:lvl5pPr marL="1443929" indent="-227988">
              <a:defRPr lang="en-US" sz="1596" kern="1200" dirty="0">
                <a:solidFill>
                  <a:schemeClr val="bg2">
                    <a:lumMod val="50000"/>
                  </a:schemeClr>
                </a:solidFill>
                <a:latin typeface="+mn-lt"/>
                <a:ea typeface="+mn-ea"/>
                <a:cs typeface="Arial" pitchFamily="34" charset="0"/>
              </a:defRPr>
            </a:lvl5pPr>
            <a:lvl6pPr>
              <a:defRPr sz="2094"/>
            </a:lvl6pPr>
            <a:lvl7pPr>
              <a:defRPr sz="2094"/>
            </a:lvl7pPr>
            <a:lvl8pPr>
              <a:defRPr sz="2094"/>
            </a:lvl8pPr>
            <a:lvl9pPr>
              <a:defRPr sz="2094"/>
            </a:lvl9pPr>
          </a:lstStyle>
          <a:p>
            <a:pPr lvl="0"/>
            <a:r>
              <a:rPr lang="en-US" smtClean="0"/>
              <a:t>Click to edit Master text styles</a:t>
            </a:r>
          </a:p>
        </p:txBody>
      </p:sp>
    </p:spTree>
    <p:extLst>
      <p:ext uri="{BB962C8B-B14F-4D97-AF65-F5344CB8AC3E}">
        <p14:creationId xmlns:p14="http://schemas.microsoft.com/office/powerpoint/2010/main" val="4272436283"/>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Divider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3" y="2819606"/>
            <a:ext cx="11149013" cy="1218795"/>
          </a:xfrm>
        </p:spPr>
        <p:txBody>
          <a:bodyPr anchor="b" anchorCtr="0"/>
          <a:lstStyle>
            <a:lvl1pPr>
              <a:defRPr sz="8778" spc="-299" baseline="0">
                <a:gradFill>
                  <a:gsLst>
                    <a:gs pos="100000">
                      <a:schemeClr val="bg1"/>
                    </a:gs>
                    <a:gs pos="0">
                      <a:schemeClr val="bg1"/>
                    </a:gs>
                  </a:gsLst>
                  <a:lin ang="5400000" scaled="0"/>
                </a:gradFill>
              </a:defRPr>
            </a:lvl1pPr>
          </a:lstStyle>
          <a:p>
            <a:r>
              <a:rPr lang="en-US" dirty="0" smtClean="0"/>
              <a:t>Click to edit title style</a:t>
            </a:r>
            <a:endParaRPr lang="en-US" dirty="0"/>
          </a:p>
        </p:txBody>
      </p:sp>
      <p:pic>
        <p:nvPicPr>
          <p:cNvPr id="5" name="Picture 4"/>
          <p:cNvPicPr>
            <a:picLocks noChangeAspect="1"/>
          </p:cNvPicPr>
          <p:nvPr userDrawn="1"/>
        </p:nvPicPr>
        <p:blipFill>
          <a:blip r:embed="rId2"/>
          <a:stretch>
            <a:fillRect/>
          </a:stretch>
        </p:blipFill>
        <p:spPr>
          <a:xfrm>
            <a:off x="10795674" y="6255100"/>
            <a:ext cx="1269536" cy="501941"/>
          </a:xfrm>
          <a:prstGeom prst="rect">
            <a:avLst/>
          </a:prstGeom>
        </p:spPr>
      </p:pic>
    </p:spTree>
    <p:extLst>
      <p:ext uri="{BB962C8B-B14F-4D97-AF65-F5344CB8AC3E}">
        <p14:creationId xmlns:p14="http://schemas.microsoft.com/office/powerpoint/2010/main" val="3747451005"/>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2_Color Block Header on Left &amp; Text on Right ">
    <p:spTree>
      <p:nvGrpSpPr>
        <p:cNvPr id="1" name=""/>
        <p:cNvGrpSpPr/>
        <p:nvPr/>
      </p:nvGrpSpPr>
      <p:grpSpPr>
        <a:xfrm>
          <a:off x="0" y="0"/>
          <a:ext cx="0" cy="0"/>
          <a:chOff x="0" y="0"/>
          <a:chExt cx="0" cy="0"/>
        </a:xfrm>
      </p:grpSpPr>
      <p:sp>
        <p:nvSpPr>
          <p:cNvPr id="2" name="Rectangle 1"/>
          <p:cNvSpPr/>
          <p:nvPr/>
        </p:nvSpPr>
        <p:spPr bwMode="white">
          <a:xfrm>
            <a:off x="-9524" y="0"/>
            <a:ext cx="4499638" cy="68580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07" tIns="45607" rIns="45607" bIns="45607" numCol="1" spcCol="0" rtlCol="0" fromWordArt="0" anchor="ctr" anchorCtr="0" forceAA="0" compatLnSpc="1">
            <a:prstTxWarp prst="textNoShape">
              <a:avLst/>
            </a:prstTxWarp>
            <a:noAutofit/>
          </a:bodyPr>
          <a:lstStyle/>
          <a:p>
            <a:pPr algn="ctr" defTabSz="911815" fontAlgn="base">
              <a:spcBef>
                <a:spcPct val="0"/>
              </a:spcBef>
              <a:spcAft>
                <a:spcPct val="0"/>
              </a:spcAft>
            </a:pPr>
            <a:endParaRPr lang="en-US" sz="219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700" y="720725"/>
            <a:ext cx="3819289" cy="1687393"/>
          </a:xfrm>
          <a:prstGeom prst="rect">
            <a:avLst/>
          </a:prstGeom>
        </p:spPr>
        <p:txBody>
          <a:bodyPr>
            <a:noAutofit/>
          </a:bodyPr>
          <a:lstStyle>
            <a:lvl1pPr marL="0" indent="0">
              <a:buNone/>
              <a:defRPr sz="3990" b="1" cap="none" spc="-150" baseline="0">
                <a:gradFill>
                  <a:gsLst>
                    <a:gs pos="100000">
                      <a:schemeClr val="bg1"/>
                    </a:gs>
                    <a:gs pos="0">
                      <a:schemeClr val="bg1"/>
                    </a:gs>
                  </a:gsLst>
                  <a:lin ang="5400000" scaled="0"/>
                </a:gradFill>
                <a:latin typeface="Segoe UI Semibold" panose="020B0702040204020203" pitchFamily="34" charset="0"/>
                <a:cs typeface="Segoe UI Semibold" panose="020B0702040204020203" pitchFamily="34" charset="0"/>
              </a:defRPr>
            </a:lvl1pPr>
            <a:lvl2pPr marL="607970" indent="0">
              <a:buNone/>
              <a:defRPr sz="2693" b="1"/>
            </a:lvl2pPr>
            <a:lvl3pPr marL="1215940" indent="0">
              <a:buNone/>
              <a:defRPr sz="2394" b="1"/>
            </a:lvl3pPr>
            <a:lvl4pPr marL="1823910" indent="0">
              <a:buNone/>
              <a:defRPr sz="2094" b="1"/>
            </a:lvl4pPr>
            <a:lvl5pPr marL="2431880" indent="0">
              <a:buNone/>
              <a:defRPr sz="2094" b="1"/>
            </a:lvl5pPr>
            <a:lvl6pPr marL="3039851" indent="0">
              <a:buNone/>
              <a:defRPr sz="2094" b="1"/>
            </a:lvl6pPr>
            <a:lvl7pPr marL="3647820" indent="0">
              <a:buNone/>
              <a:defRPr sz="2094" b="1"/>
            </a:lvl7pPr>
            <a:lvl8pPr marL="4255790" indent="0">
              <a:buNone/>
              <a:defRPr sz="2094" b="1"/>
            </a:lvl8pPr>
            <a:lvl9pPr marL="4863760" indent="0">
              <a:buNone/>
              <a:defRPr sz="2094" b="1"/>
            </a:lvl9pPr>
          </a:lstStyle>
          <a:p>
            <a:pPr lvl="0"/>
            <a:r>
              <a:rPr lang="en-US" dirty="0" smtClean="0"/>
              <a:t>Click to edit Master text styles.</a:t>
            </a:r>
          </a:p>
        </p:txBody>
      </p:sp>
      <p:sp>
        <p:nvSpPr>
          <p:cNvPr id="6" name="Content Placeholder 5"/>
          <p:cNvSpPr>
            <a:spLocks noGrp="1"/>
          </p:cNvSpPr>
          <p:nvPr>
            <p:ph sz="quarter" idx="4"/>
          </p:nvPr>
        </p:nvSpPr>
        <p:spPr>
          <a:xfrm>
            <a:off x="6188150" y="1681907"/>
            <a:ext cx="5484740" cy="332399"/>
          </a:xfrm>
          <a:prstGeom prst="rect">
            <a:avLst/>
          </a:prstGeom>
        </p:spPr>
        <p:txBody>
          <a:bodyPr>
            <a:noAutofit/>
          </a:bodyPr>
          <a:lstStyle>
            <a:lvl1pPr marL="0" indent="0">
              <a:spcBef>
                <a:spcPts val="1197"/>
              </a:spcBef>
              <a:buNone/>
              <a:defRPr lang="en-US" sz="1995" kern="1200" spc="0" dirty="0" smtClean="0">
                <a:gradFill>
                  <a:gsLst>
                    <a:gs pos="100000">
                      <a:schemeClr val="bg2"/>
                    </a:gs>
                    <a:gs pos="0">
                      <a:schemeClr val="bg2"/>
                    </a:gs>
                  </a:gsLst>
                  <a:lin ang="5400000" scaled="0"/>
                </a:gradFill>
                <a:latin typeface="+mn-lt"/>
                <a:ea typeface="+mn-ea"/>
                <a:cs typeface="Segoe UI" pitchFamily="34" charset="0"/>
              </a:defRPr>
            </a:lvl1pPr>
            <a:lvl2pPr marL="911955" indent="-379981">
              <a:defRPr lang="en-US" sz="2094" kern="1200" dirty="0" smtClean="0">
                <a:solidFill>
                  <a:schemeClr val="bg2">
                    <a:lumMod val="50000"/>
                  </a:schemeClr>
                </a:solidFill>
                <a:latin typeface="+mn-lt"/>
                <a:ea typeface="+mn-ea"/>
                <a:cs typeface="Arial" pitchFamily="34" charset="0"/>
              </a:defRPr>
            </a:lvl2pPr>
            <a:lvl3pPr marL="911955" indent="-227988">
              <a:defRPr lang="en-US" sz="1895" kern="1200" dirty="0" smtClean="0">
                <a:solidFill>
                  <a:schemeClr val="bg2">
                    <a:lumMod val="50000"/>
                  </a:schemeClr>
                </a:solidFill>
                <a:latin typeface="+mn-lt"/>
                <a:ea typeface="+mn-ea"/>
                <a:cs typeface="Arial" pitchFamily="34" charset="0"/>
              </a:defRPr>
            </a:lvl3pPr>
            <a:lvl4pPr marL="1215940" indent="-227988">
              <a:defRPr lang="en-US" sz="1596" kern="1200" dirty="0" smtClean="0">
                <a:solidFill>
                  <a:schemeClr val="bg2">
                    <a:lumMod val="50000"/>
                  </a:schemeClr>
                </a:solidFill>
                <a:latin typeface="+mn-lt"/>
                <a:ea typeface="+mn-ea"/>
                <a:cs typeface="Arial" pitchFamily="34" charset="0"/>
              </a:defRPr>
            </a:lvl4pPr>
            <a:lvl5pPr marL="1443929" indent="-227988">
              <a:defRPr lang="en-US" sz="1596" kern="1200" dirty="0">
                <a:solidFill>
                  <a:schemeClr val="bg2">
                    <a:lumMod val="50000"/>
                  </a:schemeClr>
                </a:solidFill>
                <a:latin typeface="+mn-lt"/>
                <a:ea typeface="+mn-ea"/>
                <a:cs typeface="Arial" pitchFamily="34" charset="0"/>
              </a:defRPr>
            </a:lvl5pPr>
            <a:lvl6pPr>
              <a:defRPr sz="2094"/>
            </a:lvl6pPr>
            <a:lvl7pPr>
              <a:defRPr sz="2094"/>
            </a:lvl7pPr>
            <a:lvl8pPr>
              <a:defRPr sz="2094"/>
            </a:lvl8pPr>
            <a:lvl9pPr>
              <a:defRPr sz="2094"/>
            </a:lvl9pPr>
          </a:lstStyle>
          <a:p>
            <a:pPr lvl="0"/>
            <a:r>
              <a:rPr lang="en-US" smtClean="0"/>
              <a:t>Click to edit Master text styles</a:t>
            </a:r>
          </a:p>
        </p:txBody>
      </p:sp>
    </p:spTree>
    <p:extLst>
      <p:ext uri="{BB962C8B-B14F-4D97-AF65-F5344CB8AC3E}">
        <p14:creationId xmlns:p14="http://schemas.microsoft.com/office/powerpoint/2010/main" val="317193918"/>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1_Color Block Header on Left &amp; Text on Right ">
    <p:spTree>
      <p:nvGrpSpPr>
        <p:cNvPr id="1" name=""/>
        <p:cNvGrpSpPr/>
        <p:nvPr/>
      </p:nvGrpSpPr>
      <p:grpSpPr>
        <a:xfrm>
          <a:off x="0" y="0"/>
          <a:ext cx="0" cy="0"/>
          <a:chOff x="0" y="0"/>
          <a:chExt cx="0" cy="0"/>
        </a:xfrm>
      </p:grpSpPr>
      <p:sp>
        <p:nvSpPr>
          <p:cNvPr id="2" name="Rectangle 1"/>
          <p:cNvSpPr/>
          <p:nvPr/>
        </p:nvSpPr>
        <p:spPr bwMode="white">
          <a:xfrm>
            <a:off x="-9524" y="0"/>
            <a:ext cx="4499638" cy="685800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07" tIns="45607" rIns="45607" bIns="45607" numCol="1" spcCol="0" rtlCol="0" fromWordArt="0" anchor="ctr" anchorCtr="0" forceAA="0" compatLnSpc="1">
            <a:prstTxWarp prst="textNoShape">
              <a:avLst/>
            </a:prstTxWarp>
            <a:noAutofit/>
          </a:bodyPr>
          <a:lstStyle/>
          <a:p>
            <a:pPr algn="ctr" defTabSz="911815" fontAlgn="base">
              <a:spcBef>
                <a:spcPct val="0"/>
              </a:spcBef>
              <a:spcAft>
                <a:spcPct val="0"/>
              </a:spcAft>
            </a:pPr>
            <a:endParaRPr lang="en-US" sz="219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700" y="720725"/>
            <a:ext cx="3819289" cy="1687393"/>
          </a:xfrm>
          <a:prstGeom prst="rect">
            <a:avLst/>
          </a:prstGeom>
        </p:spPr>
        <p:txBody>
          <a:bodyPr>
            <a:noAutofit/>
          </a:bodyPr>
          <a:lstStyle>
            <a:lvl1pPr marL="0" indent="0">
              <a:buNone/>
              <a:defRPr sz="3990" b="1" cap="none" spc="-150" baseline="0">
                <a:gradFill>
                  <a:gsLst>
                    <a:gs pos="100000">
                      <a:schemeClr val="bg1"/>
                    </a:gs>
                    <a:gs pos="0">
                      <a:schemeClr val="bg1"/>
                    </a:gs>
                  </a:gsLst>
                  <a:lin ang="5400000" scaled="0"/>
                </a:gradFill>
                <a:latin typeface="Segoe UI Semibold" panose="020B0702040204020203" pitchFamily="34" charset="0"/>
                <a:cs typeface="Segoe UI Semibold" panose="020B0702040204020203" pitchFamily="34" charset="0"/>
              </a:defRPr>
            </a:lvl1pPr>
            <a:lvl2pPr marL="607970" indent="0">
              <a:buNone/>
              <a:defRPr sz="2693" b="1"/>
            </a:lvl2pPr>
            <a:lvl3pPr marL="1215940" indent="0">
              <a:buNone/>
              <a:defRPr sz="2394" b="1"/>
            </a:lvl3pPr>
            <a:lvl4pPr marL="1823910" indent="0">
              <a:buNone/>
              <a:defRPr sz="2094" b="1"/>
            </a:lvl4pPr>
            <a:lvl5pPr marL="2431880" indent="0">
              <a:buNone/>
              <a:defRPr sz="2094" b="1"/>
            </a:lvl5pPr>
            <a:lvl6pPr marL="3039851" indent="0">
              <a:buNone/>
              <a:defRPr sz="2094" b="1"/>
            </a:lvl6pPr>
            <a:lvl7pPr marL="3647820" indent="0">
              <a:buNone/>
              <a:defRPr sz="2094" b="1"/>
            </a:lvl7pPr>
            <a:lvl8pPr marL="4255790" indent="0">
              <a:buNone/>
              <a:defRPr sz="2094" b="1"/>
            </a:lvl8pPr>
            <a:lvl9pPr marL="4863760" indent="0">
              <a:buNone/>
              <a:defRPr sz="2094" b="1"/>
            </a:lvl9pPr>
          </a:lstStyle>
          <a:p>
            <a:pPr lvl="0"/>
            <a:r>
              <a:rPr lang="en-US" dirty="0" smtClean="0"/>
              <a:t>Click to edit Master text styles.</a:t>
            </a:r>
          </a:p>
        </p:txBody>
      </p:sp>
      <p:sp>
        <p:nvSpPr>
          <p:cNvPr id="6" name="Content Placeholder 5"/>
          <p:cNvSpPr>
            <a:spLocks noGrp="1"/>
          </p:cNvSpPr>
          <p:nvPr>
            <p:ph sz="quarter" idx="4"/>
          </p:nvPr>
        </p:nvSpPr>
        <p:spPr>
          <a:xfrm>
            <a:off x="6188150" y="1681907"/>
            <a:ext cx="5484740" cy="332399"/>
          </a:xfrm>
          <a:prstGeom prst="rect">
            <a:avLst/>
          </a:prstGeom>
        </p:spPr>
        <p:txBody>
          <a:bodyPr>
            <a:noAutofit/>
          </a:bodyPr>
          <a:lstStyle>
            <a:lvl1pPr marL="0" indent="0">
              <a:spcBef>
                <a:spcPts val="1197"/>
              </a:spcBef>
              <a:buNone/>
              <a:defRPr lang="en-US" sz="1995" kern="1200" spc="0" dirty="0" smtClean="0">
                <a:gradFill>
                  <a:gsLst>
                    <a:gs pos="100000">
                      <a:schemeClr val="bg2"/>
                    </a:gs>
                    <a:gs pos="0">
                      <a:schemeClr val="bg2"/>
                    </a:gs>
                  </a:gsLst>
                  <a:lin ang="5400000" scaled="0"/>
                </a:gradFill>
                <a:latin typeface="+mn-lt"/>
                <a:ea typeface="+mn-ea"/>
                <a:cs typeface="Segoe UI" pitchFamily="34" charset="0"/>
              </a:defRPr>
            </a:lvl1pPr>
            <a:lvl2pPr marL="911955" indent="-379981">
              <a:defRPr lang="en-US" sz="2094" kern="1200" dirty="0" smtClean="0">
                <a:solidFill>
                  <a:schemeClr val="bg2">
                    <a:lumMod val="50000"/>
                  </a:schemeClr>
                </a:solidFill>
                <a:latin typeface="+mn-lt"/>
                <a:ea typeface="+mn-ea"/>
                <a:cs typeface="Arial" pitchFamily="34" charset="0"/>
              </a:defRPr>
            </a:lvl2pPr>
            <a:lvl3pPr marL="911955" indent="-227988">
              <a:defRPr lang="en-US" sz="1895" kern="1200" dirty="0" smtClean="0">
                <a:solidFill>
                  <a:schemeClr val="bg2">
                    <a:lumMod val="50000"/>
                  </a:schemeClr>
                </a:solidFill>
                <a:latin typeface="+mn-lt"/>
                <a:ea typeface="+mn-ea"/>
                <a:cs typeface="Arial" pitchFamily="34" charset="0"/>
              </a:defRPr>
            </a:lvl3pPr>
            <a:lvl4pPr marL="1215940" indent="-227988">
              <a:defRPr lang="en-US" sz="1596" kern="1200" dirty="0" smtClean="0">
                <a:solidFill>
                  <a:schemeClr val="bg2">
                    <a:lumMod val="50000"/>
                  </a:schemeClr>
                </a:solidFill>
                <a:latin typeface="+mn-lt"/>
                <a:ea typeface="+mn-ea"/>
                <a:cs typeface="Arial" pitchFamily="34" charset="0"/>
              </a:defRPr>
            </a:lvl4pPr>
            <a:lvl5pPr marL="1443929" indent="-227988">
              <a:defRPr lang="en-US" sz="1596" kern="1200" dirty="0">
                <a:solidFill>
                  <a:schemeClr val="bg2">
                    <a:lumMod val="50000"/>
                  </a:schemeClr>
                </a:solidFill>
                <a:latin typeface="+mn-lt"/>
                <a:ea typeface="+mn-ea"/>
                <a:cs typeface="Arial" pitchFamily="34" charset="0"/>
              </a:defRPr>
            </a:lvl5pPr>
            <a:lvl6pPr>
              <a:defRPr sz="2094"/>
            </a:lvl6pPr>
            <a:lvl7pPr>
              <a:defRPr sz="2094"/>
            </a:lvl7pPr>
            <a:lvl8pPr>
              <a:defRPr sz="2094"/>
            </a:lvl8pPr>
            <a:lvl9pPr>
              <a:defRPr sz="2094"/>
            </a:lvl9pPr>
          </a:lstStyle>
          <a:p>
            <a:pPr lvl="0"/>
            <a:r>
              <a:rPr lang="en-US" smtClean="0"/>
              <a:t>Click to edit Master text styles</a:t>
            </a:r>
          </a:p>
        </p:txBody>
      </p:sp>
    </p:spTree>
    <p:extLst>
      <p:ext uri="{BB962C8B-B14F-4D97-AF65-F5344CB8AC3E}">
        <p14:creationId xmlns:p14="http://schemas.microsoft.com/office/powerpoint/2010/main" val="3252068069"/>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3_Color Block Header on Left &amp; Text on Right ">
    <p:spTree>
      <p:nvGrpSpPr>
        <p:cNvPr id="1" name=""/>
        <p:cNvGrpSpPr/>
        <p:nvPr/>
      </p:nvGrpSpPr>
      <p:grpSpPr>
        <a:xfrm>
          <a:off x="0" y="0"/>
          <a:ext cx="0" cy="0"/>
          <a:chOff x="0" y="0"/>
          <a:chExt cx="0" cy="0"/>
        </a:xfrm>
      </p:grpSpPr>
      <p:sp>
        <p:nvSpPr>
          <p:cNvPr id="2" name="Rectangle 1"/>
          <p:cNvSpPr/>
          <p:nvPr/>
        </p:nvSpPr>
        <p:spPr bwMode="white">
          <a:xfrm>
            <a:off x="-9524" y="0"/>
            <a:ext cx="4499638" cy="6858000"/>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07" tIns="45607" rIns="45607" bIns="45607" numCol="1" spcCol="0" rtlCol="0" fromWordArt="0" anchor="ctr" anchorCtr="0" forceAA="0" compatLnSpc="1">
            <a:prstTxWarp prst="textNoShape">
              <a:avLst/>
            </a:prstTxWarp>
            <a:noAutofit/>
          </a:bodyPr>
          <a:lstStyle/>
          <a:p>
            <a:pPr algn="ctr" defTabSz="911815" fontAlgn="base">
              <a:spcBef>
                <a:spcPct val="0"/>
              </a:spcBef>
              <a:spcAft>
                <a:spcPct val="0"/>
              </a:spcAft>
            </a:pPr>
            <a:endParaRPr lang="en-US" sz="219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700" y="720725"/>
            <a:ext cx="3819289" cy="1687393"/>
          </a:xfrm>
          <a:prstGeom prst="rect">
            <a:avLst/>
          </a:prstGeom>
        </p:spPr>
        <p:txBody>
          <a:bodyPr>
            <a:noAutofit/>
          </a:bodyPr>
          <a:lstStyle>
            <a:lvl1pPr marL="0" indent="0">
              <a:buNone/>
              <a:defRPr sz="3990" b="1" cap="none" spc="-150" baseline="0">
                <a:gradFill>
                  <a:gsLst>
                    <a:gs pos="100000">
                      <a:schemeClr val="bg1"/>
                    </a:gs>
                    <a:gs pos="0">
                      <a:schemeClr val="bg1"/>
                    </a:gs>
                  </a:gsLst>
                  <a:lin ang="5400000" scaled="0"/>
                </a:gradFill>
                <a:latin typeface="Segoe UI Semibold" panose="020B0702040204020203" pitchFamily="34" charset="0"/>
                <a:cs typeface="Segoe UI Semibold" panose="020B0702040204020203" pitchFamily="34" charset="0"/>
              </a:defRPr>
            </a:lvl1pPr>
            <a:lvl2pPr marL="607970" indent="0">
              <a:buNone/>
              <a:defRPr sz="2693" b="1"/>
            </a:lvl2pPr>
            <a:lvl3pPr marL="1215940" indent="0">
              <a:buNone/>
              <a:defRPr sz="2394" b="1"/>
            </a:lvl3pPr>
            <a:lvl4pPr marL="1823910" indent="0">
              <a:buNone/>
              <a:defRPr sz="2094" b="1"/>
            </a:lvl4pPr>
            <a:lvl5pPr marL="2431880" indent="0">
              <a:buNone/>
              <a:defRPr sz="2094" b="1"/>
            </a:lvl5pPr>
            <a:lvl6pPr marL="3039851" indent="0">
              <a:buNone/>
              <a:defRPr sz="2094" b="1"/>
            </a:lvl6pPr>
            <a:lvl7pPr marL="3647820" indent="0">
              <a:buNone/>
              <a:defRPr sz="2094" b="1"/>
            </a:lvl7pPr>
            <a:lvl8pPr marL="4255790" indent="0">
              <a:buNone/>
              <a:defRPr sz="2094" b="1"/>
            </a:lvl8pPr>
            <a:lvl9pPr marL="4863760" indent="0">
              <a:buNone/>
              <a:defRPr sz="2094" b="1"/>
            </a:lvl9pPr>
          </a:lstStyle>
          <a:p>
            <a:pPr lvl="0"/>
            <a:r>
              <a:rPr lang="en-US" dirty="0" smtClean="0"/>
              <a:t>Click to edit Master text styles.</a:t>
            </a:r>
          </a:p>
        </p:txBody>
      </p:sp>
      <p:sp>
        <p:nvSpPr>
          <p:cNvPr id="6" name="Content Placeholder 5"/>
          <p:cNvSpPr>
            <a:spLocks noGrp="1"/>
          </p:cNvSpPr>
          <p:nvPr>
            <p:ph sz="quarter" idx="4"/>
          </p:nvPr>
        </p:nvSpPr>
        <p:spPr>
          <a:xfrm>
            <a:off x="6188150" y="1681907"/>
            <a:ext cx="5484740" cy="332399"/>
          </a:xfrm>
          <a:prstGeom prst="rect">
            <a:avLst/>
          </a:prstGeom>
        </p:spPr>
        <p:txBody>
          <a:bodyPr>
            <a:noAutofit/>
          </a:bodyPr>
          <a:lstStyle>
            <a:lvl1pPr marL="0" indent="0">
              <a:spcBef>
                <a:spcPts val="1197"/>
              </a:spcBef>
              <a:buNone/>
              <a:defRPr lang="en-US" sz="1995" kern="1200" spc="0" dirty="0" smtClean="0">
                <a:gradFill>
                  <a:gsLst>
                    <a:gs pos="100000">
                      <a:schemeClr val="bg2"/>
                    </a:gs>
                    <a:gs pos="0">
                      <a:schemeClr val="bg2"/>
                    </a:gs>
                  </a:gsLst>
                  <a:lin ang="5400000" scaled="0"/>
                </a:gradFill>
                <a:latin typeface="+mn-lt"/>
                <a:ea typeface="+mn-ea"/>
                <a:cs typeface="Segoe UI" pitchFamily="34" charset="0"/>
              </a:defRPr>
            </a:lvl1pPr>
            <a:lvl2pPr marL="911955" indent="-379981">
              <a:defRPr lang="en-US" sz="2094" kern="1200" dirty="0" smtClean="0">
                <a:solidFill>
                  <a:schemeClr val="bg2">
                    <a:lumMod val="50000"/>
                  </a:schemeClr>
                </a:solidFill>
                <a:latin typeface="+mn-lt"/>
                <a:ea typeface="+mn-ea"/>
                <a:cs typeface="Arial" pitchFamily="34" charset="0"/>
              </a:defRPr>
            </a:lvl2pPr>
            <a:lvl3pPr marL="911955" indent="-227988">
              <a:defRPr lang="en-US" sz="1895" kern="1200" dirty="0" smtClean="0">
                <a:solidFill>
                  <a:schemeClr val="bg2">
                    <a:lumMod val="50000"/>
                  </a:schemeClr>
                </a:solidFill>
                <a:latin typeface="+mn-lt"/>
                <a:ea typeface="+mn-ea"/>
                <a:cs typeface="Arial" pitchFamily="34" charset="0"/>
              </a:defRPr>
            </a:lvl3pPr>
            <a:lvl4pPr marL="1215940" indent="-227988">
              <a:defRPr lang="en-US" sz="1596" kern="1200" dirty="0" smtClean="0">
                <a:solidFill>
                  <a:schemeClr val="bg2">
                    <a:lumMod val="50000"/>
                  </a:schemeClr>
                </a:solidFill>
                <a:latin typeface="+mn-lt"/>
                <a:ea typeface="+mn-ea"/>
                <a:cs typeface="Arial" pitchFamily="34" charset="0"/>
              </a:defRPr>
            </a:lvl4pPr>
            <a:lvl5pPr marL="1443929" indent="-227988">
              <a:defRPr lang="en-US" sz="1596" kern="1200" dirty="0">
                <a:solidFill>
                  <a:schemeClr val="bg2">
                    <a:lumMod val="50000"/>
                  </a:schemeClr>
                </a:solidFill>
                <a:latin typeface="+mn-lt"/>
                <a:ea typeface="+mn-ea"/>
                <a:cs typeface="Arial" pitchFamily="34" charset="0"/>
              </a:defRPr>
            </a:lvl5pPr>
            <a:lvl6pPr>
              <a:defRPr sz="2094"/>
            </a:lvl6pPr>
            <a:lvl7pPr>
              <a:defRPr sz="2094"/>
            </a:lvl7pPr>
            <a:lvl8pPr>
              <a:defRPr sz="2094"/>
            </a:lvl8pPr>
            <a:lvl9pPr>
              <a:defRPr sz="2094"/>
            </a:lvl9pPr>
          </a:lstStyle>
          <a:p>
            <a:pPr lvl="0"/>
            <a:r>
              <a:rPr lang="en-US" smtClean="0"/>
              <a:t>Click to edit Master text styles</a:t>
            </a:r>
          </a:p>
        </p:txBody>
      </p:sp>
    </p:spTree>
    <p:extLst>
      <p:ext uri="{BB962C8B-B14F-4D97-AF65-F5344CB8AC3E}">
        <p14:creationId xmlns:p14="http://schemas.microsoft.com/office/powerpoint/2010/main" val="543835287"/>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lor Block text w/Photo on Right">
    <p:spTree>
      <p:nvGrpSpPr>
        <p:cNvPr id="1" name=""/>
        <p:cNvGrpSpPr/>
        <p:nvPr/>
      </p:nvGrpSpPr>
      <p:grpSpPr>
        <a:xfrm>
          <a:off x="0" y="0"/>
          <a:ext cx="0" cy="0"/>
          <a:chOff x="0" y="0"/>
          <a:chExt cx="0" cy="0"/>
        </a:xfrm>
      </p:grpSpPr>
      <p:sp>
        <p:nvSpPr>
          <p:cNvPr id="7" name="Rectangle 6"/>
          <p:cNvSpPr/>
          <p:nvPr/>
        </p:nvSpPr>
        <p:spPr bwMode="white">
          <a:xfrm>
            <a:off x="1" y="0"/>
            <a:ext cx="6219825"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07" tIns="45607" rIns="45607" bIns="45607" numCol="1" spcCol="0" rtlCol="0" fromWordArt="0" anchor="ctr" anchorCtr="0" forceAA="0" compatLnSpc="1">
            <a:prstTxWarp prst="textNoShape">
              <a:avLst/>
            </a:prstTxWarp>
            <a:noAutofit/>
          </a:bodyPr>
          <a:lstStyle/>
          <a:p>
            <a:pPr algn="ctr" defTabSz="911815" fontAlgn="base">
              <a:spcBef>
                <a:spcPct val="0"/>
              </a:spcBef>
              <a:spcAft>
                <a:spcPct val="0"/>
              </a:spcAft>
            </a:pPr>
            <a:endParaRPr lang="en-US" sz="219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701" y="1447801"/>
            <a:ext cx="5433533" cy="1178442"/>
          </a:xfrm>
          <a:prstGeom prst="rect">
            <a:avLst/>
          </a:prstGeom>
        </p:spPr>
        <p:txBody>
          <a:bodyPr>
            <a:noAutofit/>
          </a:bodyPr>
          <a:lstStyle>
            <a:lvl1pPr marL="0" indent="0">
              <a:buNone/>
              <a:defRPr sz="3990" b="0" cap="none" baseline="0">
                <a:gradFill>
                  <a:gsLst>
                    <a:gs pos="100000">
                      <a:schemeClr val="bg1"/>
                    </a:gs>
                    <a:gs pos="0">
                      <a:schemeClr val="bg1"/>
                    </a:gs>
                  </a:gsLst>
                  <a:lin ang="5400000" scaled="0"/>
                </a:gradFill>
                <a:latin typeface="+mj-lt"/>
              </a:defRPr>
            </a:lvl1pPr>
            <a:lvl2pPr marL="607970" indent="0">
              <a:buNone/>
              <a:defRPr sz="2693" b="1"/>
            </a:lvl2pPr>
            <a:lvl3pPr marL="1215940" indent="0">
              <a:buNone/>
              <a:defRPr sz="2394" b="1"/>
            </a:lvl3pPr>
            <a:lvl4pPr marL="1823910" indent="0">
              <a:buNone/>
              <a:defRPr sz="2094" b="1"/>
            </a:lvl4pPr>
            <a:lvl5pPr marL="2431880" indent="0">
              <a:buNone/>
              <a:defRPr sz="2094" b="1"/>
            </a:lvl5pPr>
            <a:lvl6pPr marL="3039851" indent="0">
              <a:buNone/>
              <a:defRPr sz="2094" b="1"/>
            </a:lvl6pPr>
            <a:lvl7pPr marL="3647820" indent="0">
              <a:buNone/>
              <a:defRPr sz="2094" b="1"/>
            </a:lvl7pPr>
            <a:lvl8pPr marL="4255790" indent="0">
              <a:buNone/>
              <a:defRPr sz="2094" b="1"/>
            </a:lvl8pPr>
            <a:lvl9pPr marL="4863760" indent="0">
              <a:buNone/>
              <a:defRPr sz="2094" b="1"/>
            </a:lvl9pPr>
          </a:lstStyle>
          <a:p>
            <a:pPr lvl="0"/>
            <a:r>
              <a:rPr lang="en-US" dirty="0" smtClean="0"/>
              <a:t>Click to edit Master text styles.</a:t>
            </a:r>
          </a:p>
        </p:txBody>
      </p:sp>
      <p:sp>
        <p:nvSpPr>
          <p:cNvPr id="9" name="Content Placeholder 5"/>
          <p:cNvSpPr>
            <a:spLocks noGrp="1"/>
          </p:cNvSpPr>
          <p:nvPr>
            <p:ph sz="quarter" idx="13"/>
          </p:nvPr>
        </p:nvSpPr>
        <p:spPr>
          <a:xfrm>
            <a:off x="520701" y="2734985"/>
            <a:ext cx="5444165" cy="609398"/>
          </a:xfrm>
          <a:prstGeom prst="rect">
            <a:avLst/>
          </a:prstGeom>
        </p:spPr>
        <p:txBody>
          <a:bodyPr>
            <a:noAutofit/>
          </a:bodyPr>
          <a:lstStyle>
            <a:lvl1pPr marL="0" indent="0">
              <a:spcBef>
                <a:spcPts val="1197"/>
              </a:spcBef>
              <a:buFont typeface="Arial" pitchFamily="34" charset="0"/>
              <a:buNone/>
              <a:defRPr lang="en-US" sz="1995" kern="1200" spc="0" dirty="0" smtClean="0">
                <a:gradFill>
                  <a:gsLst>
                    <a:gs pos="100000">
                      <a:schemeClr val="bg1"/>
                    </a:gs>
                    <a:gs pos="0">
                      <a:schemeClr val="bg1"/>
                    </a:gs>
                  </a:gsLst>
                  <a:lin ang="5400000" scaled="0"/>
                </a:gradFill>
                <a:latin typeface="+mn-lt"/>
                <a:ea typeface="+mn-ea"/>
                <a:cs typeface="Segoe UI" pitchFamily="34" charset="0"/>
              </a:defRPr>
            </a:lvl1pPr>
            <a:lvl2pPr marL="911955" indent="-379981">
              <a:defRPr lang="en-US" sz="2094" kern="1200" dirty="0" smtClean="0">
                <a:solidFill>
                  <a:schemeClr val="bg2">
                    <a:lumMod val="50000"/>
                  </a:schemeClr>
                </a:solidFill>
                <a:latin typeface="+mn-lt"/>
                <a:ea typeface="+mn-ea"/>
                <a:cs typeface="Arial" pitchFamily="34" charset="0"/>
              </a:defRPr>
            </a:lvl2pPr>
            <a:lvl3pPr marL="911955" indent="-227988">
              <a:defRPr lang="en-US" sz="1895" kern="1200" dirty="0" smtClean="0">
                <a:solidFill>
                  <a:schemeClr val="bg2">
                    <a:lumMod val="50000"/>
                  </a:schemeClr>
                </a:solidFill>
                <a:latin typeface="+mn-lt"/>
                <a:ea typeface="+mn-ea"/>
                <a:cs typeface="Arial" pitchFamily="34" charset="0"/>
              </a:defRPr>
            </a:lvl3pPr>
            <a:lvl4pPr marL="1215940" indent="-227988">
              <a:defRPr lang="en-US" sz="1596" kern="1200" dirty="0" smtClean="0">
                <a:solidFill>
                  <a:schemeClr val="bg2">
                    <a:lumMod val="50000"/>
                  </a:schemeClr>
                </a:solidFill>
                <a:latin typeface="+mn-lt"/>
                <a:ea typeface="+mn-ea"/>
                <a:cs typeface="Arial" pitchFamily="34" charset="0"/>
              </a:defRPr>
            </a:lvl4pPr>
            <a:lvl5pPr marL="1443929" indent="-227988">
              <a:defRPr lang="en-US" sz="1596" kern="1200" dirty="0">
                <a:solidFill>
                  <a:schemeClr val="bg2">
                    <a:lumMod val="50000"/>
                  </a:schemeClr>
                </a:solidFill>
                <a:latin typeface="+mn-lt"/>
                <a:ea typeface="+mn-ea"/>
                <a:cs typeface="Arial" pitchFamily="34" charset="0"/>
              </a:defRPr>
            </a:lvl5pPr>
            <a:lvl6pPr>
              <a:defRPr sz="2094"/>
            </a:lvl6pPr>
            <a:lvl7pPr>
              <a:defRPr sz="2094"/>
            </a:lvl7pPr>
            <a:lvl8pPr>
              <a:defRPr sz="2094"/>
            </a:lvl8pPr>
            <a:lvl9pPr>
              <a:defRPr sz="2094"/>
            </a:lvl9pPr>
          </a:lstStyle>
          <a:p>
            <a:pPr lvl="0"/>
            <a:r>
              <a:rPr lang="en-US" smtClean="0"/>
              <a:t>Click to edit Master text styles</a:t>
            </a:r>
          </a:p>
        </p:txBody>
      </p:sp>
      <p:sp>
        <p:nvSpPr>
          <p:cNvPr id="4" name="Picture Placeholder 3"/>
          <p:cNvSpPr>
            <a:spLocks noGrp="1"/>
          </p:cNvSpPr>
          <p:nvPr>
            <p:ph type="pic" sz="quarter" idx="14" hasCustomPrompt="1"/>
          </p:nvPr>
        </p:nvSpPr>
        <p:spPr>
          <a:xfrm>
            <a:off x="6208713" y="0"/>
            <a:ext cx="5980112" cy="6858000"/>
          </a:xfrm>
        </p:spPr>
        <p:txBody>
          <a:bodyPr lIns="182880" anchor="ctr"/>
          <a:lstStyle>
            <a:lvl1pPr marL="0" indent="0" algn="l">
              <a:buNone/>
              <a:defRPr/>
            </a:lvl1pPr>
          </a:lstStyle>
          <a:p>
            <a:r>
              <a:rPr lang="en-US" dirty="0" smtClean="0"/>
              <a:t>Click to insert photo.</a:t>
            </a:r>
            <a:endParaRPr lang="en-US" dirty="0"/>
          </a:p>
        </p:txBody>
      </p:sp>
      <p:pic>
        <p:nvPicPr>
          <p:cNvPr id="10" name="Picture 9"/>
          <p:cNvPicPr>
            <a:picLocks noChangeAspect="1"/>
          </p:cNvPicPr>
          <p:nvPr userDrawn="1"/>
        </p:nvPicPr>
        <p:blipFill>
          <a:blip r:embed="rId2"/>
          <a:stretch>
            <a:fillRect/>
          </a:stretch>
        </p:blipFill>
        <p:spPr>
          <a:xfrm>
            <a:off x="10699082" y="6301222"/>
            <a:ext cx="1489745" cy="548317"/>
          </a:xfrm>
          <a:prstGeom prst="rect">
            <a:avLst/>
          </a:prstGeom>
        </p:spPr>
      </p:pic>
    </p:spTree>
    <p:extLst>
      <p:ext uri="{BB962C8B-B14F-4D97-AF65-F5344CB8AC3E}">
        <p14:creationId xmlns:p14="http://schemas.microsoft.com/office/powerpoint/2010/main" val="3579640166"/>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Color Block text w/Photo on Left">
    <p:spTree>
      <p:nvGrpSpPr>
        <p:cNvPr id="1" name=""/>
        <p:cNvGrpSpPr/>
        <p:nvPr/>
      </p:nvGrpSpPr>
      <p:grpSpPr>
        <a:xfrm>
          <a:off x="0" y="0"/>
          <a:ext cx="0" cy="0"/>
          <a:chOff x="0" y="0"/>
          <a:chExt cx="0" cy="0"/>
        </a:xfrm>
      </p:grpSpPr>
      <p:sp>
        <p:nvSpPr>
          <p:cNvPr id="7" name="Rectangle 6"/>
          <p:cNvSpPr/>
          <p:nvPr/>
        </p:nvSpPr>
        <p:spPr bwMode="white">
          <a:xfrm>
            <a:off x="8763990" y="0"/>
            <a:ext cx="3437533"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07" tIns="45607" rIns="45607" bIns="45607" numCol="1" spcCol="0" rtlCol="0" fromWordArt="0" anchor="ctr" anchorCtr="0" forceAA="0" compatLnSpc="1">
            <a:prstTxWarp prst="textNoShape">
              <a:avLst/>
            </a:prstTxWarp>
            <a:noAutofit/>
          </a:bodyPr>
          <a:lstStyle/>
          <a:p>
            <a:pPr algn="ctr" defTabSz="911815" fontAlgn="base">
              <a:spcBef>
                <a:spcPct val="0"/>
              </a:spcBef>
              <a:spcAft>
                <a:spcPct val="0"/>
              </a:spcAft>
            </a:pPr>
            <a:endParaRPr lang="en-US" sz="219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8763990" y="1447801"/>
            <a:ext cx="2887633" cy="1178442"/>
          </a:xfrm>
          <a:prstGeom prst="rect">
            <a:avLst/>
          </a:prstGeom>
        </p:spPr>
        <p:txBody>
          <a:bodyPr>
            <a:noAutofit/>
          </a:bodyPr>
          <a:lstStyle>
            <a:lvl1pPr marL="0" indent="0">
              <a:buNone/>
              <a:defRPr sz="3990" b="0" cap="none" baseline="0">
                <a:gradFill>
                  <a:gsLst>
                    <a:gs pos="100000">
                      <a:schemeClr val="bg1"/>
                    </a:gs>
                    <a:gs pos="0">
                      <a:schemeClr val="bg1"/>
                    </a:gs>
                  </a:gsLst>
                  <a:lin ang="5400000" scaled="0"/>
                </a:gradFill>
                <a:latin typeface="+mj-lt"/>
              </a:defRPr>
            </a:lvl1pPr>
            <a:lvl2pPr marL="607970" indent="0">
              <a:buNone/>
              <a:defRPr sz="2693" b="1"/>
            </a:lvl2pPr>
            <a:lvl3pPr marL="1215940" indent="0">
              <a:buNone/>
              <a:defRPr sz="2394" b="1"/>
            </a:lvl3pPr>
            <a:lvl4pPr marL="1823910" indent="0">
              <a:buNone/>
              <a:defRPr sz="2094" b="1"/>
            </a:lvl4pPr>
            <a:lvl5pPr marL="2431880" indent="0">
              <a:buNone/>
              <a:defRPr sz="2094" b="1"/>
            </a:lvl5pPr>
            <a:lvl6pPr marL="3039851" indent="0">
              <a:buNone/>
              <a:defRPr sz="2094" b="1"/>
            </a:lvl6pPr>
            <a:lvl7pPr marL="3647820" indent="0">
              <a:buNone/>
              <a:defRPr sz="2094" b="1"/>
            </a:lvl7pPr>
            <a:lvl8pPr marL="4255790" indent="0">
              <a:buNone/>
              <a:defRPr sz="2094" b="1"/>
            </a:lvl8pPr>
            <a:lvl9pPr marL="4863760" indent="0">
              <a:buNone/>
              <a:defRPr sz="2094" b="1"/>
            </a:lvl9pPr>
          </a:lstStyle>
          <a:p>
            <a:pPr lvl="0"/>
            <a:r>
              <a:rPr lang="en-US" dirty="0" smtClean="0"/>
              <a:t>Click to edit Master text styles.</a:t>
            </a:r>
          </a:p>
        </p:txBody>
      </p:sp>
      <p:sp>
        <p:nvSpPr>
          <p:cNvPr id="9" name="Content Placeholder 5"/>
          <p:cNvSpPr>
            <a:spLocks noGrp="1"/>
          </p:cNvSpPr>
          <p:nvPr>
            <p:ph sz="quarter" idx="13"/>
          </p:nvPr>
        </p:nvSpPr>
        <p:spPr>
          <a:xfrm>
            <a:off x="8763991" y="3264991"/>
            <a:ext cx="2898266" cy="609398"/>
          </a:xfrm>
          <a:prstGeom prst="rect">
            <a:avLst/>
          </a:prstGeom>
        </p:spPr>
        <p:txBody>
          <a:bodyPr>
            <a:noAutofit/>
          </a:bodyPr>
          <a:lstStyle>
            <a:lvl1pPr marL="0" indent="0">
              <a:spcBef>
                <a:spcPts val="1197"/>
              </a:spcBef>
              <a:buFont typeface="Arial" pitchFamily="34" charset="0"/>
              <a:buNone/>
              <a:defRPr lang="en-US" sz="1995" kern="1200" spc="0" dirty="0" smtClean="0">
                <a:gradFill>
                  <a:gsLst>
                    <a:gs pos="100000">
                      <a:schemeClr val="bg1"/>
                    </a:gs>
                    <a:gs pos="0">
                      <a:schemeClr val="bg1"/>
                    </a:gs>
                  </a:gsLst>
                  <a:lin ang="5400000" scaled="0"/>
                </a:gradFill>
                <a:latin typeface="+mn-lt"/>
                <a:ea typeface="+mn-ea"/>
                <a:cs typeface="Segoe UI" pitchFamily="34" charset="0"/>
              </a:defRPr>
            </a:lvl1pPr>
            <a:lvl2pPr marL="911955" indent="-379981">
              <a:defRPr lang="en-US" sz="2094" kern="1200" dirty="0" smtClean="0">
                <a:solidFill>
                  <a:schemeClr val="bg2">
                    <a:lumMod val="50000"/>
                  </a:schemeClr>
                </a:solidFill>
                <a:latin typeface="+mn-lt"/>
                <a:ea typeface="+mn-ea"/>
                <a:cs typeface="Arial" pitchFamily="34" charset="0"/>
              </a:defRPr>
            </a:lvl2pPr>
            <a:lvl3pPr marL="911955" indent="-227988">
              <a:defRPr lang="en-US" sz="1895" kern="1200" dirty="0" smtClean="0">
                <a:solidFill>
                  <a:schemeClr val="bg2">
                    <a:lumMod val="50000"/>
                  </a:schemeClr>
                </a:solidFill>
                <a:latin typeface="+mn-lt"/>
                <a:ea typeface="+mn-ea"/>
                <a:cs typeface="Arial" pitchFamily="34" charset="0"/>
              </a:defRPr>
            </a:lvl3pPr>
            <a:lvl4pPr marL="1215940" indent="-227988">
              <a:defRPr lang="en-US" sz="1596" kern="1200" dirty="0" smtClean="0">
                <a:solidFill>
                  <a:schemeClr val="bg2">
                    <a:lumMod val="50000"/>
                  </a:schemeClr>
                </a:solidFill>
                <a:latin typeface="+mn-lt"/>
                <a:ea typeface="+mn-ea"/>
                <a:cs typeface="Arial" pitchFamily="34" charset="0"/>
              </a:defRPr>
            </a:lvl4pPr>
            <a:lvl5pPr marL="1443929" indent="-227988">
              <a:defRPr lang="en-US" sz="1596" kern="1200" dirty="0">
                <a:solidFill>
                  <a:schemeClr val="bg2">
                    <a:lumMod val="50000"/>
                  </a:schemeClr>
                </a:solidFill>
                <a:latin typeface="+mn-lt"/>
                <a:ea typeface="+mn-ea"/>
                <a:cs typeface="Arial" pitchFamily="34" charset="0"/>
              </a:defRPr>
            </a:lvl5pPr>
            <a:lvl6pPr>
              <a:defRPr sz="2094"/>
            </a:lvl6pPr>
            <a:lvl7pPr>
              <a:defRPr sz="2094"/>
            </a:lvl7pPr>
            <a:lvl8pPr>
              <a:defRPr sz="2094"/>
            </a:lvl8pPr>
            <a:lvl9pPr>
              <a:defRPr sz="2094"/>
            </a:lvl9pPr>
          </a:lstStyle>
          <a:p>
            <a:pPr lvl="0"/>
            <a:r>
              <a:rPr lang="en-US" dirty="0" smtClean="0"/>
              <a:t>Click to edit Master text styles</a:t>
            </a:r>
          </a:p>
        </p:txBody>
      </p:sp>
      <p:sp>
        <p:nvSpPr>
          <p:cNvPr id="4" name="Picture Placeholder 3"/>
          <p:cNvSpPr>
            <a:spLocks noGrp="1"/>
          </p:cNvSpPr>
          <p:nvPr>
            <p:ph type="pic" sz="quarter" idx="14" hasCustomPrompt="1"/>
          </p:nvPr>
        </p:nvSpPr>
        <p:spPr>
          <a:xfrm>
            <a:off x="661596" y="532563"/>
            <a:ext cx="7966080" cy="6858000"/>
          </a:xfrm>
        </p:spPr>
        <p:txBody>
          <a:bodyPr lIns="182880" anchor="ctr"/>
          <a:lstStyle>
            <a:lvl1pPr marL="0" indent="0" algn="l">
              <a:buNone/>
              <a:defRPr/>
            </a:lvl1pPr>
          </a:lstStyle>
          <a:p>
            <a:r>
              <a:rPr lang="en-US" dirty="0" smtClean="0"/>
              <a:t>Click to insert photo.</a:t>
            </a:r>
            <a:endParaRPr lang="en-US" dirty="0"/>
          </a:p>
        </p:txBody>
      </p:sp>
      <p:pic>
        <p:nvPicPr>
          <p:cNvPr id="35" name="Picture 34"/>
          <p:cNvPicPr>
            <a:picLocks noChangeAspect="1"/>
          </p:cNvPicPr>
          <p:nvPr userDrawn="1"/>
        </p:nvPicPr>
        <p:blipFill>
          <a:blip r:embed="rId2"/>
          <a:stretch>
            <a:fillRect/>
          </a:stretch>
        </p:blipFill>
        <p:spPr>
          <a:xfrm>
            <a:off x="10795674" y="6255100"/>
            <a:ext cx="1269536" cy="501941"/>
          </a:xfrm>
          <a:prstGeom prst="rect">
            <a:avLst/>
          </a:prstGeom>
        </p:spPr>
      </p:pic>
    </p:spTree>
    <p:extLst>
      <p:ext uri="{BB962C8B-B14F-4D97-AF65-F5344CB8AC3E}">
        <p14:creationId xmlns:p14="http://schemas.microsoft.com/office/powerpoint/2010/main" val="1438564139"/>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p:nvSpPr>
        <p:spPr bwMode="white">
          <a:xfrm>
            <a:off x="1" y="857250"/>
            <a:ext cx="12188825" cy="51244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07" tIns="45607" rIns="45607" bIns="45607" numCol="1" spcCol="0" rtlCol="0" fromWordArt="0" anchor="ctr" anchorCtr="0" forceAA="0" compatLnSpc="1">
            <a:prstTxWarp prst="textNoShape">
              <a:avLst/>
            </a:prstTxWarp>
            <a:noAutofit/>
          </a:bodyPr>
          <a:lstStyle/>
          <a:p>
            <a:pPr algn="ctr" defTabSz="911815" fontAlgn="base">
              <a:spcBef>
                <a:spcPct val="0"/>
              </a:spcBef>
              <a:spcAft>
                <a:spcPct val="0"/>
              </a:spcAft>
            </a:pPr>
            <a:endParaRPr lang="en-US" sz="219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Content Placeholder 4"/>
          <p:cNvSpPr>
            <a:spLocks noGrp="1"/>
          </p:cNvSpPr>
          <p:nvPr>
            <p:ph sz="quarter" idx="11" hasCustomPrompt="1"/>
          </p:nvPr>
        </p:nvSpPr>
        <p:spPr>
          <a:xfrm>
            <a:off x="520701" y="1358057"/>
            <a:ext cx="11152188" cy="2863073"/>
          </a:xfrm>
          <a:prstGeom prst="rect">
            <a:avLst/>
          </a:prstGeom>
        </p:spPr>
        <p:txBody>
          <a:bodyPr>
            <a:normAutofit/>
          </a:bodyPr>
          <a:lstStyle>
            <a:lvl1pPr marL="0" indent="0">
              <a:lnSpc>
                <a:spcPct val="90000"/>
              </a:lnSpc>
              <a:buNone/>
              <a:defRPr sz="6384">
                <a:gradFill>
                  <a:gsLst>
                    <a:gs pos="100000">
                      <a:schemeClr val="bg1"/>
                    </a:gs>
                    <a:gs pos="0">
                      <a:schemeClr val="bg1"/>
                    </a:gs>
                  </a:gsLst>
                  <a:lin ang="5400000" scaled="0"/>
                </a:gradFill>
                <a:latin typeface="+mj-lt"/>
              </a:defRPr>
            </a:lvl1pPr>
            <a:lvl2pPr>
              <a:defRPr sz="6384">
                <a:solidFill>
                  <a:schemeClr val="tx2"/>
                </a:solidFill>
                <a:latin typeface="+mn-lt"/>
              </a:defRPr>
            </a:lvl2pPr>
          </a:lstStyle>
          <a:p>
            <a:pPr lvl="0"/>
            <a:r>
              <a:rPr lang="en-US" dirty="0" smtClean="0"/>
              <a:t>“Click to edit Master text styles”</a:t>
            </a:r>
          </a:p>
        </p:txBody>
      </p:sp>
      <p:sp>
        <p:nvSpPr>
          <p:cNvPr id="10" name="Slide Number Placeholder 9"/>
          <p:cNvSpPr>
            <a:spLocks noGrp="1"/>
          </p:cNvSpPr>
          <p:nvPr>
            <p:ph type="sldNum" sz="quarter" idx="12"/>
          </p:nvPr>
        </p:nvSpPr>
        <p:spPr>
          <a:xfrm>
            <a:off x="520701" y="6399557"/>
            <a:ext cx="560686" cy="219456"/>
          </a:xfrm>
          <a:prstGeom prst="rect">
            <a:avLst/>
          </a:prstGeom>
        </p:spPr>
        <p:txBody>
          <a:bodyPr lIns="121899" tIns="60949" rIns="121899" bIns="60949" anchor="ctr"/>
          <a:lstStyle>
            <a:lvl1pPr algn="l">
              <a:defRPr sz="1596">
                <a:gradFill>
                  <a:gsLst>
                    <a:gs pos="100000">
                      <a:schemeClr val="bg2"/>
                    </a:gs>
                    <a:gs pos="0">
                      <a:schemeClr val="bg2"/>
                    </a:gs>
                  </a:gsLst>
                  <a:lin ang="5400000" scaled="0"/>
                </a:gradFill>
              </a:defRPr>
            </a:lvl1pPr>
          </a:lstStyle>
          <a:p>
            <a:pPr defTabSz="912115"/>
            <a:fld id="{727B4C2D-45E2-4621-8491-2995EB46A674}" type="slidenum">
              <a:rPr lang="en-US" smtClean="0">
                <a:gradFill>
                  <a:gsLst>
                    <a:gs pos="100000">
                      <a:srgbClr val="797A7D"/>
                    </a:gs>
                    <a:gs pos="0">
                      <a:srgbClr val="797A7D"/>
                    </a:gs>
                  </a:gsLst>
                  <a:lin ang="5400000" scaled="0"/>
                </a:gradFill>
              </a:rPr>
              <a:pPr defTabSz="912115"/>
              <a:t>‹#›</a:t>
            </a:fld>
            <a:endParaRPr lang="en-US" dirty="0">
              <a:gradFill>
                <a:gsLst>
                  <a:gs pos="100000">
                    <a:srgbClr val="797A7D"/>
                  </a:gs>
                  <a:gs pos="0">
                    <a:srgbClr val="797A7D"/>
                  </a:gs>
                </a:gsLst>
                <a:lin ang="5400000" scaled="0"/>
              </a:gradFill>
            </a:endParaRPr>
          </a:p>
        </p:txBody>
      </p:sp>
      <p:sp>
        <p:nvSpPr>
          <p:cNvPr id="11" name="Content Placeholder 4"/>
          <p:cNvSpPr>
            <a:spLocks noGrp="1"/>
          </p:cNvSpPr>
          <p:nvPr>
            <p:ph sz="quarter" idx="13"/>
          </p:nvPr>
        </p:nvSpPr>
        <p:spPr>
          <a:xfrm>
            <a:off x="520701" y="4343404"/>
            <a:ext cx="11152188" cy="470747"/>
          </a:xfrm>
          <a:prstGeom prst="rect">
            <a:avLst/>
          </a:prstGeom>
        </p:spPr>
        <p:txBody>
          <a:bodyPr>
            <a:normAutofit/>
          </a:bodyPr>
          <a:lstStyle>
            <a:lvl1pPr marL="0" indent="0">
              <a:lnSpc>
                <a:spcPct val="90000"/>
              </a:lnSpc>
              <a:buNone/>
              <a:defRPr sz="3591">
                <a:gradFill>
                  <a:gsLst>
                    <a:gs pos="100000">
                      <a:schemeClr val="bg1"/>
                    </a:gs>
                    <a:gs pos="0">
                      <a:schemeClr val="bg1"/>
                    </a:gs>
                  </a:gsLst>
                  <a:lin ang="5400000" scaled="0"/>
                </a:gradFill>
                <a:latin typeface="+mj-lt"/>
              </a:defRPr>
            </a:lvl1pPr>
            <a:lvl2pPr>
              <a:defRPr sz="6384">
                <a:solidFill>
                  <a:schemeClr val="tx2"/>
                </a:solidFill>
                <a:latin typeface="+mn-lt"/>
              </a:defRPr>
            </a:lvl2pPr>
          </a:lstStyle>
          <a:p>
            <a:pPr lvl="0"/>
            <a:r>
              <a:rPr lang="en-US" smtClean="0"/>
              <a:t>Click to edit Master text styles</a:t>
            </a:r>
          </a:p>
        </p:txBody>
      </p:sp>
      <p:pic>
        <p:nvPicPr>
          <p:cNvPr id="7" name="Picture 6"/>
          <p:cNvPicPr>
            <a:picLocks noChangeAspect="1"/>
          </p:cNvPicPr>
          <p:nvPr userDrawn="1"/>
        </p:nvPicPr>
        <p:blipFill>
          <a:blip r:embed="rId2"/>
          <a:stretch>
            <a:fillRect/>
          </a:stretch>
        </p:blipFill>
        <p:spPr>
          <a:xfrm>
            <a:off x="10699082" y="6301222"/>
            <a:ext cx="1489745" cy="548317"/>
          </a:xfrm>
          <a:prstGeom prst="rect">
            <a:avLst/>
          </a:prstGeom>
        </p:spPr>
      </p:pic>
    </p:spTree>
    <p:extLst>
      <p:ext uri="{BB962C8B-B14F-4D97-AF65-F5344CB8AC3E}">
        <p14:creationId xmlns:p14="http://schemas.microsoft.com/office/powerpoint/2010/main" val="205628811"/>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3567919720"/>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0195553"/>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dirty="0" smtClean="0"/>
              <a:t>Slide for Developer Code</a:t>
            </a:r>
            <a:endParaRPr lang="en-US" dirty="0"/>
          </a:p>
        </p:txBody>
      </p:sp>
      <p:sp>
        <p:nvSpPr>
          <p:cNvPr id="3" name="Rectangle 2"/>
          <p:cNvSpPr/>
          <p:nvPr/>
        </p:nvSpPr>
        <p:spPr bwMode="hidden">
          <a:xfrm>
            <a:off x="1" y="1155940"/>
            <a:ext cx="12188825"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07" tIns="45607" rIns="45607" bIns="45607" numCol="1" spcCol="0" rtlCol="0" fromWordArt="0" anchor="ctr" anchorCtr="0" forceAA="0" compatLnSpc="1">
            <a:prstTxWarp prst="textNoShape">
              <a:avLst/>
            </a:prstTxWarp>
            <a:noAutofit/>
          </a:bodyPr>
          <a:lstStyle/>
          <a:p>
            <a:pPr algn="ctr" defTabSz="911815" fontAlgn="base">
              <a:spcBef>
                <a:spcPct val="0"/>
              </a:spcBef>
              <a:spcAft>
                <a:spcPct val="0"/>
              </a:spcAft>
            </a:pPr>
            <a:endParaRPr lang="en-US" sz="1795"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18319" y="1447804"/>
            <a:ext cx="11152188" cy="1988237"/>
          </a:xfrm>
        </p:spPr>
        <p:txBody>
          <a:bodyPr/>
          <a:lstStyle>
            <a:lvl1pPr marL="0" indent="0">
              <a:lnSpc>
                <a:spcPct val="95000"/>
              </a:lnSpc>
              <a:buNone/>
              <a:defRPr sz="3192">
                <a:gradFill>
                  <a:gsLst>
                    <a:gs pos="1250">
                      <a:srgbClr val="000000"/>
                    </a:gs>
                    <a:gs pos="100000">
                      <a:srgbClr val="000000"/>
                    </a:gs>
                  </a:gsLst>
                  <a:lin ang="5400000" scaled="0"/>
                </a:gradFill>
                <a:latin typeface="Consolas" pitchFamily="49" charset="0"/>
                <a:cs typeface="Consolas" pitchFamily="49" charset="0"/>
              </a:defRPr>
            </a:lvl1pPr>
            <a:lvl2pPr marL="338876"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71656"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796517"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2771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40362180"/>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701" y="228604"/>
            <a:ext cx="11152188" cy="664797"/>
          </a:xfrm>
        </p:spPr>
        <p:txBody>
          <a:bodyPr/>
          <a:lstStyle>
            <a:lvl1pPr>
              <a:defRPr sz="4788"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113" y="1447799"/>
            <a:ext cx="11149013" cy="2043636"/>
          </a:xfrm>
          <a:prstGeom prst="rect">
            <a:avLst/>
          </a:prstGeom>
        </p:spPr>
        <p:txBody>
          <a:bodyPr/>
          <a:lstStyle>
            <a:lvl1pPr marL="342043" indent="-34204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7078" indent="-28503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2115" indent="-28503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0143" indent="-228028">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68172" indent="-228028">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80"/>
            <a:ext cx="12188826"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591"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574106858"/>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lor Block Header&amp; Subtext">
    <p:spTree>
      <p:nvGrpSpPr>
        <p:cNvPr id="1" name=""/>
        <p:cNvGrpSpPr/>
        <p:nvPr/>
      </p:nvGrpSpPr>
      <p:grpSpPr>
        <a:xfrm>
          <a:off x="0" y="0"/>
          <a:ext cx="0" cy="0"/>
          <a:chOff x="0" y="0"/>
          <a:chExt cx="0" cy="0"/>
        </a:xfrm>
      </p:grpSpPr>
      <p:sp>
        <p:nvSpPr>
          <p:cNvPr id="2" name="Rectangle 1"/>
          <p:cNvSpPr/>
          <p:nvPr/>
        </p:nvSpPr>
        <p:spPr bwMode="white">
          <a:xfrm>
            <a:off x="-9524" y="-14514"/>
            <a:ext cx="4733923" cy="696141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ctr" defTabSz="911815" fontAlgn="base">
              <a:spcBef>
                <a:spcPct val="0"/>
              </a:spcBef>
              <a:spcAft>
                <a:spcPct val="0"/>
              </a:spcAft>
            </a:pPr>
            <a:endParaRPr lang="en-US" sz="219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12075" y="-74571"/>
            <a:ext cx="4030896" cy="1816287"/>
          </a:xfrm>
          <a:prstGeom prst="rect">
            <a:avLst/>
          </a:prstGeom>
        </p:spPr>
        <p:txBody>
          <a:bodyPr anchor="b" anchorCtr="0">
            <a:noAutofit/>
          </a:bodyPr>
          <a:lstStyle>
            <a:lvl1pPr marL="0" indent="0">
              <a:lnSpc>
                <a:spcPts val="3800"/>
              </a:lnSpc>
              <a:spcBef>
                <a:spcPts val="0"/>
              </a:spcBef>
              <a:buNone/>
              <a:defRPr sz="3600" b="0" cap="none" spc="-150" baseline="0">
                <a:gradFill>
                  <a:gsLst>
                    <a:gs pos="100000">
                      <a:schemeClr val="bg1"/>
                    </a:gs>
                    <a:gs pos="0">
                      <a:schemeClr val="bg1"/>
                    </a:gs>
                  </a:gsLst>
                  <a:lin ang="5400000" scaled="0"/>
                </a:gradFill>
                <a:latin typeface="Segoe UI Semibold" panose="020B0702040204020203" pitchFamily="34" charset="0"/>
                <a:cs typeface="Segoe UI Semibold" panose="020B0702040204020203" pitchFamily="34" charset="0"/>
              </a:defRPr>
            </a:lvl1pPr>
            <a:lvl2pPr marL="607970" indent="0">
              <a:buNone/>
              <a:defRPr sz="2693" b="1"/>
            </a:lvl2pPr>
            <a:lvl3pPr marL="1215940" indent="0">
              <a:buNone/>
              <a:defRPr sz="2394" b="1"/>
            </a:lvl3pPr>
            <a:lvl4pPr marL="1823910" indent="0">
              <a:buNone/>
              <a:defRPr sz="2094" b="1"/>
            </a:lvl4pPr>
            <a:lvl5pPr marL="2431880" indent="0">
              <a:buNone/>
              <a:defRPr sz="2094" b="1"/>
            </a:lvl5pPr>
            <a:lvl6pPr marL="3039851" indent="0">
              <a:buNone/>
              <a:defRPr sz="2094" b="1"/>
            </a:lvl6pPr>
            <a:lvl7pPr marL="3647820" indent="0">
              <a:buNone/>
              <a:defRPr sz="2094" b="1"/>
            </a:lvl7pPr>
            <a:lvl8pPr marL="4255790" indent="0">
              <a:buNone/>
              <a:defRPr sz="2094" b="1"/>
            </a:lvl8pPr>
            <a:lvl9pPr marL="4863760" indent="0">
              <a:buNone/>
              <a:defRPr sz="2094" b="1"/>
            </a:lvl9pPr>
          </a:lstStyle>
          <a:p>
            <a:pPr lvl="0"/>
            <a:r>
              <a:rPr lang="en-US" dirty="0" smtClean="0"/>
              <a:t>Click to edit Master text styles.</a:t>
            </a:r>
          </a:p>
        </p:txBody>
      </p:sp>
      <p:sp>
        <p:nvSpPr>
          <p:cNvPr id="7" name="Text Placeholder 6"/>
          <p:cNvSpPr>
            <a:spLocks noGrp="1"/>
          </p:cNvSpPr>
          <p:nvPr>
            <p:ph type="body" sz="quarter" idx="10"/>
          </p:nvPr>
        </p:nvSpPr>
        <p:spPr>
          <a:xfrm>
            <a:off x="532922" y="2394855"/>
            <a:ext cx="3589135" cy="4336143"/>
          </a:xfrm>
        </p:spPr>
        <p:txBody>
          <a:bodyPr/>
          <a:lstStyle>
            <a:lvl1pPr marL="0" indent="0">
              <a:lnSpc>
                <a:spcPts val="2200"/>
              </a:lnSpc>
              <a:spcBef>
                <a:spcPts val="0"/>
              </a:spcBef>
              <a:spcAft>
                <a:spcPts val="1200"/>
              </a:spcAft>
              <a:buNone/>
              <a:defRPr sz="2100" spc="0" baseline="0">
                <a:solidFill>
                  <a:schemeClr val="bg1"/>
                </a:solidFill>
                <a:latin typeface="+mj-lt"/>
              </a:defRPr>
            </a:lvl1pPr>
            <a:lvl2pPr marL="0" indent="0">
              <a:lnSpc>
                <a:spcPts val="2200"/>
              </a:lnSpc>
              <a:spcBef>
                <a:spcPts val="0"/>
              </a:spcBef>
              <a:spcAft>
                <a:spcPts val="1200"/>
              </a:spcAft>
              <a:buNone/>
              <a:defRPr sz="2100" spc="0" baseline="0">
                <a:solidFill>
                  <a:schemeClr val="bg1"/>
                </a:solidFill>
                <a:latin typeface="+mj-lt"/>
              </a:defRPr>
            </a:lvl2pPr>
            <a:lvl3pPr marL="0" indent="0">
              <a:lnSpc>
                <a:spcPts val="2200"/>
              </a:lnSpc>
              <a:spcBef>
                <a:spcPts val="0"/>
              </a:spcBef>
              <a:spcAft>
                <a:spcPts val="1200"/>
              </a:spcAft>
              <a:buNone/>
              <a:defRPr sz="2100" spc="0" baseline="0">
                <a:solidFill>
                  <a:schemeClr val="bg1"/>
                </a:solidFill>
                <a:latin typeface="+mj-lt"/>
              </a:defRPr>
            </a:lvl3pPr>
            <a:lvl4pPr marL="0" indent="0">
              <a:lnSpc>
                <a:spcPts val="2200"/>
              </a:lnSpc>
              <a:spcBef>
                <a:spcPts val="0"/>
              </a:spcBef>
              <a:spcAft>
                <a:spcPts val="1200"/>
              </a:spcAft>
              <a:buNone/>
              <a:defRPr sz="2100" spc="0" baseline="0">
                <a:solidFill>
                  <a:schemeClr val="bg1"/>
                </a:solidFill>
                <a:latin typeface="+mj-lt"/>
              </a:defRPr>
            </a:lvl4pPr>
            <a:lvl5pPr marL="0" indent="0">
              <a:lnSpc>
                <a:spcPts val="2200"/>
              </a:lnSpc>
              <a:spcBef>
                <a:spcPts val="0"/>
              </a:spcBef>
              <a:spcAft>
                <a:spcPts val="1200"/>
              </a:spcAft>
              <a:buNone/>
              <a:defRPr sz="2100" spc="0" baseline="0">
                <a:solidFill>
                  <a:schemeClr val="bg1"/>
                </a:solidFill>
                <a:latin typeface="+mj-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729377796"/>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4"/>
            <a:ext cx="11149013" cy="66638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0" indent="0">
              <a:spcBef>
                <a:spcPts val="0"/>
              </a:spcBef>
              <a:spcAft>
                <a:spcPts val="898"/>
              </a:spcAft>
              <a:buNone/>
              <a:defRPr sz="3990" spc="-100" baseline="0">
                <a:latin typeface="Segoe UI Light" pitchFamily="34" charset="0"/>
              </a:defRPr>
            </a:lvl1pPr>
            <a:lvl2pPr marL="0" indent="0">
              <a:spcBef>
                <a:spcPts val="0"/>
              </a:spcBef>
              <a:spcAft>
                <a:spcPts val="399"/>
              </a:spcAft>
              <a:buNone/>
              <a:defRPr sz="1995" spc="-50" baseline="0"/>
            </a:lvl2pPr>
            <a:lvl3pPr marL="0" indent="0">
              <a:spcBef>
                <a:spcPts val="0"/>
              </a:spcBef>
              <a:spcAft>
                <a:spcPts val="399"/>
              </a:spcAft>
              <a:buNone/>
              <a:defRPr sz="1995"/>
            </a:lvl3pPr>
            <a:lvl4pPr marL="0" indent="0">
              <a:spcBef>
                <a:spcPts val="0"/>
              </a:spcBef>
              <a:spcAft>
                <a:spcPts val="399"/>
              </a:spcAft>
              <a:buNone/>
              <a:defRPr/>
            </a:lvl4pPr>
            <a:lvl5pPr marL="0" indent="0">
              <a:spcBef>
                <a:spcPts val="0"/>
              </a:spcBef>
              <a:spcAft>
                <a:spcPts val="399"/>
              </a:spcAft>
              <a:buNone/>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62392741"/>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422276" y="1239664"/>
            <a:ext cx="5570564" cy="346248"/>
          </a:xfrm>
        </p:spPr>
        <p:txBody>
          <a:bodyPr anchor="b"/>
          <a:lstStyle>
            <a:lvl1pPr marL="0" indent="0">
              <a:lnSpc>
                <a:spcPct val="90000"/>
              </a:lnSpc>
              <a:spcBef>
                <a:spcPts val="0"/>
              </a:spcBef>
              <a:buNone/>
              <a:defRPr sz="2494" b="0">
                <a:latin typeface="Segoe UI Semibold" pitchFamily="34" charset="0"/>
              </a:defRPr>
            </a:lvl1pPr>
            <a:lvl2pPr marL="456072" indent="0">
              <a:buNone/>
              <a:defRPr sz="1995" b="1"/>
            </a:lvl2pPr>
            <a:lvl3pPr marL="912145" indent="0">
              <a:buNone/>
              <a:defRPr sz="1829" b="1"/>
            </a:lvl3pPr>
            <a:lvl4pPr marL="1368216" indent="0">
              <a:buNone/>
              <a:defRPr sz="1580" b="1"/>
            </a:lvl4pPr>
            <a:lvl5pPr marL="1824291" indent="0">
              <a:buNone/>
              <a:defRPr sz="1580" b="1"/>
            </a:lvl5pPr>
            <a:lvl6pPr marL="2280363" indent="0">
              <a:buNone/>
              <a:defRPr sz="1580" b="1"/>
            </a:lvl6pPr>
            <a:lvl7pPr marL="2736435" indent="0">
              <a:buNone/>
              <a:defRPr sz="1580" b="1"/>
            </a:lvl7pPr>
            <a:lvl8pPr marL="3192507" indent="0">
              <a:buNone/>
              <a:defRPr sz="1580" b="1"/>
            </a:lvl8pPr>
            <a:lvl9pPr marL="3648579" indent="0">
              <a:buNone/>
              <a:defRPr sz="1580" b="1"/>
            </a:lvl9pPr>
          </a:lstStyle>
          <a:p>
            <a:pPr lvl="0"/>
            <a:r>
              <a:rPr lang="en-US" smtClean="0"/>
              <a:t>Click to edit Master text styles</a:t>
            </a:r>
          </a:p>
        </p:txBody>
      </p:sp>
      <p:sp>
        <p:nvSpPr>
          <p:cNvPr id="4" name="Content Placeholder 3"/>
          <p:cNvSpPr>
            <a:spLocks noGrp="1"/>
          </p:cNvSpPr>
          <p:nvPr>
            <p:ph sz="half" idx="2"/>
          </p:nvPr>
        </p:nvSpPr>
        <p:spPr>
          <a:xfrm>
            <a:off x="411056" y="1905000"/>
            <a:ext cx="5581783" cy="1394228"/>
          </a:xfrm>
        </p:spPr>
        <p:txBody>
          <a:bodyPr/>
          <a:lstStyle>
            <a:lvl1pPr marL="281086" indent="-281086">
              <a:defRPr sz="1995"/>
            </a:lvl1pPr>
            <a:lvl2pPr marL="560853" indent="-265251">
              <a:defRPr sz="1829"/>
            </a:lvl2pPr>
            <a:lvl3pPr marL="811589" indent="-242816">
              <a:defRPr sz="1580"/>
            </a:lvl3pPr>
            <a:lvl4pPr marL="1047806" indent="-228301">
              <a:defRPr sz="1580"/>
            </a:lvl4pPr>
            <a:lvl5pPr marL="1276106" indent="-205867">
              <a:defRPr sz="1580"/>
            </a:lvl5pPr>
            <a:lvl6pPr>
              <a:defRPr sz="1580"/>
            </a:lvl6pPr>
            <a:lvl7pPr>
              <a:defRPr sz="1580"/>
            </a:lvl7pPr>
            <a:lvl8pPr>
              <a:defRPr sz="1580"/>
            </a:lvl8pPr>
            <a:lvl9pPr>
              <a:defRPr sz="158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239664"/>
            <a:ext cx="5638800" cy="346248"/>
          </a:xfrm>
        </p:spPr>
        <p:txBody>
          <a:bodyPr anchor="b"/>
          <a:lstStyle>
            <a:lvl1pPr marL="0" indent="0">
              <a:lnSpc>
                <a:spcPct val="90000"/>
              </a:lnSpc>
              <a:spcBef>
                <a:spcPts val="0"/>
              </a:spcBef>
              <a:buNone/>
              <a:defRPr sz="2494" b="1"/>
            </a:lvl1pPr>
            <a:lvl2pPr marL="456072" indent="0">
              <a:buNone/>
              <a:defRPr sz="1995" b="1"/>
            </a:lvl2pPr>
            <a:lvl3pPr marL="912145" indent="0">
              <a:buNone/>
              <a:defRPr sz="1829" b="1"/>
            </a:lvl3pPr>
            <a:lvl4pPr marL="1368216" indent="0">
              <a:buNone/>
              <a:defRPr sz="1580" b="1"/>
            </a:lvl4pPr>
            <a:lvl5pPr marL="1824291" indent="0">
              <a:buNone/>
              <a:defRPr sz="1580" b="1"/>
            </a:lvl5pPr>
            <a:lvl6pPr marL="2280363" indent="0">
              <a:buNone/>
              <a:defRPr sz="1580" b="1"/>
            </a:lvl6pPr>
            <a:lvl7pPr marL="2736435" indent="0">
              <a:buNone/>
              <a:defRPr sz="1580" b="1"/>
            </a:lvl7pPr>
            <a:lvl8pPr marL="3192507" indent="0">
              <a:buNone/>
              <a:defRPr sz="1580" b="1"/>
            </a:lvl8pPr>
            <a:lvl9pPr marL="3648579" indent="0">
              <a:buNone/>
              <a:defRPr sz="1580" b="1"/>
            </a:lvl9pPr>
          </a:lstStyle>
          <a:p>
            <a:pPr lvl="0"/>
            <a:r>
              <a:rPr lang="en-US" smtClean="0"/>
              <a:t>Click to edit Master text styles</a:t>
            </a:r>
          </a:p>
        </p:txBody>
      </p:sp>
      <p:sp>
        <p:nvSpPr>
          <p:cNvPr id="6" name="Content Placeholder 5"/>
          <p:cNvSpPr>
            <a:spLocks noGrp="1"/>
          </p:cNvSpPr>
          <p:nvPr>
            <p:ph sz="quarter" idx="4"/>
          </p:nvPr>
        </p:nvSpPr>
        <p:spPr>
          <a:xfrm>
            <a:off x="6181727" y="1905001"/>
            <a:ext cx="5608493" cy="1394228"/>
          </a:xfrm>
        </p:spPr>
        <p:txBody>
          <a:bodyPr/>
          <a:lstStyle>
            <a:lvl1pPr marL="295602" indent="-295602">
              <a:defRPr sz="1995"/>
            </a:lvl1pPr>
            <a:lvl2pPr marL="568771" indent="-273169">
              <a:defRPr sz="1829"/>
            </a:lvl2pPr>
            <a:lvl3pPr marL="819505" indent="-244136">
              <a:defRPr sz="1580"/>
            </a:lvl3pPr>
            <a:lvl4pPr marL="1047806" indent="-236219">
              <a:defRPr sz="1580"/>
            </a:lvl4pPr>
            <a:lvl5pPr marL="1276106" indent="-220383">
              <a:defRPr sz="1580"/>
            </a:lvl5pPr>
            <a:lvl6pPr>
              <a:defRPr sz="1580"/>
            </a:lvl6pPr>
            <a:lvl7pPr>
              <a:defRPr sz="1580"/>
            </a:lvl7pPr>
            <a:lvl8pPr>
              <a:defRPr sz="1580"/>
            </a:lvl8pPr>
            <a:lvl9pPr>
              <a:defRPr sz="158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2" cstate="email">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10590215" y="6344945"/>
            <a:ext cx="1371600" cy="436856"/>
          </a:xfrm>
          <a:prstGeom prst="rect">
            <a:avLst/>
          </a:prstGeom>
        </p:spPr>
      </p:pic>
    </p:spTree>
    <p:extLst>
      <p:ext uri="{BB962C8B-B14F-4D97-AF65-F5344CB8AC3E}">
        <p14:creationId xmlns:p14="http://schemas.microsoft.com/office/powerpoint/2010/main" val="3441061592"/>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611188" y="1449390"/>
            <a:ext cx="5397500" cy="1742015"/>
          </a:xfrm>
          <a:prstGeom prst="rect">
            <a:avLst/>
          </a:prstGeom>
        </p:spPr>
        <p:txBody>
          <a:bodyPr/>
          <a:lstStyle>
            <a:lvl1pPr marL="228097" indent="-228097">
              <a:lnSpc>
                <a:spcPct val="90000"/>
              </a:lnSpc>
              <a:defRPr sz="2794">
                <a:latin typeface="Segoe UI" pitchFamily="34" charset="0"/>
              </a:defRPr>
            </a:lvl1pPr>
            <a:lvl2pPr marL="456194" indent="-228097">
              <a:lnSpc>
                <a:spcPct val="90000"/>
              </a:lnSpc>
              <a:defRPr sz="2395"/>
            </a:lvl2pPr>
            <a:lvl3pPr marL="684291" indent="-228097">
              <a:lnSpc>
                <a:spcPct val="90000"/>
              </a:lnSpc>
              <a:defRPr sz="1996"/>
            </a:lvl3pPr>
            <a:lvl4pPr marL="912388" indent="-228097">
              <a:lnSpc>
                <a:spcPct val="90000"/>
              </a:lnSpc>
              <a:defRPr sz="1796"/>
            </a:lvl4pPr>
            <a:lvl5pPr marL="1089797" indent="-177409">
              <a:lnSpc>
                <a:spcPct val="90000"/>
              </a:lnSpc>
              <a:defRPr sz="1796"/>
            </a:lvl5pPr>
            <a:lvl6pPr>
              <a:defRPr sz="1796"/>
            </a:lvl6pPr>
            <a:lvl7pPr>
              <a:defRPr sz="1796"/>
            </a:lvl7pPr>
            <a:lvl8pPr>
              <a:defRPr sz="1796"/>
            </a:lvl8pPr>
            <a:lvl9pPr>
              <a:defRPr sz="1796"/>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6173414" y="1449390"/>
            <a:ext cx="5399087" cy="1742015"/>
          </a:xfrm>
          <a:prstGeom prst="rect">
            <a:avLst/>
          </a:prstGeom>
        </p:spPr>
        <p:txBody>
          <a:bodyPr/>
          <a:lstStyle>
            <a:lvl1pPr marL="228097" indent="-228097">
              <a:lnSpc>
                <a:spcPct val="90000"/>
              </a:lnSpc>
              <a:defRPr sz="2794">
                <a:latin typeface="Segoe UI" pitchFamily="34" charset="0"/>
              </a:defRPr>
            </a:lvl1pPr>
            <a:lvl2pPr marL="456194" indent="-228097">
              <a:lnSpc>
                <a:spcPct val="90000"/>
              </a:lnSpc>
              <a:defRPr sz="2395"/>
            </a:lvl2pPr>
            <a:lvl3pPr marL="684291" indent="-228097">
              <a:lnSpc>
                <a:spcPct val="90000"/>
              </a:lnSpc>
              <a:defRPr sz="1996"/>
            </a:lvl3pPr>
            <a:lvl4pPr marL="912388" indent="-228097">
              <a:lnSpc>
                <a:spcPct val="90000"/>
              </a:lnSpc>
              <a:defRPr sz="1796"/>
            </a:lvl4pPr>
            <a:lvl5pPr marL="1089797" indent="-177409">
              <a:lnSpc>
                <a:spcPct val="90000"/>
              </a:lnSpc>
              <a:defRPr sz="1796"/>
            </a:lvl5pPr>
            <a:lvl6pPr>
              <a:defRPr sz="1796"/>
            </a:lvl6pPr>
            <a:lvl7pPr>
              <a:defRPr sz="1796"/>
            </a:lvl7pPr>
            <a:lvl8pPr>
              <a:defRPr sz="1796"/>
            </a:lvl8pPr>
            <a:lvl9pPr>
              <a:defRPr sz="1796"/>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080944982"/>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2278" y="436565"/>
            <a:ext cx="11398250" cy="450123"/>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422278" y="1198565"/>
            <a:ext cx="11398250" cy="133780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4" name="Picture 3"/>
          <p:cNvPicPr>
            <a:picLocks noChangeAspect="1"/>
          </p:cNvPicPr>
          <p:nvPr userDrawn="1"/>
        </p:nvPicPr>
        <p:blipFill>
          <a:blip r:embed="rId2" cstate="screen">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10590213" y="6344945"/>
            <a:ext cx="1371600" cy="436856"/>
          </a:xfrm>
          <a:prstGeom prst="rect">
            <a:avLst/>
          </a:prstGeom>
        </p:spPr>
      </p:pic>
    </p:spTree>
    <p:extLst>
      <p:ext uri="{BB962C8B-B14F-4D97-AF65-F5344CB8AC3E}">
        <p14:creationId xmlns:p14="http://schemas.microsoft.com/office/powerpoint/2010/main" val="892953727"/>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cSld name="2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85666986"/>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cSld name="2_Content w/Photo on Right">
    <p:spTree>
      <p:nvGrpSpPr>
        <p:cNvPr id="1" name=""/>
        <p:cNvGrpSpPr/>
        <p:nvPr/>
      </p:nvGrpSpPr>
      <p:grpSpPr>
        <a:xfrm>
          <a:off x="0" y="0"/>
          <a:ext cx="0" cy="0"/>
          <a:chOff x="0" y="0"/>
          <a:chExt cx="0" cy="0"/>
        </a:xfrm>
      </p:grpSpPr>
      <p:sp>
        <p:nvSpPr>
          <p:cNvPr id="4" name="Picture Placeholder 3"/>
          <p:cNvSpPr>
            <a:spLocks noGrp="1"/>
          </p:cNvSpPr>
          <p:nvPr>
            <p:ph type="pic" sz="quarter" idx="14" hasCustomPrompt="1"/>
          </p:nvPr>
        </p:nvSpPr>
        <p:spPr>
          <a:xfrm>
            <a:off x="6208715" y="3319887"/>
            <a:ext cx="5980112" cy="332527"/>
          </a:xfrm>
        </p:spPr>
        <p:txBody>
          <a:bodyPr lIns="182611" anchor="ctr"/>
          <a:lstStyle>
            <a:lvl1pPr marL="0" indent="0" algn="l">
              <a:buNone/>
              <a:defRPr/>
            </a:lvl1pPr>
          </a:lstStyle>
          <a:p>
            <a:r>
              <a:rPr lang="en-US" dirty="0" smtClean="0"/>
              <a:t>Click to insert photo.</a:t>
            </a:r>
            <a:endParaRPr lang="en-US" dirty="0"/>
          </a:p>
        </p:txBody>
      </p:sp>
      <p:sp>
        <p:nvSpPr>
          <p:cNvPr id="3" name="Text Placeholder 2"/>
          <p:cNvSpPr>
            <a:spLocks noGrp="1"/>
          </p:cNvSpPr>
          <p:nvPr>
            <p:ph type="body" idx="1" hasCustomPrompt="1"/>
          </p:nvPr>
        </p:nvSpPr>
        <p:spPr>
          <a:xfrm>
            <a:off x="520700" y="1447802"/>
            <a:ext cx="5433533" cy="1178443"/>
          </a:xfrm>
          <a:prstGeom prst="rect">
            <a:avLst/>
          </a:prstGeom>
        </p:spPr>
        <p:txBody>
          <a:bodyPr>
            <a:noAutofit/>
          </a:bodyPr>
          <a:lstStyle>
            <a:lvl1pPr marL="0" indent="0">
              <a:spcBef>
                <a:spcPts val="900"/>
              </a:spcBef>
              <a:buNone/>
              <a:defRPr sz="3000" b="0" cap="none" baseline="0">
                <a:solidFill>
                  <a:schemeClr val="tx2"/>
                </a:solidFill>
                <a:latin typeface="+mj-lt"/>
              </a:defRPr>
            </a:lvl1pPr>
            <a:lvl2pPr marL="456449" indent="0">
              <a:buNone/>
              <a:defRPr sz="2025" b="1"/>
            </a:lvl2pPr>
            <a:lvl3pPr marL="912899" indent="0">
              <a:buNone/>
              <a:defRPr sz="1800" b="1"/>
            </a:lvl3pPr>
            <a:lvl4pPr marL="1369349" indent="0">
              <a:buNone/>
              <a:defRPr sz="1575" b="1"/>
            </a:lvl4pPr>
            <a:lvl5pPr marL="1825798" indent="0">
              <a:buNone/>
              <a:defRPr sz="1575" b="1"/>
            </a:lvl5pPr>
            <a:lvl6pPr marL="2282248" indent="0">
              <a:buNone/>
              <a:defRPr sz="1575" b="1"/>
            </a:lvl6pPr>
            <a:lvl7pPr marL="2738697" indent="0">
              <a:buNone/>
              <a:defRPr sz="1575" b="1"/>
            </a:lvl7pPr>
            <a:lvl8pPr marL="3195146" indent="0">
              <a:buNone/>
              <a:defRPr sz="1575" b="1"/>
            </a:lvl8pPr>
            <a:lvl9pPr marL="3651596" indent="0">
              <a:buNone/>
              <a:defRPr sz="1575" b="1"/>
            </a:lvl9pPr>
          </a:lstStyle>
          <a:p>
            <a:pPr lvl="0"/>
            <a:r>
              <a:rPr lang="en-US" dirty="0" smtClean="0"/>
              <a:t>Click to edit Master text styles.</a:t>
            </a:r>
          </a:p>
        </p:txBody>
      </p:sp>
      <p:sp>
        <p:nvSpPr>
          <p:cNvPr id="10" name="Slide Number Placeholder 9"/>
          <p:cNvSpPr>
            <a:spLocks noGrp="1"/>
          </p:cNvSpPr>
          <p:nvPr>
            <p:ph type="sldNum" sz="quarter" idx="12"/>
          </p:nvPr>
        </p:nvSpPr>
        <p:spPr>
          <a:xfrm>
            <a:off x="520700" y="6399557"/>
            <a:ext cx="560686" cy="219456"/>
          </a:xfrm>
          <a:prstGeom prst="rect">
            <a:avLst/>
          </a:prstGeom>
        </p:spPr>
        <p:txBody>
          <a:bodyPr lIns="121720" tIns="60860" rIns="121720" bIns="60860" anchor="ctr"/>
          <a:lstStyle>
            <a:lvl1pPr algn="l">
              <a:defRPr sz="1200">
                <a:gradFill>
                  <a:gsLst>
                    <a:gs pos="100000">
                      <a:schemeClr val="bg2"/>
                    </a:gs>
                    <a:gs pos="0">
                      <a:schemeClr val="bg2"/>
                    </a:gs>
                  </a:gsLst>
                  <a:lin ang="5400000" scaled="0"/>
                </a:gradFill>
              </a:defRPr>
            </a:lvl1pPr>
          </a:lstStyle>
          <a:p>
            <a:pPr defTabSz="914400"/>
            <a:fld id="{727B4C2D-45E2-4621-8491-2995EB46A674}" type="slidenum">
              <a:rPr lang="en-US" smtClean="0">
                <a:gradFill>
                  <a:gsLst>
                    <a:gs pos="100000">
                      <a:srgbClr val="EAEEFB"/>
                    </a:gs>
                    <a:gs pos="0">
                      <a:srgbClr val="EAEEFB"/>
                    </a:gs>
                  </a:gsLst>
                  <a:lin ang="5400000" scaled="0"/>
                </a:gradFill>
              </a:rPr>
              <a:pPr defTabSz="914400"/>
              <a:t>‹#›</a:t>
            </a:fld>
            <a:endParaRPr lang="en-US" dirty="0">
              <a:gradFill>
                <a:gsLst>
                  <a:gs pos="100000">
                    <a:srgbClr val="EAEEFB"/>
                  </a:gs>
                  <a:gs pos="0">
                    <a:srgbClr val="EAEEFB"/>
                  </a:gs>
                </a:gsLst>
                <a:lin ang="5400000" scaled="0"/>
              </a:gradFill>
            </a:endParaRPr>
          </a:p>
        </p:txBody>
      </p:sp>
      <p:sp>
        <p:nvSpPr>
          <p:cNvPr id="9" name="Content Placeholder 5"/>
          <p:cNvSpPr>
            <a:spLocks noGrp="1"/>
          </p:cNvSpPr>
          <p:nvPr>
            <p:ph sz="quarter" idx="13"/>
          </p:nvPr>
        </p:nvSpPr>
        <p:spPr>
          <a:xfrm>
            <a:off x="520702" y="2734989"/>
            <a:ext cx="5444165" cy="609399"/>
          </a:xfrm>
          <a:prstGeom prst="rect">
            <a:avLst/>
          </a:prstGeom>
        </p:spPr>
        <p:txBody>
          <a:bodyPr>
            <a:noAutofit/>
          </a:bodyPr>
          <a:lstStyle>
            <a:lvl1pPr marL="0" indent="0">
              <a:spcBef>
                <a:spcPts val="900"/>
              </a:spcBef>
              <a:buFont typeface="Arial" pitchFamily="34" charset="0"/>
              <a:buNone/>
              <a:defRPr lang="en-US" sz="1500" kern="1200" spc="0" dirty="0" smtClean="0">
                <a:gradFill>
                  <a:gsLst>
                    <a:gs pos="100000">
                      <a:schemeClr val="bg2"/>
                    </a:gs>
                    <a:gs pos="0">
                      <a:schemeClr val="bg2"/>
                    </a:gs>
                  </a:gsLst>
                  <a:lin ang="5400000" scaled="0"/>
                </a:gradFill>
                <a:latin typeface="+mn-lt"/>
                <a:ea typeface="+mn-ea"/>
                <a:cs typeface="Segoe UI" pitchFamily="34" charset="0"/>
              </a:defRPr>
            </a:lvl1pPr>
            <a:lvl2pPr marL="684674" indent="-285281">
              <a:defRPr lang="en-US" sz="1575" kern="1200" dirty="0" smtClean="0">
                <a:solidFill>
                  <a:schemeClr val="bg2">
                    <a:lumMod val="50000"/>
                  </a:schemeClr>
                </a:solidFill>
                <a:latin typeface="+mn-lt"/>
                <a:ea typeface="+mn-ea"/>
                <a:cs typeface="Arial" pitchFamily="34" charset="0"/>
              </a:defRPr>
            </a:lvl2pPr>
            <a:lvl3pPr marL="684674" indent="-171169">
              <a:defRPr lang="en-US" sz="1425" kern="1200" dirty="0" smtClean="0">
                <a:solidFill>
                  <a:schemeClr val="bg2">
                    <a:lumMod val="50000"/>
                  </a:schemeClr>
                </a:solidFill>
                <a:latin typeface="+mn-lt"/>
                <a:ea typeface="+mn-ea"/>
                <a:cs typeface="Arial" pitchFamily="34" charset="0"/>
              </a:defRPr>
            </a:lvl3pPr>
            <a:lvl4pPr marL="912899" indent="-171169">
              <a:defRPr lang="en-US" sz="1200" kern="1200" dirty="0" smtClean="0">
                <a:solidFill>
                  <a:schemeClr val="bg2">
                    <a:lumMod val="50000"/>
                  </a:schemeClr>
                </a:solidFill>
                <a:latin typeface="+mn-lt"/>
                <a:ea typeface="+mn-ea"/>
                <a:cs typeface="Arial" pitchFamily="34" charset="0"/>
              </a:defRPr>
            </a:lvl4pPr>
            <a:lvl5pPr marL="1084068" indent="-171169">
              <a:defRPr lang="en-US" sz="1200" kern="1200" dirty="0">
                <a:solidFill>
                  <a:schemeClr val="bg2">
                    <a:lumMod val="50000"/>
                  </a:schemeClr>
                </a:solidFill>
                <a:latin typeface="+mn-lt"/>
                <a:ea typeface="+mn-ea"/>
                <a:cs typeface="Arial" pitchFamily="34" charset="0"/>
              </a:defRPr>
            </a:lvl5pPr>
            <a:lvl6pPr>
              <a:defRPr sz="1575"/>
            </a:lvl6pPr>
            <a:lvl7pPr>
              <a:defRPr sz="1575"/>
            </a:lvl7pPr>
            <a:lvl8pPr>
              <a:defRPr sz="1575"/>
            </a:lvl8pPr>
            <a:lvl9pPr>
              <a:defRPr sz="1575"/>
            </a:lvl9pPr>
          </a:lstStyle>
          <a:p>
            <a:pPr lvl="0"/>
            <a:r>
              <a:rPr lang="en-US" smtClean="0"/>
              <a:t>Click to edit Master text styles</a:t>
            </a:r>
          </a:p>
        </p:txBody>
      </p:sp>
      <p:sp>
        <p:nvSpPr>
          <p:cNvPr id="11" name="TextBox 10"/>
          <p:cNvSpPr txBox="1"/>
          <p:nvPr/>
        </p:nvSpPr>
        <p:spPr>
          <a:xfrm>
            <a:off x="10615310" y="6186238"/>
            <a:ext cx="1521272" cy="450123"/>
          </a:xfrm>
          <a:prstGeom prst="rect">
            <a:avLst/>
          </a:prstGeom>
          <a:noFill/>
        </p:spPr>
        <p:txBody>
          <a:bodyPr wrap="square" lIns="0" tIns="0" rIns="0" bIns="0" rtlCol="0" anchor="ctr">
            <a:spAutoFit/>
          </a:bodyPr>
          <a:lstStyle/>
          <a:p>
            <a:pPr algn="ctr" defTabSz="914400"/>
            <a:r>
              <a:rPr lang="en-US" sz="2925" spc="-53" dirty="0" smtClean="0">
                <a:solidFill>
                  <a:srgbClr val="3955A1"/>
                </a:solidFill>
                <a:latin typeface="Segoe Pro" pitchFamily="34" charset="0"/>
              </a:rPr>
              <a:t>Visio</a:t>
            </a:r>
          </a:p>
        </p:txBody>
      </p:sp>
    </p:spTree>
    <p:extLst>
      <p:ext uri="{BB962C8B-B14F-4D97-AF65-F5344CB8AC3E}">
        <p14:creationId xmlns:p14="http://schemas.microsoft.com/office/powerpoint/2010/main" val="1901069470"/>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3_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409809" y="2441486"/>
            <a:ext cx="5369208" cy="1975031"/>
          </a:xfrm>
          <a:prstGeom prst="rect">
            <a:avLst/>
          </a:prstGeom>
        </p:spPr>
      </p:pic>
    </p:spTree>
    <p:extLst>
      <p:ext uri="{BB962C8B-B14F-4D97-AF65-F5344CB8AC3E}">
        <p14:creationId xmlns:p14="http://schemas.microsoft.com/office/powerpoint/2010/main" val="3005434561"/>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Title Slide Solid">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nvPr>
        </p:nvGraphicFramePr>
        <p:xfrm>
          <a:off x="1557" y="1558"/>
          <a:ext cx="1555" cy="1556"/>
        </p:xfrm>
        <a:graphic>
          <a:graphicData uri="http://schemas.openxmlformats.org/presentationml/2006/ole">
            <mc:AlternateContent xmlns:mc="http://schemas.openxmlformats.org/markup-compatibility/2006">
              <mc:Choice xmlns:v="urn:schemas-microsoft-com:vml" Requires="v">
                <p:oleObj spid="_x0000_s211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5" cy="1556"/>
                      </a:xfrm>
                      <a:prstGeom prst="rect">
                        <a:avLst/>
                      </a:prstGeom>
                    </p:spPr>
                  </p:pic>
                </p:oleObj>
              </mc:Fallback>
            </mc:AlternateContent>
          </a:graphicData>
        </a:graphic>
      </p:graphicFrame>
      <p:sp>
        <p:nvSpPr>
          <p:cNvPr id="7" name="Text Placeholder 6"/>
          <p:cNvSpPr>
            <a:spLocks noGrp="1"/>
          </p:cNvSpPr>
          <p:nvPr>
            <p:ph type="body" sz="quarter" idx="10" hasCustomPrompt="1"/>
          </p:nvPr>
        </p:nvSpPr>
        <p:spPr>
          <a:xfrm>
            <a:off x="348300" y="279913"/>
            <a:ext cx="11406478" cy="896552"/>
          </a:xfrm>
        </p:spPr>
        <p:txBody>
          <a:bodyPr anchor="ctr">
            <a:noAutofit/>
          </a:bodyPr>
          <a:lstStyle>
            <a:lvl1pPr marL="0" indent="0">
              <a:buNone/>
              <a:defRPr sz="5293">
                <a:solidFill>
                  <a:srgbClr val="45ACC8"/>
                </a:solidFill>
                <a:latin typeface="Segoe UI Bold" panose="020B0802040204020203" pitchFamily="34" charset="0"/>
                <a:cs typeface="Segoe UI Bold" panose="020B0802040204020203" pitchFamily="34" charset="0"/>
              </a:defRPr>
            </a:lvl1pPr>
          </a:lstStyle>
          <a:p>
            <a:pPr lvl="0"/>
            <a:r>
              <a:rPr lang="en-US" dirty="0" smtClean="0"/>
              <a:t>Headline</a:t>
            </a:r>
            <a:endParaRPr lang="en-US" dirty="0"/>
          </a:p>
        </p:txBody>
      </p:sp>
    </p:spTree>
    <p:extLst>
      <p:ext uri="{BB962C8B-B14F-4D97-AF65-F5344CB8AC3E}">
        <p14:creationId xmlns:p14="http://schemas.microsoft.com/office/powerpoint/2010/main" val="131344147"/>
      </p:ext>
    </p:extLst>
  </p:cSld>
  <p:clrMapOvr>
    <a:masterClrMapping/>
  </p:clrMapOvr>
  <p:transition spd="slow">
    <p:wipe dir="r"/>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498405629"/>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519501"/>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713144"/>
          </a:xfrm>
        </p:spPr>
        <p:txBody>
          <a:bodyPr/>
          <a:lstStyle>
            <a:lvl1pPr marL="0" indent="0">
              <a:spcBef>
                <a:spcPts val="0"/>
              </a:spcBef>
              <a:spcAft>
                <a:spcPts val="675"/>
              </a:spcAft>
              <a:buNone/>
              <a:defRPr sz="3001" spc="-75" baseline="0">
                <a:latin typeface="Segoe UI Light" pitchFamily="34" charset="0"/>
              </a:defRPr>
            </a:lvl1pPr>
            <a:lvl2pPr marL="0" indent="0">
              <a:spcBef>
                <a:spcPts val="0"/>
              </a:spcBef>
              <a:spcAft>
                <a:spcPts val="300"/>
              </a:spcAft>
              <a:buNone/>
              <a:defRPr sz="1500" spc="-38" baseline="0"/>
            </a:lvl2pPr>
            <a:lvl3pPr marL="0" indent="0">
              <a:spcBef>
                <a:spcPts val="0"/>
              </a:spcBef>
              <a:spcAft>
                <a:spcPts val="300"/>
              </a:spcAft>
              <a:buNone/>
              <a:defRPr sz="1500"/>
            </a:lvl3pPr>
            <a:lvl4pPr marL="0" indent="0">
              <a:spcBef>
                <a:spcPts val="0"/>
              </a:spcBef>
              <a:spcAft>
                <a:spcPts val="300"/>
              </a:spcAft>
              <a:buNone/>
              <a:defRPr/>
            </a:lvl4pPr>
            <a:lvl5pPr marL="0" indent="0">
              <a:spcBef>
                <a:spcPts val="0"/>
              </a:spcBef>
              <a:spcAft>
                <a:spcPts val="300"/>
              </a:spcAft>
              <a:buNone/>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875314490"/>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olor Block Header&amp; Subtext">
    <p:spTree>
      <p:nvGrpSpPr>
        <p:cNvPr id="1" name=""/>
        <p:cNvGrpSpPr/>
        <p:nvPr/>
      </p:nvGrpSpPr>
      <p:grpSpPr>
        <a:xfrm>
          <a:off x="0" y="0"/>
          <a:ext cx="0" cy="0"/>
          <a:chOff x="0" y="0"/>
          <a:chExt cx="0" cy="0"/>
        </a:xfrm>
      </p:grpSpPr>
      <p:sp>
        <p:nvSpPr>
          <p:cNvPr id="2" name="Rectangle 1"/>
          <p:cNvSpPr/>
          <p:nvPr/>
        </p:nvSpPr>
        <p:spPr bwMode="white">
          <a:xfrm>
            <a:off x="-9524" y="-14514"/>
            <a:ext cx="4746623" cy="6961414"/>
          </a:xfrm>
          <a:prstGeom prst="rect">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ctr" defTabSz="911815" fontAlgn="base">
              <a:spcBef>
                <a:spcPct val="0"/>
              </a:spcBef>
              <a:spcAft>
                <a:spcPct val="0"/>
              </a:spcAft>
            </a:pPr>
            <a:endParaRPr lang="en-US" sz="219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12075" y="-74571"/>
            <a:ext cx="4030896" cy="1816287"/>
          </a:xfrm>
          <a:prstGeom prst="rect">
            <a:avLst/>
          </a:prstGeom>
        </p:spPr>
        <p:txBody>
          <a:bodyPr anchor="b" anchorCtr="0">
            <a:noAutofit/>
          </a:bodyPr>
          <a:lstStyle>
            <a:lvl1pPr marL="0" indent="0">
              <a:lnSpc>
                <a:spcPts val="3800"/>
              </a:lnSpc>
              <a:spcBef>
                <a:spcPts val="0"/>
              </a:spcBef>
              <a:buNone/>
              <a:defRPr sz="3600" b="0" cap="none" spc="-150" baseline="0">
                <a:gradFill>
                  <a:gsLst>
                    <a:gs pos="100000">
                      <a:schemeClr val="bg1"/>
                    </a:gs>
                    <a:gs pos="0">
                      <a:schemeClr val="bg1"/>
                    </a:gs>
                  </a:gsLst>
                  <a:lin ang="5400000" scaled="0"/>
                </a:gradFill>
                <a:latin typeface="Segoe UI Semibold" panose="020B0702040204020203" pitchFamily="34" charset="0"/>
                <a:cs typeface="Segoe UI Semibold" panose="020B0702040204020203" pitchFamily="34" charset="0"/>
              </a:defRPr>
            </a:lvl1pPr>
            <a:lvl2pPr marL="607970" indent="0">
              <a:buNone/>
              <a:defRPr sz="2693" b="1"/>
            </a:lvl2pPr>
            <a:lvl3pPr marL="1215940" indent="0">
              <a:buNone/>
              <a:defRPr sz="2394" b="1"/>
            </a:lvl3pPr>
            <a:lvl4pPr marL="1823910" indent="0">
              <a:buNone/>
              <a:defRPr sz="2094" b="1"/>
            </a:lvl4pPr>
            <a:lvl5pPr marL="2431880" indent="0">
              <a:buNone/>
              <a:defRPr sz="2094" b="1"/>
            </a:lvl5pPr>
            <a:lvl6pPr marL="3039851" indent="0">
              <a:buNone/>
              <a:defRPr sz="2094" b="1"/>
            </a:lvl6pPr>
            <a:lvl7pPr marL="3647820" indent="0">
              <a:buNone/>
              <a:defRPr sz="2094" b="1"/>
            </a:lvl7pPr>
            <a:lvl8pPr marL="4255790" indent="0">
              <a:buNone/>
              <a:defRPr sz="2094" b="1"/>
            </a:lvl8pPr>
            <a:lvl9pPr marL="4863760" indent="0">
              <a:buNone/>
              <a:defRPr sz="2094" b="1"/>
            </a:lvl9pPr>
          </a:lstStyle>
          <a:p>
            <a:pPr lvl="0"/>
            <a:r>
              <a:rPr lang="en-US" dirty="0" smtClean="0"/>
              <a:t>Click to edit Master text styles.</a:t>
            </a:r>
          </a:p>
        </p:txBody>
      </p:sp>
      <p:sp>
        <p:nvSpPr>
          <p:cNvPr id="7" name="Text Placeholder 6"/>
          <p:cNvSpPr>
            <a:spLocks noGrp="1"/>
          </p:cNvSpPr>
          <p:nvPr>
            <p:ph type="body" sz="quarter" idx="10"/>
          </p:nvPr>
        </p:nvSpPr>
        <p:spPr>
          <a:xfrm>
            <a:off x="532922" y="2394855"/>
            <a:ext cx="3589135" cy="4336143"/>
          </a:xfrm>
        </p:spPr>
        <p:txBody>
          <a:bodyPr/>
          <a:lstStyle>
            <a:lvl1pPr marL="0" indent="0">
              <a:lnSpc>
                <a:spcPts val="2200"/>
              </a:lnSpc>
              <a:spcBef>
                <a:spcPts val="0"/>
              </a:spcBef>
              <a:spcAft>
                <a:spcPts val="1200"/>
              </a:spcAft>
              <a:buNone/>
              <a:defRPr sz="2100" spc="0" baseline="0">
                <a:solidFill>
                  <a:schemeClr val="bg1"/>
                </a:solidFill>
                <a:latin typeface="+mj-lt"/>
              </a:defRPr>
            </a:lvl1pPr>
            <a:lvl2pPr marL="0" indent="0">
              <a:lnSpc>
                <a:spcPts val="2200"/>
              </a:lnSpc>
              <a:spcBef>
                <a:spcPts val="0"/>
              </a:spcBef>
              <a:spcAft>
                <a:spcPts val="1200"/>
              </a:spcAft>
              <a:buNone/>
              <a:defRPr sz="2100" spc="0" baseline="0">
                <a:solidFill>
                  <a:schemeClr val="bg1"/>
                </a:solidFill>
                <a:latin typeface="+mj-lt"/>
              </a:defRPr>
            </a:lvl2pPr>
            <a:lvl3pPr marL="0" indent="0">
              <a:lnSpc>
                <a:spcPts val="2200"/>
              </a:lnSpc>
              <a:spcBef>
                <a:spcPts val="0"/>
              </a:spcBef>
              <a:spcAft>
                <a:spcPts val="1200"/>
              </a:spcAft>
              <a:buNone/>
              <a:defRPr sz="2100" spc="0" baseline="0">
                <a:solidFill>
                  <a:schemeClr val="bg1"/>
                </a:solidFill>
                <a:latin typeface="+mj-lt"/>
              </a:defRPr>
            </a:lvl3pPr>
            <a:lvl4pPr marL="0" indent="0">
              <a:lnSpc>
                <a:spcPts val="2200"/>
              </a:lnSpc>
              <a:spcBef>
                <a:spcPts val="0"/>
              </a:spcBef>
              <a:spcAft>
                <a:spcPts val="1200"/>
              </a:spcAft>
              <a:buNone/>
              <a:defRPr sz="2100" spc="0" baseline="0">
                <a:solidFill>
                  <a:schemeClr val="bg1"/>
                </a:solidFill>
                <a:latin typeface="+mj-lt"/>
              </a:defRPr>
            </a:lvl4pPr>
            <a:lvl5pPr marL="0" indent="0">
              <a:lnSpc>
                <a:spcPts val="2200"/>
              </a:lnSpc>
              <a:spcBef>
                <a:spcPts val="0"/>
              </a:spcBef>
              <a:spcAft>
                <a:spcPts val="1200"/>
              </a:spcAft>
              <a:buNone/>
              <a:defRPr sz="2100" spc="0" baseline="0">
                <a:solidFill>
                  <a:schemeClr val="bg1"/>
                </a:solidFill>
                <a:latin typeface="+mj-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075114288"/>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1"/>
            <a:ext cx="11149013" cy="519501"/>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1"/>
            <a:ext cx="11149013" cy="150066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95963607"/>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a:xfrm>
            <a:off x="519113" y="1447801"/>
            <a:ext cx="11149013" cy="1500667"/>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60839707"/>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2212534954"/>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49897488"/>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Video">
    <p:spTree>
      <p:nvGrpSpPr>
        <p:cNvPr id="1" name=""/>
        <p:cNvGrpSpPr/>
        <p:nvPr/>
      </p:nvGrpSpPr>
      <p:grpSpPr>
        <a:xfrm>
          <a:off x="0" y="0"/>
          <a:ext cx="0" cy="0"/>
          <a:chOff x="0" y="0"/>
          <a:chExt cx="0" cy="0"/>
        </a:xfrm>
      </p:grpSpPr>
      <p:sp>
        <p:nvSpPr>
          <p:cNvPr id="3" name="Title 2"/>
          <p:cNvSpPr txBox="1">
            <a:spLocks/>
          </p:cNvSpPr>
          <p:nvPr/>
        </p:nvSpPr>
        <p:spPr>
          <a:xfrm>
            <a:off x="508541" y="2219475"/>
            <a:ext cx="5897394" cy="685701"/>
          </a:xfrm>
          <a:prstGeom prst="rect">
            <a:avLst/>
          </a:prstGeom>
        </p:spPr>
        <p:txBody>
          <a:bodyPr vert="horz" wrap="square" lIns="0" tIns="0" rIns="0" bIns="0" rtlCol="0" anchor="t">
            <a:spAutoFit/>
          </a:bodyPr>
          <a:lstStyle>
            <a:lvl1pPr algn="l" defTabSz="1097418" rtl="0" eaLnBrk="1" latinLnBrk="0" hangingPunct="1">
              <a:lnSpc>
                <a:spcPct val="90000"/>
              </a:lnSpc>
              <a:spcBef>
                <a:spcPct val="0"/>
              </a:spcBef>
              <a:buNone/>
              <a:defRPr lang="en-US" sz="3800" b="0" kern="1200" cap="none" spc="-120" baseline="0" dirty="0" smtClean="0">
                <a:ln w="3175">
                  <a:noFill/>
                </a:ln>
                <a:solidFill>
                  <a:srgbClr val="EE7816">
                    <a:alpha val="99000"/>
                  </a:srgbClr>
                </a:solidFill>
                <a:effectLst/>
                <a:latin typeface="+mj-lt"/>
                <a:ea typeface="+mn-ea"/>
                <a:cs typeface="Arial" charset="0"/>
              </a:defRPr>
            </a:lvl1pPr>
          </a:lstStyle>
          <a:p>
            <a:r>
              <a:rPr sz="4951" b="1">
                <a:solidFill>
                  <a:srgbClr val="FFFFFF">
                    <a:lumMod val="75000"/>
                    <a:alpha val="99000"/>
                  </a:srgbClr>
                </a:solidFill>
                <a:latin typeface="Segoe UI" pitchFamily="34" charset="0"/>
                <a:ea typeface="Segoe UI" pitchFamily="34" charset="0"/>
                <a:cs typeface="Segoe UI" pitchFamily="34" charset="0"/>
              </a:rPr>
              <a:t>video</a:t>
            </a:r>
          </a:p>
        </p:txBody>
      </p:sp>
      <p:sp>
        <p:nvSpPr>
          <p:cNvPr id="6" name="Date Placeholder 3"/>
          <p:cNvSpPr txBox="1">
            <a:spLocks/>
          </p:cNvSpPr>
          <p:nvPr/>
        </p:nvSpPr>
        <p:spPr>
          <a:xfrm>
            <a:off x="8610768" y="6647317"/>
            <a:ext cx="3245524" cy="210251"/>
          </a:xfrm>
          <a:prstGeom prst="rect">
            <a:avLst/>
          </a:prstGeom>
        </p:spPr>
        <p:txBody>
          <a:bodyPr lIns="0" tIns="0" rIns="0" bIns="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600" dirty="0">
                <a:solidFill>
                  <a:srgbClr val="000000">
                    <a:lumMod val="65000"/>
                    <a:lumOff val="35000"/>
                  </a:srgbClr>
                </a:solidFill>
              </a:rPr>
              <a:t>Copyright© </a:t>
            </a:r>
            <a:r>
              <a:rPr lang="en-US" sz="600" dirty="0" smtClean="0">
                <a:solidFill>
                  <a:srgbClr val="000000">
                    <a:lumMod val="65000"/>
                    <a:lumOff val="35000"/>
                  </a:srgbClr>
                </a:solidFill>
              </a:rPr>
              <a:t>2012 </a:t>
            </a:r>
            <a:r>
              <a:rPr lang="en-US" sz="600" dirty="0">
                <a:solidFill>
                  <a:srgbClr val="000000">
                    <a:lumMod val="65000"/>
                    <a:lumOff val="35000"/>
                  </a:srgbClr>
                </a:solidFill>
              </a:rPr>
              <a:t>Microsoft Corporation</a:t>
            </a:r>
          </a:p>
        </p:txBody>
      </p:sp>
      <p:sp>
        <p:nvSpPr>
          <p:cNvPr id="7" name="Rectangle 6"/>
          <p:cNvSpPr/>
          <p:nvPr/>
        </p:nvSpPr>
        <p:spPr>
          <a:xfrm>
            <a:off x="5680156" y="6647317"/>
            <a:ext cx="751809" cy="92333"/>
          </a:xfrm>
          <a:prstGeom prst="rect">
            <a:avLst/>
          </a:prstGeom>
        </p:spPr>
        <p:txBody>
          <a:bodyPr wrap="none" lIns="0" tIns="0" rIns="0" bIns="0" anchor="t" anchorCtr="0">
            <a:spAutoFit/>
          </a:bodyPr>
          <a:lstStyle/>
          <a:p>
            <a:pPr defTabSz="914400"/>
            <a:r>
              <a:rPr lang="en-US" sz="600" b="1" dirty="0">
                <a:solidFill>
                  <a:srgbClr val="000000">
                    <a:lumMod val="65000"/>
                    <a:lumOff val="35000"/>
                  </a:srgbClr>
                </a:solidFill>
              </a:rPr>
              <a:t>NDA Disclosure Only</a:t>
            </a:r>
          </a:p>
        </p:txBody>
      </p:sp>
    </p:spTree>
    <p:extLst>
      <p:ext uri="{BB962C8B-B14F-4D97-AF65-F5344CB8AC3E}">
        <p14:creationId xmlns:p14="http://schemas.microsoft.com/office/powerpoint/2010/main" val="477576404"/>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801"/>
            <a:ext cx="11149013" cy="1500667"/>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63576804"/>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801"/>
            <a:ext cx="11149013" cy="1500667"/>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78"/>
            <a:ext cx="12188826" cy="619125"/>
          </a:xfrm>
          <a:solidFill>
            <a:srgbClr val="FFFF99"/>
          </a:solidFill>
        </p:spPr>
        <p:txBody>
          <a:bodyPr wrap="square" lIns="152394" tIns="76197" rIns="152394" bIns="7619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366752617"/>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cSld name="Title and Content - No bullets - Copyright">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422275" y="436418"/>
            <a:ext cx="11398251" cy="363561"/>
          </a:xfrm>
        </p:spPr>
        <p:txBody>
          <a:bodyPr/>
          <a:lstStyle>
            <a:lvl1pPr algn="l" defTabSz="685877" rtl="0" eaLnBrk="1" latinLnBrk="0" hangingPunct="1">
              <a:lnSpc>
                <a:spcPct val="90000"/>
              </a:lnSpc>
              <a:spcBef>
                <a:spcPct val="0"/>
              </a:spcBef>
              <a:buNone/>
              <a:defRPr lang="en-US" sz="2625" b="0" kern="1200" cap="none" spc="0" baseline="0" dirty="0">
                <a:ln w="3175">
                  <a:noFill/>
                </a:ln>
                <a:solidFill>
                  <a:schemeClr val="tx2">
                    <a:alpha val="99000"/>
                  </a:schemeClr>
                </a:solidFill>
                <a:effectLst/>
                <a:latin typeface="Segoe UI Light" pitchFamily="34" charset="0"/>
                <a:ea typeface="+mn-ea"/>
                <a:cs typeface="Arial" charset="0"/>
              </a:defRPr>
            </a:lvl1pPr>
          </a:lstStyle>
          <a:p>
            <a:r>
              <a:rPr lang="en-US" dirty="0" smtClean="0"/>
              <a:t>Visio Colors</a:t>
            </a:r>
            <a:endParaRPr lang="en-US" dirty="0"/>
          </a:p>
        </p:txBody>
      </p:sp>
      <p:sp>
        <p:nvSpPr>
          <p:cNvPr id="4" name="Slide Number Placeholder 4"/>
          <p:cNvSpPr>
            <a:spLocks noGrp="1"/>
          </p:cNvSpPr>
          <p:nvPr>
            <p:ph type="sldNum" sz="quarter" idx="4"/>
          </p:nvPr>
        </p:nvSpPr>
        <p:spPr>
          <a:xfrm>
            <a:off x="415289" y="6266659"/>
            <a:ext cx="399417" cy="365125"/>
          </a:xfrm>
          <a:prstGeom prst="rect">
            <a:avLst/>
          </a:prstGeom>
        </p:spPr>
        <p:txBody>
          <a:bodyPr vert="horz" wrap="square" lIns="109746" tIns="54873" rIns="109746" bIns="54873" numCol="1" anchor="ctr" anchorCtr="0" compatLnSpc="1">
            <a:prstTxWarp prst="textNoShape">
              <a:avLst/>
            </a:prstTxWarp>
          </a:bodyPr>
          <a:lstStyle>
            <a:lvl1pPr>
              <a:defRPr sz="875">
                <a:solidFill>
                  <a:srgbClr val="898989"/>
                </a:solidFill>
                <a:latin typeface="Segoe UI" pitchFamily="-65" charset="-52"/>
              </a:defRPr>
            </a:lvl1pPr>
          </a:lstStyle>
          <a:p>
            <a:pPr defTabSz="914400"/>
            <a:fld id="{B6F15528-21DE-4FAA-801E-634DDDAF4B2B}" type="slidenum">
              <a:rPr lang="en-US" smtClean="0"/>
              <a:pPr defTabSz="914400"/>
              <a:t>‹#›</a:t>
            </a:fld>
            <a:endParaRPr lang="en-US"/>
          </a:p>
        </p:txBody>
      </p:sp>
      <p:grpSp>
        <p:nvGrpSpPr>
          <p:cNvPr id="7" name="Group 6"/>
          <p:cNvGrpSpPr/>
          <p:nvPr/>
        </p:nvGrpSpPr>
        <p:grpSpPr>
          <a:xfrm>
            <a:off x="8379819" y="4301233"/>
            <a:ext cx="4215839" cy="2556769"/>
            <a:chOff x="9722475" y="5348246"/>
            <a:chExt cx="5060325" cy="3068123"/>
          </a:xfrm>
          <a:scene3d>
            <a:camera prst="isometricTopUp"/>
            <a:lightRig rig="threePt" dir="t"/>
          </a:scene3d>
        </p:grpSpPr>
        <p:grpSp>
          <p:nvGrpSpPr>
            <p:cNvPr id="8" name="Group 7"/>
            <p:cNvGrpSpPr/>
            <p:nvPr/>
          </p:nvGrpSpPr>
          <p:grpSpPr>
            <a:xfrm rot="1528336">
              <a:off x="9722475" y="5348246"/>
              <a:ext cx="3240214" cy="3068123"/>
              <a:chOff x="9621476" y="2006068"/>
              <a:chExt cx="3240214" cy="3068123"/>
            </a:xfrm>
            <a:solidFill>
              <a:schemeClr val="accent5"/>
            </a:solidFill>
          </p:grpSpPr>
          <p:sp>
            <p:nvSpPr>
              <p:cNvPr id="10" name="Rectangle 9"/>
              <p:cNvSpPr/>
              <p:nvPr/>
            </p:nvSpPr>
            <p:spPr bwMode="auto">
              <a:xfrm>
                <a:off x="9621476" y="3987268"/>
                <a:ext cx="1190439" cy="1086923"/>
              </a:xfrm>
              <a:prstGeom prst="rect">
                <a:avLst/>
              </a:prstGeom>
              <a:solidFill>
                <a:srgbClr val="000000">
                  <a:alpha val="5098"/>
                </a:srgbClr>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571304"/>
                <a:endParaRPr lang="en-US" sz="1125" dirty="0">
                  <a:gradFill>
                    <a:gsLst>
                      <a:gs pos="0">
                        <a:srgbClr val="FFFFFF"/>
                      </a:gs>
                      <a:gs pos="100000">
                        <a:srgbClr val="FFFFFF"/>
                      </a:gs>
                    </a:gsLst>
                    <a:lin ang="5400000" scaled="0"/>
                  </a:gradFill>
                </a:endParaRPr>
              </a:p>
            </p:txBody>
          </p:sp>
          <p:sp>
            <p:nvSpPr>
              <p:cNvPr id="11" name="Flowchart: Decision 10"/>
              <p:cNvSpPr/>
              <p:nvPr/>
            </p:nvSpPr>
            <p:spPr bwMode="auto">
              <a:xfrm>
                <a:off x="11688932" y="2006068"/>
                <a:ext cx="1172758" cy="1196213"/>
              </a:xfrm>
              <a:prstGeom prst="flowChartDecision">
                <a:avLst/>
              </a:prstGeom>
              <a:solidFill>
                <a:srgbClr val="000000">
                  <a:alpha val="5098"/>
                </a:srgbClr>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571304"/>
                <a:endParaRPr lang="en-US" sz="1125" dirty="0">
                  <a:gradFill>
                    <a:gsLst>
                      <a:gs pos="0">
                        <a:srgbClr val="FFFFFF"/>
                      </a:gs>
                      <a:gs pos="100000">
                        <a:srgbClr val="FFFFFF"/>
                      </a:gs>
                    </a:gsLst>
                    <a:lin ang="5400000" scaled="0"/>
                  </a:gradFill>
                </a:endParaRPr>
              </a:p>
            </p:txBody>
          </p:sp>
          <p:cxnSp>
            <p:nvCxnSpPr>
              <p:cNvPr id="12" name="Elbow Connector 11"/>
              <p:cNvCxnSpPr>
                <a:stCxn id="10" idx="3"/>
                <a:endCxn id="11" idx="2"/>
              </p:cNvCxnSpPr>
              <p:nvPr/>
            </p:nvCxnSpPr>
            <p:spPr>
              <a:xfrm flipV="1">
                <a:off x="10811915" y="3202281"/>
                <a:ext cx="1463396" cy="1328449"/>
              </a:xfrm>
              <a:prstGeom prst="bentConnector2">
                <a:avLst/>
              </a:prstGeom>
              <a:grpFill/>
              <a:ln w="133350">
                <a:solidFill>
                  <a:srgbClr val="2473A8">
                    <a:alpha val="5000"/>
                  </a:srgbClr>
                </a:solidFill>
                <a:prstDash val="sysDot"/>
              </a:ln>
            </p:spPr>
            <p:style>
              <a:lnRef idx="1">
                <a:schemeClr val="accent1"/>
              </a:lnRef>
              <a:fillRef idx="0">
                <a:schemeClr val="accent1"/>
              </a:fillRef>
              <a:effectRef idx="0">
                <a:schemeClr val="accent1"/>
              </a:effectRef>
              <a:fontRef idx="minor">
                <a:schemeClr val="tx1"/>
              </a:fontRef>
            </p:style>
          </p:cxnSp>
        </p:grpSp>
        <p:cxnSp>
          <p:nvCxnSpPr>
            <p:cNvPr id="9" name="Straight Connector 8"/>
            <p:cNvCxnSpPr>
              <a:stCxn id="11" idx="3"/>
            </p:cNvCxnSpPr>
            <p:nvPr/>
          </p:nvCxnSpPr>
          <p:spPr>
            <a:xfrm>
              <a:off x="13207734" y="6734100"/>
              <a:ext cx="1575066" cy="733500"/>
            </a:xfrm>
            <a:prstGeom prst="line">
              <a:avLst/>
            </a:prstGeom>
            <a:grpFill/>
            <a:ln w="133350">
              <a:solidFill>
                <a:srgbClr val="2473A8">
                  <a:alpha val="5000"/>
                </a:srgbClr>
              </a:solidFill>
              <a:prstDash val="sysDot"/>
            </a:ln>
          </p:spPr>
          <p:style>
            <a:lnRef idx="1">
              <a:schemeClr val="accent1"/>
            </a:lnRef>
            <a:fillRef idx="0">
              <a:schemeClr val="accent1"/>
            </a:fillRef>
            <a:effectRef idx="0">
              <a:schemeClr val="accent1"/>
            </a:effectRef>
            <a:fontRef idx="minor">
              <a:schemeClr val="tx1"/>
            </a:fontRef>
          </p:style>
        </p:cxnSp>
      </p:grpSp>
      <p:grpSp>
        <p:nvGrpSpPr>
          <p:cNvPr id="3" name="Group 2"/>
          <p:cNvGrpSpPr/>
          <p:nvPr/>
        </p:nvGrpSpPr>
        <p:grpSpPr>
          <a:xfrm>
            <a:off x="504141" y="1527954"/>
            <a:ext cx="10881610" cy="418835"/>
            <a:chOff x="2121753" y="4585784"/>
            <a:chExt cx="7717997" cy="297067"/>
          </a:xfrm>
        </p:grpSpPr>
        <p:sp>
          <p:nvSpPr>
            <p:cNvPr id="13" name="Rectangle 12"/>
            <p:cNvSpPr/>
            <p:nvPr/>
          </p:nvSpPr>
          <p:spPr bwMode="auto">
            <a:xfrm>
              <a:off x="2121753" y="4585784"/>
              <a:ext cx="896817" cy="297067"/>
            </a:xfrm>
            <a:prstGeom prst="rect">
              <a:avLst/>
            </a:prstGeom>
            <a:solidFill>
              <a:srgbClr val="25408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defTabSz="914400"/>
              <a:r>
                <a:rPr lang="en-US" sz="825" dirty="0">
                  <a:solidFill>
                    <a:srgbClr val="FFFFFF"/>
                  </a:solidFill>
                  <a:latin typeface="Segoe Pro" pitchFamily="34" charset="0"/>
                </a:rPr>
                <a:t>37-64-141</a:t>
              </a:r>
            </a:p>
          </p:txBody>
        </p:sp>
        <p:sp>
          <p:nvSpPr>
            <p:cNvPr id="16" name="Rectangle 15"/>
            <p:cNvSpPr/>
            <p:nvPr/>
          </p:nvSpPr>
          <p:spPr bwMode="auto">
            <a:xfrm>
              <a:off x="3242446" y="4585784"/>
              <a:ext cx="896817" cy="297067"/>
            </a:xfrm>
            <a:prstGeom prst="rect">
              <a:avLst/>
            </a:prstGeom>
            <a:solidFill>
              <a:srgbClr val="3955A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defTabSz="914400"/>
              <a:r>
                <a:rPr lang="en-US" sz="825" dirty="0">
                  <a:solidFill>
                    <a:srgbClr val="FFFFFF"/>
                  </a:solidFill>
                  <a:latin typeface="Segoe Pro" pitchFamily="34" charset="0"/>
                </a:rPr>
                <a:t>57-85-161</a:t>
              </a:r>
            </a:p>
          </p:txBody>
        </p:sp>
        <p:sp>
          <p:nvSpPr>
            <p:cNvPr id="17" name="Rectangle 16"/>
            <p:cNvSpPr/>
            <p:nvPr/>
          </p:nvSpPr>
          <p:spPr bwMode="auto">
            <a:xfrm>
              <a:off x="4363139" y="4585784"/>
              <a:ext cx="896817" cy="297067"/>
            </a:xfrm>
            <a:prstGeom prst="rect">
              <a:avLst/>
            </a:prstGeom>
            <a:solidFill>
              <a:srgbClr val="4D6AB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defTabSz="914400"/>
              <a:r>
                <a:rPr lang="en-US" sz="825" dirty="0" smtClean="0">
                  <a:solidFill>
                    <a:srgbClr val="FFFFFF"/>
                  </a:solidFill>
                  <a:latin typeface="Segoe Pro" pitchFamily="34" charset="0"/>
                </a:rPr>
                <a:t>77-106-182</a:t>
              </a:r>
              <a:endParaRPr lang="en-US" sz="825" dirty="0">
                <a:solidFill>
                  <a:srgbClr val="FFFFFF"/>
                </a:solidFill>
                <a:latin typeface="Segoe Pro" pitchFamily="34" charset="0"/>
              </a:endParaRPr>
            </a:p>
          </p:txBody>
        </p:sp>
        <p:grpSp>
          <p:nvGrpSpPr>
            <p:cNvPr id="2" name="Group 1"/>
            <p:cNvGrpSpPr/>
            <p:nvPr/>
          </p:nvGrpSpPr>
          <p:grpSpPr>
            <a:xfrm>
              <a:off x="5483832" y="4585784"/>
              <a:ext cx="1793634" cy="297067"/>
              <a:chOff x="5436731" y="3656029"/>
              <a:chExt cx="1793634" cy="297067"/>
            </a:xfrm>
          </p:grpSpPr>
          <p:sp>
            <p:nvSpPr>
              <p:cNvPr id="18" name="Rectangle 17"/>
              <p:cNvSpPr/>
              <p:nvPr/>
            </p:nvSpPr>
            <p:spPr bwMode="auto">
              <a:xfrm>
                <a:off x="5436731" y="3656029"/>
                <a:ext cx="896817" cy="297067"/>
              </a:xfrm>
              <a:prstGeom prst="rect">
                <a:avLst/>
              </a:prstGeom>
              <a:solidFill>
                <a:srgbClr val="C1CEF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defTabSz="914400"/>
                <a:r>
                  <a:rPr lang="en-US" sz="825" dirty="0">
                    <a:solidFill>
                      <a:srgbClr val="000000"/>
                    </a:solidFill>
                    <a:latin typeface="Segoe Pro" pitchFamily="34" charset="0"/>
                  </a:rPr>
                  <a:t>193-206-241</a:t>
                </a:r>
              </a:p>
            </p:txBody>
          </p:sp>
          <p:sp>
            <p:nvSpPr>
              <p:cNvPr id="19" name="Rectangle 18"/>
              <p:cNvSpPr/>
              <p:nvPr/>
            </p:nvSpPr>
            <p:spPr bwMode="auto">
              <a:xfrm>
                <a:off x="6333548" y="3656029"/>
                <a:ext cx="896817" cy="297067"/>
              </a:xfrm>
              <a:prstGeom prst="rect">
                <a:avLst/>
              </a:prstGeom>
              <a:solidFill>
                <a:srgbClr val="ABB9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defTabSz="914400"/>
                <a:r>
                  <a:rPr lang="en-US" sz="825" dirty="0">
                    <a:solidFill>
                      <a:srgbClr val="000000"/>
                    </a:solidFill>
                    <a:latin typeface="Segoe Pro" pitchFamily="34" charset="0"/>
                  </a:rPr>
                  <a:t>171-185-226</a:t>
                </a:r>
              </a:p>
            </p:txBody>
          </p:sp>
        </p:grpSp>
        <p:sp>
          <p:nvSpPr>
            <p:cNvPr id="20" name="Rectangle 19"/>
            <p:cNvSpPr/>
            <p:nvPr/>
          </p:nvSpPr>
          <p:spPr bwMode="auto">
            <a:xfrm>
              <a:off x="7501342" y="4585784"/>
              <a:ext cx="1057267" cy="297067"/>
            </a:xfrm>
            <a:prstGeom prst="rect">
              <a:avLst/>
            </a:prstGeom>
            <a:solidFill>
              <a:srgbClr val="D6DFF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defTabSz="914400"/>
              <a:r>
                <a:rPr lang="en-US" sz="825" dirty="0">
                  <a:solidFill>
                    <a:srgbClr val="000000"/>
                  </a:solidFill>
                  <a:latin typeface="Segoe Pro" pitchFamily="34" charset="0"/>
                </a:rPr>
                <a:t>214-223-246</a:t>
              </a:r>
            </a:p>
          </p:txBody>
        </p:sp>
        <p:sp>
          <p:nvSpPr>
            <p:cNvPr id="21" name="Rectangle 20"/>
            <p:cNvSpPr/>
            <p:nvPr/>
          </p:nvSpPr>
          <p:spPr bwMode="auto">
            <a:xfrm>
              <a:off x="8782483" y="4585784"/>
              <a:ext cx="1057267" cy="297067"/>
            </a:xfrm>
            <a:prstGeom prst="rect">
              <a:avLst/>
            </a:prstGeom>
            <a:solidFill>
              <a:srgbClr val="EAEEF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defTabSz="914400"/>
              <a:r>
                <a:rPr lang="en-US" sz="825" dirty="0" smtClean="0">
                  <a:solidFill>
                    <a:srgbClr val="000000"/>
                  </a:solidFill>
                  <a:latin typeface="Segoe Pro" pitchFamily="34" charset="0"/>
                </a:rPr>
                <a:t>234-238-251</a:t>
              </a:r>
              <a:endParaRPr lang="en-US" sz="825" dirty="0">
                <a:solidFill>
                  <a:srgbClr val="000000"/>
                </a:solidFill>
                <a:latin typeface="Segoe Pro" pitchFamily="34" charset="0"/>
              </a:endParaRPr>
            </a:p>
          </p:txBody>
        </p:sp>
      </p:grpSp>
    </p:spTree>
    <p:extLst>
      <p:ext uri="{BB962C8B-B14F-4D97-AF65-F5344CB8AC3E}">
        <p14:creationId xmlns:p14="http://schemas.microsoft.com/office/powerpoint/2010/main" val="1431761438"/>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4" y="228606"/>
            <a:ext cx="11149013" cy="519501"/>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114" y="1447800"/>
            <a:ext cx="11149013" cy="713144"/>
          </a:xfrm>
        </p:spPr>
        <p:txBody>
          <a:bodyPr/>
          <a:lstStyle>
            <a:lvl1pPr marL="0" indent="0">
              <a:spcBef>
                <a:spcPts val="0"/>
              </a:spcBef>
              <a:spcAft>
                <a:spcPts val="675"/>
              </a:spcAft>
              <a:buNone/>
              <a:defRPr sz="3001" spc="-75" baseline="0">
                <a:latin typeface="Segoe UI Light" pitchFamily="34" charset="0"/>
              </a:defRPr>
            </a:lvl1pPr>
            <a:lvl2pPr marL="0" indent="0">
              <a:spcBef>
                <a:spcPts val="0"/>
              </a:spcBef>
              <a:spcAft>
                <a:spcPts val="300"/>
              </a:spcAft>
              <a:buNone/>
              <a:defRPr sz="1500" spc="-38" baseline="0"/>
            </a:lvl2pPr>
            <a:lvl3pPr marL="0" indent="0">
              <a:spcBef>
                <a:spcPts val="0"/>
              </a:spcBef>
              <a:spcAft>
                <a:spcPts val="300"/>
              </a:spcAft>
              <a:buNone/>
              <a:defRPr sz="1500"/>
            </a:lvl3pPr>
            <a:lvl4pPr marL="0" indent="0">
              <a:spcBef>
                <a:spcPts val="0"/>
              </a:spcBef>
              <a:spcAft>
                <a:spcPts val="300"/>
              </a:spcAft>
              <a:buNone/>
              <a:defRPr/>
            </a:lvl4pPr>
            <a:lvl5pPr marL="0" indent="0">
              <a:spcBef>
                <a:spcPts val="0"/>
              </a:spcBef>
              <a:spcAft>
                <a:spcPts val="300"/>
              </a:spcAft>
              <a:buNone/>
              <a:defRPr/>
            </a:lvl5pPr>
          </a:lstStyle>
          <a:p>
            <a:pPr lvl="0"/>
            <a:r>
              <a:rPr lang="en-US" smtClean="0"/>
              <a:t>Click to edit Master text styles</a:t>
            </a:r>
          </a:p>
          <a:p>
            <a:pPr lvl="1"/>
            <a:r>
              <a:rPr lang="en-US" smtClean="0"/>
              <a:t>Second level</a:t>
            </a:r>
          </a:p>
        </p:txBody>
      </p:sp>
      <p:pic>
        <p:nvPicPr>
          <p:cNvPr id="4" name="Picture 2"/>
          <p:cNvPicPr>
            <a:picLocks noChangeAspect="1"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10781020" y="6114697"/>
            <a:ext cx="1354369" cy="6269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982583060"/>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pic>
        <p:nvPicPr>
          <p:cNvPr id="3" name="Picture 2"/>
          <p:cNvPicPr>
            <a:picLocks noChangeAspect="1"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10781020" y="6114697"/>
            <a:ext cx="1354369" cy="6269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1405070"/>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Color Block Header&amp; Subtext">
    <p:spTree>
      <p:nvGrpSpPr>
        <p:cNvPr id="1" name=""/>
        <p:cNvGrpSpPr/>
        <p:nvPr/>
      </p:nvGrpSpPr>
      <p:grpSpPr>
        <a:xfrm>
          <a:off x="0" y="0"/>
          <a:ext cx="0" cy="0"/>
          <a:chOff x="0" y="0"/>
          <a:chExt cx="0" cy="0"/>
        </a:xfrm>
      </p:grpSpPr>
      <p:sp>
        <p:nvSpPr>
          <p:cNvPr id="2" name="Rectangle 1"/>
          <p:cNvSpPr/>
          <p:nvPr/>
        </p:nvSpPr>
        <p:spPr bwMode="white">
          <a:xfrm>
            <a:off x="-9524" y="-14514"/>
            <a:ext cx="4746623" cy="6974114"/>
          </a:xfrm>
          <a:prstGeom prst="rect">
            <a:avLst/>
          </a:pr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ctr" defTabSz="911815" fontAlgn="base">
              <a:spcBef>
                <a:spcPct val="0"/>
              </a:spcBef>
              <a:spcAft>
                <a:spcPct val="0"/>
              </a:spcAft>
            </a:pPr>
            <a:endParaRPr lang="en-US" sz="219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12075" y="-74571"/>
            <a:ext cx="4030896" cy="1816287"/>
          </a:xfrm>
          <a:prstGeom prst="rect">
            <a:avLst/>
          </a:prstGeom>
        </p:spPr>
        <p:txBody>
          <a:bodyPr anchor="b" anchorCtr="0">
            <a:noAutofit/>
          </a:bodyPr>
          <a:lstStyle>
            <a:lvl1pPr marL="0" indent="0">
              <a:lnSpc>
                <a:spcPts val="3800"/>
              </a:lnSpc>
              <a:spcBef>
                <a:spcPts val="0"/>
              </a:spcBef>
              <a:buNone/>
              <a:defRPr sz="3600" b="0" cap="none" spc="-150" baseline="0">
                <a:gradFill>
                  <a:gsLst>
                    <a:gs pos="100000">
                      <a:schemeClr val="bg1"/>
                    </a:gs>
                    <a:gs pos="0">
                      <a:schemeClr val="bg1"/>
                    </a:gs>
                  </a:gsLst>
                  <a:lin ang="5400000" scaled="0"/>
                </a:gradFill>
                <a:latin typeface="Segoe UI Semibold" panose="020B0702040204020203" pitchFamily="34" charset="0"/>
                <a:cs typeface="Segoe UI Semibold" panose="020B0702040204020203" pitchFamily="34" charset="0"/>
              </a:defRPr>
            </a:lvl1pPr>
            <a:lvl2pPr marL="607970" indent="0">
              <a:buNone/>
              <a:defRPr sz="2693" b="1"/>
            </a:lvl2pPr>
            <a:lvl3pPr marL="1215940" indent="0">
              <a:buNone/>
              <a:defRPr sz="2394" b="1"/>
            </a:lvl3pPr>
            <a:lvl4pPr marL="1823910" indent="0">
              <a:buNone/>
              <a:defRPr sz="2094" b="1"/>
            </a:lvl4pPr>
            <a:lvl5pPr marL="2431880" indent="0">
              <a:buNone/>
              <a:defRPr sz="2094" b="1"/>
            </a:lvl5pPr>
            <a:lvl6pPr marL="3039851" indent="0">
              <a:buNone/>
              <a:defRPr sz="2094" b="1"/>
            </a:lvl6pPr>
            <a:lvl7pPr marL="3647820" indent="0">
              <a:buNone/>
              <a:defRPr sz="2094" b="1"/>
            </a:lvl7pPr>
            <a:lvl8pPr marL="4255790" indent="0">
              <a:buNone/>
              <a:defRPr sz="2094" b="1"/>
            </a:lvl8pPr>
            <a:lvl9pPr marL="4863760" indent="0">
              <a:buNone/>
              <a:defRPr sz="2094" b="1"/>
            </a:lvl9pPr>
          </a:lstStyle>
          <a:p>
            <a:pPr lvl="0"/>
            <a:r>
              <a:rPr lang="en-US" dirty="0" smtClean="0"/>
              <a:t>Click to edit Master text styles.</a:t>
            </a:r>
          </a:p>
        </p:txBody>
      </p:sp>
      <p:sp>
        <p:nvSpPr>
          <p:cNvPr id="7" name="Text Placeholder 6"/>
          <p:cNvSpPr>
            <a:spLocks noGrp="1"/>
          </p:cNvSpPr>
          <p:nvPr>
            <p:ph type="body" sz="quarter" idx="10"/>
          </p:nvPr>
        </p:nvSpPr>
        <p:spPr>
          <a:xfrm>
            <a:off x="532922" y="2394855"/>
            <a:ext cx="3589135" cy="4336143"/>
          </a:xfrm>
        </p:spPr>
        <p:txBody>
          <a:bodyPr/>
          <a:lstStyle>
            <a:lvl1pPr marL="0" indent="0">
              <a:lnSpc>
                <a:spcPts val="2200"/>
              </a:lnSpc>
              <a:spcBef>
                <a:spcPts val="0"/>
              </a:spcBef>
              <a:spcAft>
                <a:spcPts val="1200"/>
              </a:spcAft>
              <a:buNone/>
              <a:defRPr sz="2100" spc="0" baseline="0">
                <a:solidFill>
                  <a:schemeClr val="bg1"/>
                </a:solidFill>
                <a:latin typeface="+mj-lt"/>
              </a:defRPr>
            </a:lvl1pPr>
            <a:lvl2pPr marL="0" indent="0">
              <a:lnSpc>
                <a:spcPts val="2200"/>
              </a:lnSpc>
              <a:spcBef>
                <a:spcPts val="0"/>
              </a:spcBef>
              <a:spcAft>
                <a:spcPts val="1200"/>
              </a:spcAft>
              <a:buNone/>
              <a:defRPr sz="2100" spc="0" baseline="0">
                <a:solidFill>
                  <a:schemeClr val="bg1"/>
                </a:solidFill>
                <a:latin typeface="+mj-lt"/>
              </a:defRPr>
            </a:lvl2pPr>
            <a:lvl3pPr marL="0" indent="0">
              <a:lnSpc>
                <a:spcPts val="2200"/>
              </a:lnSpc>
              <a:spcBef>
                <a:spcPts val="0"/>
              </a:spcBef>
              <a:spcAft>
                <a:spcPts val="1200"/>
              </a:spcAft>
              <a:buNone/>
              <a:defRPr sz="2100" spc="0" baseline="0">
                <a:solidFill>
                  <a:schemeClr val="bg1"/>
                </a:solidFill>
                <a:latin typeface="+mj-lt"/>
              </a:defRPr>
            </a:lvl3pPr>
            <a:lvl4pPr marL="0" indent="0">
              <a:lnSpc>
                <a:spcPts val="2200"/>
              </a:lnSpc>
              <a:spcBef>
                <a:spcPts val="0"/>
              </a:spcBef>
              <a:spcAft>
                <a:spcPts val="1200"/>
              </a:spcAft>
              <a:buNone/>
              <a:defRPr sz="2100" spc="0" baseline="0">
                <a:solidFill>
                  <a:schemeClr val="bg1"/>
                </a:solidFill>
                <a:latin typeface="+mj-lt"/>
              </a:defRPr>
            </a:lvl4pPr>
            <a:lvl5pPr marL="0" indent="0">
              <a:lnSpc>
                <a:spcPts val="2200"/>
              </a:lnSpc>
              <a:spcBef>
                <a:spcPts val="0"/>
              </a:spcBef>
              <a:spcAft>
                <a:spcPts val="1200"/>
              </a:spcAft>
              <a:buNone/>
              <a:defRPr sz="2100" spc="0" baseline="0">
                <a:solidFill>
                  <a:schemeClr val="bg1"/>
                </a:solidFill>
                <a:latin typeface="+mj-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094809366"/>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4" y="1447800"/>
            <a:ext cx="11149013" cy="1380506"/>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01871191"/>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4" y="1447800"/>
            <a:ext cx="11149013" cy="1380506"/>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82"/>
            <a:ext cx="12188826" cy="619125"/>
          </a:xfrm>
          <a:solidFill>
            <a:srgbClr val="FFFF99"/>
          </a:solidFill>
        </p:spPr>
        <p:txBody>
          <a:bodyPr wrap="square" lIns="152394" tIns="76197" rIns="152394" bIns="7619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294994152"/>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8834696"/>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cSld name="Blank Color 3 Layout">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2057890"/>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Divider Slide Green">
    <p:bg>
      <p:bgPr>
        <a:solidFill>
          <a:srgbClr val="009E49"/>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358714"/>
            <a:ext cx="10237787" cy="748025"/>
          </a:xfrm>
          <a:prstGeom prst="rect">
            <a:avLst/>
          </a:prstGeom>
        </p:spPr>
        <p:txBody>
          <a:bodyPr anchor="b" anchorCtr="0"/>
          <a:lstStyle>
            <a:lvl1pPr>
              <a:defRPr sz="5401" spc="-113" baseline="0">
                <a:solidFill>
                  <a:schemeClr val="bg1"/>
                </a:soli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5"/>
            <a:ext cx="10237787" cy="498598"/>
          </a:xfrm>
          <a:prstGeom prst="rect">
            <a:avLst/>
          </a:prstGeom>
        </p:spPr>
        <p:txBody>
          <a:bodyPr>
            <a:noAutofit/>
          </a:bodyPr>
          <a:lstStyle>
            <a:lvl1pPr marL="0" indent="0">
              <a:spcBef>
                <a:spcPts val="0"/>
              </a:spcBef>
              <a:buNone/>
              <a:defRPr spc="-53" baseline="0">
                <a:solidFill>
                  <a:schemeClr val="bg1"/>
                </a:solidFill>
                <a:latin typeface="+mj-lt"/>
              </a:defRPr>
            </a:lvl1pPr>
          </a:lstStyle>
          <a:p>
            <a:pPr lvl="0"/>
            <a:r>
              <a:rPr lang="en-US" dirty="0" smtClean="0"/>
              <a:t>Subtitle</a:t>
            </a:r>
            <a:endParaRPr lang="en-US" dirty="0"/>
          </a:p>
        </p:txBody>
      </p:sp>
      <p:pic>
        <p:nvPicPr>
          <p:cNvPr id="6" name="Picture 2"/>
          <p:cNvPicPr>
            <a:picLocks noChangeAspect="1"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10693770" y="6044843"/>
            <a:ext cx="1493010" cy="8131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626801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Punchy Slide Green">
    <p:bg>
      <p:bgPr>
        <a:solidFill>
          <a:srgbClr val="009E49"/>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6" y="3123985"/>
            <a:ext cx="11149013" cy="914417"/>
          </a:xfrm>
          <a:prstGeom prst="rect">
            <a:avLst/>
          </a:prstGeom>
        </p:spPr>
        <p:txBody>
          <a:bodyPr anchor="b" anchorCtr="0"/>
          <a:lstStyle>
            <a:lvl1pPr>
              <a:defRPr sz="6602" spc="-225" baseline="0">
                <a:solidFill>
                  <a:schemeClr val="bg1"/>
                </a:solidFill>
              </a:defRPr>
            </a:lvl1pPr>
          </a:lstStyle>
          <a:p>
            <a:r>
              <a:rPr lang="en-US" dirty="0" smtClean="0"/>
              <a:t>Click to edit title style</a:t>
            </a:r>
            <a:endParaRPr lang="en-US" dirty="0"/>
          </a:p>
        </p:txBody>
      </p:sp>
      <p:pic>
        <p:nvPicPr>
          <p:cNvPr id="3" name="Picture 2"/>
          <p:cNvPicPr>
            <a:picLocks noChangeAspect="1"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9528529" y="5410201"/>
            <a:ext cx="2658250" cy="1447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362251106"/>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Blank Slide Green">
    <p:bg>
      <p:bgPr>
        <a:solidFill>
          <a:srgbClr val="009E49"/>
        </a:solidFill>
        <a:effectLst/>
      </p:bgPr>
    </p:bg>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10693770" y="6044843"/>
            <a:ext cx="1493010" cy="8131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192583681"/>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1_Color Block Header on Left &amp; Text on Right ">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bwMode="white">
          <a:xfrm>
            <a:off x="6202363" y="0"/>
            <a:ext cx="5986463" cy="6858000"/>
          </a:xfrm>
          <a:prstGeom prst="rect">
            <a:avLst/>
          </a:prstGeom>
          <a:solidFill>
            <a:srgbClr val="009E4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8" tIns="34298" rIns="34298" bIns="34298" numCol="1" spcCol="0" rtlCol="0" fromWordArt="0" anchor="ctr" anchorCtr="0" forceAA="0" compatLnSpc="1">
            <a:prstTxWarp prst="textNoShape">
              <a:avLst/>
            </a:prstTxWarp>
            <a:noAutofit/>
          </a:bodyPr>
          <a:lstStyle/>
          <a:p>
            <a:pPr algn="ctr" defTabSz="685729" fontAlgn="base">
              <a:spcBef>
                <a:spcPct val="0"/>
              </a:spcBef>
              <a:spcAft>
                <a:spcPct val="0"/>
              </a:spcAft>
            </a:pPr>
            <a:endParaRPr lang="en-US" sz="1725"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8532813" y="1459092"/>
            <a:ext cx="3278981" cy="1661993"/>
          </a:xfrm>
          <a:prstGeom prst="rect">
            <a:avLst/>
          </a:prstGeom>
        </p:spPr>
        <p:txBody>
          <a:bodyPr lIns="121899" tIns="60949" rIns="121899" bIns="60949">
            <a:noAutofit/>
          </a:bodyPr>
          <a:lstStyle>
            <a:lvl1pPr marL="0" indent="0">
              <a:buNone/>
              <a:defRPr sz="3001" b="0" cap="none" baseline="0">
                <a:solidFill>
                  <a:schemeClr val="bg1"/>
                </a:solidFill>
                <a:latin typeface="+mj-lt"/>
              </a:defRPr>
            </a:lvl1pPr>
            <a:lvl2pPr marL="457223" indent="0">
              <a:buNone/>
              <a:defRPr sz="2026" b="1"/>
            </a:lvl2pPr>
            <a:lvl3pPr marL="914446" indent="0">
              <a:buNone/>
              <a:defRPr sz="1800" b="1"/>
            </a:lvl3pPr>
            <a:lvl4pPr marL="1371669" indent="0">
              <a:buNone/>
              <a:defRPr sz="1575" b="1"/>
            </a:lvl4pPr>
            <a:lvl5pPr marL="1828892" indent="0">
              <a:buNone/>
              <a:defRPr sz="1575" b="1"/>
            </a:lvl5pPr>
            <a:lvl6pPr marL="2286114" indent="0">
              <a:buNone/>
              <a:defRPr sz="1575" b="1"/>
            </a:lvl6pPr>
            <a:lvl7pPr marL="2743337" indent="0">
              <a:buNone/>
              <a:defRPr sz="1575" b="1"/>
            </a:lvl7pPr>
            <a:lvl8pPr marL="3200560" indent="0">
              <a:buNone/>
              <a:defRPr sz="1575" b="1"/>
            </a:lvl8pPr>
            <a:lvl9pPr marL="3657783" indent="0">
              <a:buNone/>
              <a:defRPr sz="1575" b="1"/>
            </a:lvl9pPr>
          </a:lstStyle>
          <a:p>
            <a:pPr lvl="0"/>
            <a:r>
              <a:rPr lang="en-US" dirty="0" smtClean="0"/>
              <a:t>Click to edit Master text styles.</a:t>
            </a:r>
          </a:p>
        </p:txBody>
      </p:sp>
      <p:sp>
        <p:nvSpPr>
          <p:cNvPr id="6" name="Content Placeholder 5"/>
          <p:cNvSpPr>
            <a:spLocks noGrp="1"/>
          </p:cNvSpPr>
          <p:nvPr>
            <p:ph sz="quarter" idx="4"/>
          </p:nvPr>
        </p:nvSpPr>
        <p:spPr>
          <a:xfrm>
            <a:off x="385661" y="1625463"/>
            <a:ext cx="5484741" cy="332399"/>
          </a:xfrm>
          <a:prstGeom prst="rect">
            <a:avLst/>
          </a:prstGeom>
        </p:spPr>
        <p:txBody>
          <a:bodyPr lIns="121899" tIns="60949" rIns="121899" bIns="60949">
            <a:noAutofit/>
          </a:bodyPr>
          <a:lstStyle>
            <a:lvl1pPr marL="0" indent="0">
              <a:spcBef>
                <a:spcPts val="900"/>
              </a:spcBef>
              <a:buNone/>
              <a:defRPr lang="en-US" sz="1500" kern="1200" spc="0" dirty="0" smtClean="0">
                <a:solidFill>
                  <a:srgbClr val="009E49"/>
                </a:solidFill>
                <a:latin typeface="+mn-lt"/>
                <a:ea typeface="+mn-ea"/>
                <a:cs typeface="Segoe UI" pitchFamily="34" charset="0"/>
              </a:defRPr>
            </a:lvl1pPr>
            <a:lvl2pPr marL="685834" indent="-285764">
              <a:defRPr lang="en-US" sz="1575" kern="1200" dirty="0" smtClean="0">
                <a:solidFill>
                  <a:schemeClr val="bg2">
                    <a:lumMod val="50000"/>
                  </a:schemeClr>
                </a:solidFill>
                <a:latin typeface="+mn-lt"/>
                <a:ea typeface="+mn-ea"/>
                <a:cs typeface="Arial" pitchFamily="34" charset="0"/>
              </a:defRPr>
            </a:lvl2pPr>
            <a:lvl3pPr marL="685834" indent="-171459">
              <a:defRPr lang="en-US" sz="1425" kern="1200" dirty="0" smtClean="0">
                <a:solidFill>
                  <a:schemeClr val="bg2">
                    <a:lumMod val="50000"/>
                  </a:schemeClr>
                </a:solidFill>
                <a:latin typeface="+mn-lt"/>
                <a:ea typeface="+mn-ea"/>
                <a:cs typeface="Arial" pitchFamily="34" charset="0"/>
              </a:defRPr>
            </a:lvl3pPr>
            <a:lvl4pPr marL="914446" indent="-171459">
              <a:defRPr lang="en-US" sz="1200" kern="1200" dirty="0" smtClean="0">
                <a:solidFill>
                  <a:schemeClr val="bg2">
                    <a:lumMod val="50000"/>
                  </a:schemeClr>
                </a:solidFill>
                <a:latin typeface="+mn-lt"/>
                <a:ea typeface="+mn-ea"/>
                <a:cs typeface="Arial" pitchFamily="34" charset="0"/>
              </a:defRPr>
            </a:lvl4pPr>
            <a:lvl5pPr marL="1085905" indent="-171459">
              <a:defRPr lang="en-US" sz="1200" kern="1200" dirty="0">
                <a:solidFill>
                  <a:schemeClr val="bg2">
                    <a:lumMod val="50000"/>
                  </a:schemeClr>
                </a:solidFill>
                <a:latin typeface="+mn-lt"/>
                <a:ea typeface="+mn-ea"/>
                <a:cs typeface="Arial" pitchFamily="34" charset="0"/>
              </a:defRPr>
            </a:lvl5pPr>
            <a:lvl6pPr>
              <a:defRPr sz="1575"/>
            </a:lvl6pPr>
            <a:lvl7pPr>
              <a:defRPr sz="1575"/>
            </a:lvl7pPr>
            <a:lvl8pPr>
              <a:defRPr sz="1575"/>
            </a:lvl8pPr>
            <a:lvl9pPr>
              <a:defRPr sz="1575"/>
            </a:lvl9pPr>
          </a:lstStyle>
          <a:p>
            <a:pPr lvl="0"/>
            <a:r>
              <a:rPr lang="en-US" smtClean="0"/>
              <a:t>Click to edit Master text styles</a:t>
            </a:r>
          </a:p>
        </p:txBody>
      </p:sp>
      <p:pic>
        <p:nvPicPr>
          <p:cNvPr id="7" name="Picture 2"/>
          <p:cNvPicPr>
            <a:picLocks noChangeAspect="1"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10693770" y="6044843"/>
            <a:ext cx="1493010" cy="8131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803415299"/>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2_Color Block Header on Left &amp; Text on Right ">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bwMode="white">
          <a:xfrm>
            <a:off x="1" y="0"/>
            <a:ext cx="5986463" cy="6858000"/>
          </a:xfrm>
          <a:prstGeom prst="rect">
            <a:avLst/>
          </a:prstGeom>
          <a:solidFill>
            <a:srgbClr val="009E4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8" tIns="34298" rIns="34298" bIns="34298" numCol="1" spcCol="0" rtlCol="0" fromWordArt="0" anchor="ctr" anchorCtr="0" forceAA="0" compatLnSpc="1">
            <a:prstTxWarp prst="textNoShape">
              <a:avLst/>
            </a:prstTxWarp>
            <a:noAutofit/>
          </a:bodyPr>
          <a:lstStyle/>
          <a:p>
            <a:pPr algn="ctr" defTabSz="685729" fontAlgn="base">
              <a:spcBef>
                <a:spcPct val="0"/>
              </a:spcBef>
              <a:spcAft>
                <a:spcPct val="0"/>
              </a:spcAft>
            </a:pPr>
            <a:endParaRPr lang="en-US" sz="1725"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377032" y="1411467"/>
            <a:ext cx="5232401" cy="1661993"/>
          </a:xfrm>
          <a:prstGeom prst="rect">
            <a:avLst/>
          </a:prstGeom>
        </p:spPr>
        <p:txBody>
          <a:bodyPr lIns="121899" tIns="60949" rIns="121899" bIns="60949">
            <a:noAutofit/>
          </a:bodyPr>
          <a:lstStyle>
            <a:lvl1pPr marL="0" indent="0">
              <a:buNone/>
              <a:defRPr sz="3001" b="0" cap="none" baseline="0">
                <a:solidFill>
                  <a:schemeClr val="bg1"/>
                </a:solidFill>
                <a:latin typeface="+mj-lt"/>
              </a:defRPr>
            </a:lvl1pPr>
            <a:lvl2pPr marL="457223" indent="0">
              <a:buNone/>
              <a:defRPr sz="2026" b="1"/>
            </a:lvl2pPr>
            <a:lvl3pPr marL="914446" indent="0">
              <a:buNone/>
              <a:defRPr sz="1800" b="1"/>
            </a:lvl3pPr>
            <a:lvl4pPr marL="1371669" indent="0">
              <a:buNone/>
              <a:defRPr sz="1575" b="1"/>
            </a:lvl4pPr>
            <a:lvl5pPr marL="1828892" indent="0">
              <a:buNone/>
              <a:defRPr sz="1575" b="1"/>
            </a:lvl5pPr>
            <a:lvl6pPr marL="2286114" indent="0">
              <a:buNone/>
              <a:defRPr sz="1575" b="1"/>
            </a:lvl6pPr>
            <a:lvl7pPr marL="2743337" indent="0">
              <a:buNone/>
              <a:defRPr sz="1575" b="1"/>
            </a:lvl7pPr>
            <a:lvl8pPr marL="3200560" indent="0">
              <a:buNone/>
              <a:defRPr sz="1575" b="1"/>
            </a:lvl8pPr>
            <a:lvl9pPr marL="3657783" indent="0">
              <a:buNone/>
              <a:defRPr sz="1575" b="1"/>
            </a:lvl9pPr>
          </a:lstStyle>
          <a:p>
            <a:pPr lvl="0"/>
            <a:r>
              <a:rPr lang="en-US" dirty="0" smtClean="0"/>
              <a:t>Click to edit Master text styles.</a:t>
            </a:r>
          </a:p>
        </p:txBody>
      </p:sp>
      <p:sp>
        <p:nvSpPr>
          <p:cNvPr id="6" name="Content Placeholder 5"/>
          <p:cNvSpPr>
            <a:spLocks noGrp="1"/>
          </p:cNvSpPr>
          <p:nvPr>
            <p:ph sz="quarter" idx="4"/>
          </p:nvPr>
        </p:nvSpPr>
        <p:spPr>
          <a:xfrm>
            <a:off x="6453224" y="1634987"/>
            <a:ext cx="5484741" cy="332399"/>
          </a:xfrm>
          <a:prstGeom prst="rect">
            <a:avLst/>
          </a:prstGeom>
        </p:spPr>
        <p:txBody>
          <a:bodyPr lIns="121899" tIns="60949" rIns="121899" bIns="60949">
            <a:noAutofit/>
          </a:bodyPr>
          <a:lstStyle>
            <a:lvl1pPr marL="0" indent="0">
              <a:spcBef>
                <a:spcPts val="900"/>
              </a:spcBef>
              <a:buNone/>
              <a:defRPr lang="en-US" sz="1500" kern="1200" spc="0" dirty="0" smtClean="0">
                <a:solidFill>
                  <a:srgbClr val="009E49"/>
                </a:solidFill>
                <a:latin typeface="+mn-lt"/>
                <a:ea typeface="+mn-ea"/>
                <a:cs typeface="Segoe UI" pitchFamily="34" charset="0"/>
              </a:defRPr>
            </a:lvl1pPr>
            <a:lvl2pPr marL="685834" indent="-285764">
              <a:defRPr lang="en-US" sz="1575" kern="1200" dirty="0" smtClean="0">
                <a:solidFill>
                  <a:schemeClr val="bg2">
                    <a:lumMod val="50000"/>
                  </a:schemeClr>
                </a:solidFill>
                <a:latin typeface="+mn-lt"/>
                <a:ea typeface="+mn-ea"/>
                <a:cs typeface="Arial" pitchFamily="34" charset="0"/>
              </a:defRPr>
            </a:lvl2pPr>
            <a:lvl3pPr marL="685834" indent="-171459">
              <a:defRPr lang="en-US" sz="1425" kern="1200" dirty="0" smtClean="0">
                <a:solidFill>
                  <a:schemeClr val="bg2">
                    <a:lumMod val="50000"/>
                  </a:schemeClr>
                </a:solidFill>
                <a:latin typeface="+mn-lt"/>
                <a:ea typeface="+mn-ea"/>
                <a:cs typeface="Arial" pitchFamily="34" charset="0"/>
              </a:defRPr>
            </a:lvl3pPr>
            <a:lvl4pPr marL="914446" indent="-171459">
              <a:defRPr lang="en-US" sz="1200" kern="1200" dirty="0" smtClean="0">
                <a:solidFill>
                  <a:schemeClr val="bg2">
                    <a:lumMod val="50000"/>
                  </a:schemeClr>
                </a:solidFill>
                <a:latin typeface="+mn-lt"/>
                <a:ea typeface="+mn-ea"/>
                <a:cs typeface="Arial" pitchFamily="34" charset="0"/>
              </a:defRPr>
            </a:lvl4pPr>
            <a:lvl5pPr marL="1085905" indent="-171459">
              <a:defRPr lang="en-US" sz="1200" kern="1200" dirty="0">
                <a:solidFill>
                  <a:schemeClr val="bg2">
                    <a:lumMod val="50000"/>
                  </a:schemeClr>
                </a:solidFill>
                <a:latin typeface="+mn-lt"/>
                <a:ea typeface="+mn-ea"/>
                <a:cs typeface="Arial" pitchFamily="34" charset="0"/>
              </a:defRPr>
            </a:lvl5pPr>
            <a:lvl6pPr>
              <a:defRPr sz="1575"/>
            </a:lvl6pPr>
            <a:lvl7pPr>
              <a:defRPr sz="1575"/>
            </a:lvl7pPr>
            <a:lvl8pPr>
              <a:defRPr sz="1575"/>
            </a:lvl8pPr>
            <a:lvl9pPr>
              <a:defRPr sz="1575"/>
            </a:lvl9pPr>
          </a:lstStyle>
          <a:p>
            <a:pPr lvl="0"/>
            <a:r>
              <a:rPr lang="en-US" smtClean="0"/>
              <a:t>Click to edit Master text styles</a:t>
            </a:r>
          </a:p>
        </p:txBody>
      </p:sp>
      <p:pic>
        <p:nvPicPr>
          <p:cNvPr id="8" name="Picture 2"/>
          <p:cNvPicPr>
            <a:picLocks noChangeAspect="1"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10781020" y="6114697"/>
            <a:ext cx="1354369" cy="6269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693809229"/>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2"/>
            <a:ext cx="10237787" cy="997196"/>
          </a:xfrm>
        </p:spPr>
        <p:txBody>
          <a:bodyPr anchor="b" anchorCtr="0"/>
          <a:lstStyle>
            <a:lvl1pPr>
              <a:defRPr sz="7182" spc="-150" baseline="0">
                <a:gradFill>
                  <a:gsLst>
                    <a:gs pos="1250">
                      <a:schemeClr val="bg1"/>
                    </a:gs>
                    <a:gs pos="100000">
                      <a:schemeClr val="bg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5"/>
            <a:ext cx="10237787" cy="498598"/>
          </a:xfrm>
        </p:spPr>
        <p:txBody>
          <a:bodyPr>
            <a:noAutofit/>
          </a:bodyPr>
          <a:lstStyle>
            <a:lvl1pPr marL="0" indent="0">
              <a:spcBef>
                <a:spcPts val="0"/>
              </a:spcBef>
              <a:buNone/>
              <a:defRPr spc="-70" baseline="0">
                <a:gradFill>
                  <a:gsLst>
                    <a:gs pos="0">
                      <a:schemeClr val="bg1"/>
                    </a:gs>
                    <a:gs pos="100000">
                      <a:schemeClr val="bg1"/>
                    </a:gs>
                  </a:gsLst>
                  <a:lin ang="5400000" scaled="0"/>
                </a:gradFill>
                <a:latin typeface="+mj-lt"/>
              </a:defRPr>
            </a:lvl1pPr>
          </a:lstStyle>
          <a:p>
            <a:pPr lvl="0"/>
            <a:r>
              <a:rPr lang="en-US" dirty="0" smtClean="0"/>
              <a:t>Speaker Title</a:t>
            </a:r>
            <a:endParaRPr lang="en-US" dirty="0"/>
          </a:p>
        </p:txBody>
      </p:sp>
      <p:pic>
        <p:nvPicPr>
          <p:cNvPr id="6" name="Picture 5"/>
          <p:cNvPicPr>
            <a:picLocks noChangeAspect="1"/>
          </p:cNvPicPr>
          <p:nvPr userDrawn="1"/>
        </p:nvPicPr>
        <p:blipFill>
          <a:blip r:embed="rId2"/>
          <a:stretch>
            <a:fillRect/>
          </a:stretch>
        </p:blipFill>
        <p:spPr>
          <a:xfrm>
            <a:off x="9833518" y="5883313"/>
            <a:ext cx="1930320" cy="763197"/>
          </a:xfrm>
          <a:prstGeom prst="rect">
            <a:avLst/>
          </a:prstGeom>
        </p:spPr>
      </p:pic>
    </p:spTree>
    <p:extLst>
      <p:ext uri="{BB962C8B-B14F-4D97-AF65-F5344CB8AC3E}">
        <p14:creationId xmlns:p14="http://schemas.microsoft.com/office/powerpoint/2010/main" val="40319817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Color Block Header&amp; Subtext">
    <p:spTree>
      <p:nvGrpSpPr>
        <p:cNvPr id="1" name=""/>
        <p:cNvGrpSpPr/>
        <p:nvPr/>
      </p:nvGrpSpPr>
      <p:grpSpPr>
        <a:xfrm>
          <a:off x="0" y="0"/>
          <a:ext cx="0" cy="0"/>
          <a:chOff x="0" y="0"/>
          <a:chExt cx="0" cy="0"/>
        </a:xfrm>
      </p:grpSpPr>
      <p:sp>
        <p:nvSpPr>
          <p:cNvPr id="2" name="Rectangle 1"/>
          <p:cNvSpPr/>
          <p:nvPr/>
        </p:nvSpPr>
        <p:spPr bwMode="white">
          <a:xfrm>
            <a:off x="-9523" y="-14514"/>
            <a:ext cx="4712152" cy="697411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ctr" defTabSz="911815" fontAlgn="base">
              <a:spcBef>
                <a:spcPct val="0"/>
              </a:spcBef>
              <a:spcAft>
                <a:spcPct val="0"/>
              </a:spcAft>
            </a:pPr>
            <a:endParaRPr lang="en-US" sz="219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12075" y="-74571"/>
            <a:ext cx="4030896" cy="1816287"/>
          </a:xfrm>
          <a:prstGeom prst="rect">
            <a:avLst/>
          </a:prstGeom>
        </p:spPr>
        <p:txBody>
          <a:bodyPr anchor="b" anchorCtr="0">
            <a:noAutofit/>
          </a:bodyPr>
          <a:lstStyle>
            <a:lvl1pPr marL="0" indent="0">
              <a:lnSpc>
                <a:spcPts val="3800"/>
              </a:lnSpc>
              <a:spcBef>
                <a:spcPts val="0"/>
              </a:spcBef>
              <a:buNone/>
              <a:defRPr sz="3600" b="0" cap="none" spc="-150" baseline="0">
                <a:gradFill>
                  <a:gsLst>
                    <a:gs pos="100000">
                      <a:schemeClr val="bg1"/>
                    </a:gs>
                    <a:gs pos="0">
                      <a:schemeClr val="bg1"/>
                    </a:gs>
                  </a:gsLst>
                  <a:lin ang="5400000" scaled="0"/>
                </a:gradFill>
                <a:latin typeface="Segoe UI Semibold" panose="020B0702040204020203" pitchFamily="34" charset="0"/>
                <a:cs typeface="Segoe UI Semibold" panose="020B0702040204020203" pitchFamily="34" charset="0"/>
              </a:defRPr>
            </a:lvl1pPr>
            <a:lvl2pPr marL="607970" indent="0">
              <a:buNone/>
              <a:defRPr sz="2693" b="1"/>
            </a:lvl2pPr>
            <a:lvl3pPr marL="1215940" indent="0">
              <a:buNone/>
              <a:defRPr sz="2394" b="1"/>
            </a:lvl3pPr>
            <a:lvl4pPr marL="1823910" indent="0">
              <a:buNone/>
              <a:defRPr sz="2094" b="1"/>
            </a:lvl4pPr>
            <a:lvl5pPr marL="2431880" indent="0">
              <a:buNone/>
              <a:defRPr sz="2094" b="1"/>
            </a:lvl5pPr>
            <a:lvl6pPr marL="3039851" indent="0">
              <a:buNone/>
              <a:defRPr sz="2094" b="1"/>
            </a:lvl6pPr>
            <a:lvl7pPr marL="3647820" indent="0">
              <a:buNone/>
              <a:defRPr sz="2094" b="1"/>
            </a:lvl7pPr>
            <a:lvl8pPr marL="4255790" indent="0">
              <a:buNone/>
              <a:defRPr sz="2094" b="1"/>
            </a:lvl8pPr>
            <a:lvl9pPr marL="4863760" indent="0">
              <a:buNone/>
              <a:defRPr sz="2094" b="1"/>
            </a:lvl9pPr>
          </a:lstStyle>
          <a:p>
            <a:pPr lvl="0"/>
            <a:r>
              <a:rPr lang="en-US" dirty="0" smtClean="0"/>
              <a:t>Click to edit Master text styles.</a:t>
            </a:r>
          </a:p>
        </p:txBody>
      </p:sp>
      <p:sp>
        <p:nvSpPr>
          <p:cNvPr id="7" name="Text Placeholder 6"/>
          <p:cNvSpPr>
            <a:spLocks noGrp="1"/>
          </p:cNvSpPr>
          <p:nvPr>
            <p:ph type="body" sz="quarter" idx="10"/>
          </p:nvPr>
        </p:nvSpPr>
        <p:spPr>
          <a:xfrm>
            <a:off x="532922" y="2394855"/>
            <a:ext cx="3589135" cy="4336143"/>
          </a:xfrm>
        </p:spPr>
        <p:txBody>
          <a:bodyPr/>
          <a:lstStyle>
            <a:lvl1pPr marL="0" indent="0">
              <a:lnSpc>
                <a:spcPts val="2200"/>
              </a:lnSpc>
              <a:spcBef>
                <a:spcPts val="0"/>
              </a:spcBef>
              <a:spcAft>
                <a:spcPts val="1200"/>
              </a:spcAft>
              <a:buNone/>
              <a:defRPr sz="2100" spc="0" baseline="0">
                <a:solidFill>
                  <a:schemeClr val="bg1"/>
                </a:solidFill>
                <a:latin typeface="+mj-lt"/>
              </a:defRPr>
            </a:lvl1pPr>
            <a:lvl2pPr marL="0" indent="0">
              <a:lnSpc>
                <a:spcPts val="2200"/>
              </a:lnSpc>
              <a:spcBef>
                <a:spcPts val="0"/>
              </a:spcBef>
              <a:spcAft>
                <a:spcPts val="1200"/>
              </a:spcAft>
              <a:buNone/>
              <a:defRPr sz="2100" spc="0" baseline="0">
                <a:solidFill>
                  <a:schemeClr val="bg1"/>
                </a:solidFill>
                <a:latin typeface="+mj-lt"/>
              </a:defRPr>
            </a:lvl2pPr>
            <a:lvl3pPr marL="0" indent="0">
              <a:lnSpc>
                <a:spcPts val="2200"/>
              </a:lnSpc>
              <a:spcBef>
                <a:spcPts val="0"/>
              </a:spcBef>
              <a:spcAft>
                <a:spcPts val="1200"/>
              </a:spcAft>
              <a:buNone/>
              <a:defRPr sz="2100" spc="0" baseline="0">
                <a:solidFill>
                  <a:schemeClr val="bg1"/>
                </a:solidFill>
                <a:latin typeface="+mj-lt"/>
              </a:defRPr>
            </a:lvl3pPr>
            <a:lvl4pPr marL="0" indent="0">
              <a:lnSpc>
                <a:spcPts val="2200"/>
              </a:lnSpc>
              <a:spcBef>
                <a:spcPts val="0"/>
              </a:spcBef>
              <a:spcAft>
                <a:spcPts val="1200"/>
              </a:spcAft>
              <a:buNone/>
              <a:defRPr sz="2100" spc="0" baseline="0">
                <a:solidFill>
                  <a:schemeClr val="bg1"/>
                </a:solidFill>
                <a:latin typeface="+mj-lt"/>
              </a:defRPr>
            </a:lvl4pPr>
            <a:lvl5pPr marL="0" indent="0">
              <a:lnSpc>
                <a:spcPts val="2200"/>
              </a:lnSpc>
              <a:spcBef>
                <a:spcPts val="0"/>
              </a:spcBef>
              <a:spcAft>
                <a:spcPts val="1200"/>
              </a:spcAft>
              <a:buNone/>
              <a:defRPr sz="2100" spc="0" baseline="0">
                <a:solidFill>
                  <a:schemeClr val="bg1"/>
                </a:solidFill>
                <a:latin typeface="+mj-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596843280"/>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Divider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3" y="2819606"/>
            <a:ext cx="11149013" cy="1218795"/>
          </a:xfrm>
        </p:spPr>
        <p:txBody>
          <a:bodyPr anchor="b" anchorCtr="0"/>
          <a:lstStyle>
            <a:lvl1pPr>
              <a:defRPr sz="8778" spc="-299" baseline="0">
                <a:gradFill>
                  <a:gsLst>
                    <a:gs pos="100000">
                      <a:schemeClr val="bg1"/>
                    </a:gs>
                    <a:gs pos="0">
                      <a:schemeClr val="bg1"/>
                    </a:gs>
                  </a:gsLst>
                  <a:lin ang="5400000" scaled="0"/>
                </a:gradFill>
              </a:defRPr>
            </a:lvl1pPr>
          </a:lstStyle>
          <a:p>
            <a:r>
              <a:rPr lang="en-US" dirty="0" smtClean="0"/>
              <a:t>Click to edit title style</a:t>
            </a:r>
            <a:endParaRPr lang="en-US" dirty="0"/>
          </a:p>
        </p:txBody>
      </p:sp>
      <p:pic>
        <p:nvPicPr>
          <p:cNvPr id="5" name="Picture 4"/>
          <p:cNvPicPr>
            <a:picLocks noChangeAspect="1"/>
          </p:cNvPicPr>
          <p:nvPr userDrawn="1"/>
        </p:nvPicPr>
        <p:blipFill>
          <a:blip r:embed="rId2"/>
          <a:stretch>
            <a:fillRect/>
          </a:stretch>
        </p:blipFill>
        <p:spPr>
          <a:xfrm>
            <a:off x="10795674" y="6255100"/>
            <a:ext cx="1269536" cy="501941"/>
          </a:xfrm>
          <a:prstGeom prst="rect">
            <a:avLst/>
          </a:prstGeom>
        </p:spPr>
      </p:pic>
    </p:spTree>
    <p:extLst>
      <p:ext uri="{BB962C8B-B14F-4D97-AF65-F5344CB8AC3E}">
        <p14:creationId xmlns:p14="http://schemas.microsoft.com/office/powerpoint/2010/main" val="930164113"/>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4241" y="5292983"/>
            <a:ext cx="11149013" cy="1218795"/>
          </a:xfrm>
        </p:spPr>
        <p:txBody>
          <a:bodyPr anchor="b" anchorCtr="0"/>
          <a:lstStyle>
            <a:lvl1pPr>
              <a:defRPr sz="7200" spc="-299" baseline="0">
                <a:gradFill>
                  <a:gsLst>
                    <a:gs pos="100000">
                      <a:schemeClr val="bg1"/>
                    </a:gs>
                    <a:gs pos="0">
                      <a:schemeClr val="bg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585899494"/>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139" y="4343404"/>
            <a:ext cx="10237786" cy="461665"/>
          </a:xfrm>
        </p:spPr>
        <p:txBody>
          <a:bodyPr>
            <a:noAutofit/>
          </a:bodyPr>
          <a:lstStyle>
            <a:lvl1pPr marL="0" indent="0" algn="l">
              <a:lnSpc>
                <a:spcPct val="90000"/>
              </a:lnSpc>
              <a:spcBef>
                <a:spcPts val="0"/>
              </a:spcBef>
              <a:buNone/>
              <a:defRPr lang="en-US" sz="3591" kern="1200" spc="-70" baseline="0" dirty="0">
                <a:gradFill>
                  <a:gsLst>
                    <a:gs pos="2083">
                      <a:schemeClr val="bg2"/>
                    </a:gs>
                    <a:gs pos="99000">
                      <a:schemeClr val="bg2"/>
                    </a:gs>
                  </a:gsLst>
                  <a:lin ang="5400000" scaled="0"/>
                </a:gradFill>
                <a:latin typeface="+mj-lt"/>
                <a:ea typeface="+mn-ea"/>
                <a:cs typeface="+mn-cs"/>
              </a:defRPr>
            </a:lvl1pPr>
            <a:lvl2pPr marL="456040" indent="0" algn="ctr">
              <a:buNone/>
              <a:defRPr>
                <a:solidFill>
                  <a:schemeClr val="tx1">
                    <a:tint val="75000"/>
                  </a:schemeClr>
                </a:solidFill>
              </a:defRPr>
            </a:lvl2pPr>
            <a:lvl3pPr marL="912078" indent="0" algn="ctr">
              <a:buNone/>
              <a:defRPr>
                <a:solidFill>
                  <a:schemeClr val="tx1">
                    <a:tint val="75000"/>
                  </a:schemeClr>
                </a:solidFill>
              </a:defRPr>
            </a:lvl3pPr>
            <a:lvl4pPr marL="1368118" indent="0" algn="ctr">
              <a:buNone/>
              <a:defRPr>
                <a:solidFill>
                  <a:schemeClr val="tx1">
                    <a:tint val="75000"/>
                  </a:schemeClr>
                </a:solidFill>
              </a:defRPr>
            </a:lvl4pPr>
            <a:lvl5pPr marL="1824156" indent="0" algn="ctr">
              <a:buNone/>
              <a:defRPr>
                <a:solidFill>
                  <a:schemeClr val="tx1">
                    <a:tint val="75000"/>
                  </a:schemeClr>
                </a:solidFill>
              </a:defRPr>
            </a:lvl5pPr>
            <a:lvl6pPr marL="2280196" indent="0" algn="ctr">
              <a:buNone/>
              <a:defRPr>
                <a:solidFill>
                  <a:schemeClr val="tx1">
                    <a:tint val="75000"/>
                  </a:schemeClr>
                </a:solidFill>
              </a:defRPr>
            </a:lvl6pPr>
            <a:lvl7pPr marL="2736234" indent="0" algn="ctr">
              <a:buNone/>
              <a:defRPr>
                <a:solidFill>
                  <a:schemeClr val="tx1">
                    <a:tint val="75000"/>
                  </a:schemeClr>
                </a:solidFill>
              </a:defRPr>
            </a:lvl7pPr>
            <a:lvl8pPr marL="3192274" indent="0" algn="ctr">
              <a:buNone/>
              <a:defRPr>
                <a:solidFill>
                  <a:schemeClr val="tx1">
                    <a:tint val="75000"/>
                  </a:schemeClr>
                </a:solidFill>
              </a:defRPr>
            </a:lvl8pPr>
            <a:lvl9pPr marL="3648313" indent="0" algn="ctr">
              <a:buNone/>
              <a:defRPr>
                <a:solidFill>
                  <a:schemeClr val="tx1">
                    <a:tint val="75000"/>
                  </a:schemeClr>
                </a:solidFill>
              </a:defRPr>
            </a:lvl9pPr>
          </a:lstStyle>
          <a:p>
            <a:pPr marL="0" marR="0" lvl="0" indent="0" algn="l" defTabSz="912078"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140" y="2739678"/>
            <a:ext cx="10245725"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576" b="0" kern="1200" cap="none" spc="-399" baseline="0" dirty="0" smtClean="0">
                <a:ln w="3175">
                  <a:noFill/>
                </a:ln>
                <a:gradFill>
                  <a:gsLst>
                    <a:gs pos="100000">
                      <a:schemeClr val="tx2"/>
                    </a:gs>
                    <a:gs pos="0">
                      <a:schemeClr val="tx2"/>
                    </a:gs>
                  </a:gsLst>
                  <a:lin ang="5400000" scaled="0"/>
                </a:gra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140" y="1447800"/>
            <a:ext cx="10237787" cy="914096"/>
          </a:xfrm>
        </p:spPr>
        <p:txBody>
          <a:bodyPr wrap="square" anchor="b">
            <a:noAutofit/>
          </a:bodyPr>
          <a:lstStyle>
            <a:lvl1pPr marL="0" indent="0">
              <a:buNone/>
              <a:defRPr sz="6583" spc="-150"/>
            </a:lvl1pPr>
          </a:lstStyle>
          <a:p>
            <a:pPr lvl="0"/>
            <a:r>
              <a:rPr lang="en-US" smtClean="0"/>
              <a:t>Click to edit Master text styles</a:t>
            </a:r>
          </a:p>
        </p:txBody>
      </p:sp>
    </p:spTree>
    <p:extLst>
      <p:ext uri="{BB962C8B-B14F-4D97-AF65-F5344CB8AC3E}">
        <p14:creationId xmlns:p14="http://schemas.microsoft.com/office/powerpoint/2010/main" val="260296180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3" y="1447799"/>
            <a:ext cx="11149013" cy="1975926"/>
          </a:xfrm>
          <a:prstGeom prst="rect">
            <a:avLst/>
          </a:prstGeom>
        </p:spPr>
        <p:txBody>
          <a:bodyPr/>
          <a:lstStyle>
            <a:lvl1pPr marL="0" indent="0">
              <a:spcBef>
                <a:spcPts val="2394"/>
              </a:spcBef>
              <a:buNone/>
              <a:defRPr sz="3990">
                <a:gradFill>
                  <a:gsLst>
                    <a:gs pos="100000">
                      <a:schemeClr val="tx2"/>
                    </a:gs>
                    <a:gs pos="0">
                      <a:schemeClr val="tx2"/>
                    </a:gs>
                  </a:gsLst>
                  <a:lin ang="5400000" scaled="0"/>
                </a:gradFill>
                <a:latin typeface="+mj-lt"/>
              </a:defRPr>
            </a:lvl1pPr>
            <a:lvl2pPr marL="0" indent="0">
              <a:buNone/>
              <a:defRPr sz="1995">
                <a:gradFill>
                  <a:gsLst>
                    <a:gs pos="100000">
                      <a:schemeClr val="bg2"/>
                    </a:gs>
                    <a:gs pos="6000">
                      <a:schemeClr val="bg2"/>
                    </a:gs>
                  </a:gsLst>
                  <a:lin ang="5400000" scaled="0"/>
                </a:gradFill>
              </a:defRPr>
            </a:lvl2pPr>
            <a:lvl3pPr marL="231195" indent="0">
              <a:buNone/>
              <a:defRPr sz="1995">
                <a:gradFill>
                  <a:gsLst>
                    <a:gs pos="100000">
                      <a:schemeClr val="bg2"/>
                    </a:gs>
                    <a:gs pos="6000">
                      <a:schemeClr val="bg2"/>
                    </a:gs>
                  </a:gsLst>
                  <a:lin ang="5400000" scaled="0"/>
                </a:gradFill>
              </a:defRPr>
            </a:lvl3pPr>
            <a:lvl4pPr marL="456057" indent="0">
              <a:buNone/>
              <a:defRPr sz="1995">
                <a:gradFill>
                  <a:gsLst>
                    <a:gs pos="100000">
                      <a:schemeClr val="bg2"/>
                    </a:gs>
                    <a:gs pos="6000">
                      <a:schemeClr val="bg2"/>
                    </a:gs>
                  </a:gsLst>
                  <a:lin ang="5400000" scaled="0"/>
                </a:gradFill>
              </a:defRPr>
            </a:lvl4pPr>
            <a:lvl5pPr marL="692004" indent="0">
              <a:buNone/>
              <a:defRPr sz="1995">
                <a:gradFill>
                  <a:gsLst>
                    <a:gs pos="100000">
                      <a:schemeClr val="bg2"/>
                    </a:gs>
                    <a:gs pos="6000">
                      <a:schemeClr val="bg2"/>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6" name="Slide Number Placeholder 9"/>
          <p:cNvSpPr>
            <a:spLocks noGrp="1"/>
          </p:cNvSpPr>
          <p:nvPr>
            <p:ph type="sldNum" sz="quarter" idx="12"/>
          </p:nvPr>
        </p:nvSpPr>
        <p:spPr>
          <a:xfrm>
            <a:off x="520701" y="6399557"/>
            <a:ext cx="560686" cy="219456"/>
          </a:xfrm>
          <a:prstGeom prst="rect">
            <a:avLst/>
          </a:prstGeom>
        </p:spPr>
        <p:txBody>
          <a:bodyPr lIns="121899" tIns="60949" rIns="121899" bIns="60949" anchor="ctr"/>
          <a:lstStyle>
            <a:lvl1pPr algn="l">
              <a:defRPr sz="1596">
                <a:gradFill>
                  <a:gsLst>
                    <a:gs pos="100000">
                      <a:schemeClr val="bg2"/>
                    </a:gs>
                    <a:gs pos="0">
                      <a:schemeClr val="bg2"/>
                    </a:gs>
                  </a:gsLst>
                  <a:lin ang="5400000" scaled="0"/>
                </a:gradFill>
              </a:defRPr>
            </a:lvl1pPr>
          </a:lstStyle>
          <a:p>
            <a:pPr defTabSz="912115"/>
            <a:fld id="{727B4C2D-45E2-4621-8491-2995EB46A674}" type="slidenum">
              <a:rPr lang="en-US" smtClean="0">
                <a:gradFill>
                  <a:gsLst>
                    <a:gs pos="100000">
                      <a:srgbClr val="797A7D"/>
                    </a:gs>
                    <a:gs pos="0">
                      <a:srgbClr val="797A7D"/>
                    </a:gs>
                  </a:gsLst>
                  <a:lin ang="5400000" scaled="0"/>
                </a:gradFill>
              </a:rPr>
              <a:pPr defTabSz="912115"/>
              <a:t>‹#›</a:t>
            </a:fld>
            <a:endParaRPr lang="en-US" dirty="0">
              <a:gradFill>
                <a:gsLst>
                  <a:gs pos="100000">
                    <a:srgbClr val="797A7D"/>
                  </a:gs>
                  <a:gs pos="0">
                    <a:srgbClr val="797A7D"/>
                  </a:gs>
                </a:gsLst>
                <a:lin ang="5400000" scaled="0"/>
              </a:gradFill>
            </a:endParaRPr>
          </a:p>
        </p:txBody>
      </p:sp>
      <p:pic>
        <p:nvPicPr>
          <p:cNvPr id="7" name="Picture 6"/>
          <p:cNvPicPr>
            <a:picLocks noChangeAspect="1"/>
          </p:cNvPicPr>
          <p:nvPr userDrawn="1"/>
        </p:nvPicPr>
        <p:blipFill>
          <a:blip r:embed="rId2"/>
          <a:stretch>
            <a:fillRect/>
          </a:stretch>
        </p:blipFill>
        <p:spPr>
          <a:xfrm>
            <a:off x="10699082" y="6301222"/>
            <a:ext cx="1489745" cy="548317"/>
          </a:xfrm>
          <a:prstGeom prst="rect">
            <a:avLst/>
          </a:prstGeom>
        </p:spPr>
      </p:pic>
    </p:spTree>
    <p:extLst>
      <p:ext uri="{BB962C8B-B14F-4D97-AF65-F5344CB8AC3E}">
        <p14:creationId xmlns:p14="http://schemas.microsoft.com/office/powerpoint/2010/main" val="3355229298"/>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Only With Logo">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6" name="Slide Number Placeholder 9"/>
          <p:cNvSpPr>
            <a:spLocks noGrp="1"/>
          </p:cNvSpPr>
          <p:nvPr>
            <p:ph type="sldNum" sz="quarter" idx="12"/>
          </p:nvPr>
        </p:nvSpPr>
        <p:spPr>
          <a:xfrm>
            <a:off x="520701" y="6399557"/>
            <a:ext cx="560686" cy="219456"/>
          </a:xfrm>
          <a:prstGeom prst="rect">
            <a:avLst/>
          </a:prstGeom>
        </p:spPr>
        <p:txBody>
          <a:bodyPr lIns="121899" tIns="60949" rIns="121899" bIns="60949" anchor="ctr"/>
          <a:lstStyle>
            <a:lvl1pPr algn="l">
              <a:defRPr sz="1596">
                <a:gradFill>
                  <a:gsLst>
                    <a:gs pos="100000">
                      <a:schemeClr val="bg2"/>
                    </a:gs>
                    <a:gs pos="0">
                      <a:schemeClr val="bg2"/>
                    </a:gs>
                  </a:gsLst>
                  <a:lin ang="5400000" scaled="0"/>
                </a:gradFill>
              </a:defRPr>
            </a:lvl1pPr>
          </a:lstStyle>
          <a:p>
            <a:pPr defTabSz="912115"/>
            <a:fld id="{727B4C2D-45E2-4621-8491-2995EB46A674}" type="slidenum">
              <a:rPr lang="en-US" smtClean="0">
                <a:gradFill>
                  <a:gsLst>
                    <a:gs pos="100000">
                      <a:srgbClr val="797A7D"/>
                    </a:gs>
                    <a:gs pos="0">
                      <a:srgbClr val="797A7D"/>
                    </a:gs>
                  </a:gsLst>
                  <a:lin ang="5400000" scaled="0"/>
                </a:gradFill>
              </a:rPr>
              <a:pPr defTabSz="912115"/>
              <a:t>‹#›</a:t>
            </a:fld>
            <a:endParaRPr lang="en-US" dirty="0">
              <a:gradFill>
                <a:gsLst>
                  <a:gs pos="100000">
                    <a:srgbClr val="797A7D"/>
                  </a:gs>
                  <a:gs pos="0">
                    <a:srgbClr val="797A7D"/>
                  </a:gs>
                </a:gsLst>
                <a:lin ang="5400000" scaled="0"/>
              </a:gradFill>
            </a:endParaRPr>
          </a:p>
        </p:txBody>
      </p:sp>
      <p:pic>
        <p:nvPicPr>
          <p:cNvPr id="7" name="Picture 6"/>
          <p:cNvPicPr>
            <a:picLocks noChangeAspect="1"/>
          </p:cNvPicPr>
          <p:nvPr userDrawn="1"/>
        </p:nvPicPr>
        <p:blipFill>
          <a:blip r:embed="rId2"/>
          <a:stretch>
            <a:fillRect/>
          </a:stretch>
        </p:blipFill>
        <p:spPr>
          <a:xfrm>
            <a:off x="10699082" y="6301222"/>
            <a:ext cx="1489745" cy="548317"/>
          </a:xfrm>
          <a:prstGeom prst="rect">
            <a:avLst/>
          </a:prstGeom>
        </p:spPr>
      </p:pic>
    </p:spTree>
    <p:extLst>
      <p:ext uri="{BB962C8B-B14F-4D97-AF65-F5344CB8AC3E}">
        <p14:creationId xmlns:p14="http://schemas.microsoft.com/office/powerpoint/2010/main" val="1774519530"/>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3" y="1447799"/>
            <a:ext cx="11149013" cy="1975926"/>
          </a:xfrm>
          <a:prstGeom prst="rect">
            <a:avLst/>
          </a:prstGeom>
        </p:spPr>
        <p:txBody>
          <a:bodyPr/>
          <a:lstStyle>
            <a:lvl1pPr marL="0" indent="0">
              <a:spcBef>
                <a:spcPts val="2394"/>
              </a:spcBef>
              <a:buNone/>
              <a:defRPr sz="3990">
                <a:gradFill>
                  <a:gsLst>
                    <a:gs pos="100000">
                      <a:schemeClr val="bg2"/>
                    </a:gs>
                    <a:gs pos="0">
                      <a:schemeClr val="bg2"/>
                    </a:gs>
                  </a:gsLst>
                  <a:lin ang="5400000" scaled="0"/>
                </a:gradFill>
                <a:latin typeface="+mj-lt"/>
              </a:defRPr>
            </a:lvl1pPr>
            <a:lvl2pPr marL="0" indent="0">
              <a:buNone/>
              <a:defRPr sz="1995">
                <a:gradFill>
                  <a:gsLst>
                    <a:gs pos="100000">
                      <a:schemeClr val="bg2"/>
                    </a:gs>
                    <a:gs pos="0">
                      <a:schemeClr val="bg2"/>
                    </a:gs>
                  </a:gsLst>
                  <a:lin ang="5400000" scaled="0"/>
                </a:gradFill>
              </a:defRPr>
            </a:lvl2pPr>
            <a:lvl3pPr marL="231195" indent="0">
              <a:buNone/>
              <a:defRPr sz="1995">
                <a:gradFill>
                  <a:gsLst>
                    <a:gs pos="100000">
                      <a:schemeClr val="bg2"/>
                    </a:gs>
                    <a:gs pos="0">
                      <a:schemeClr val="bg2"/>
                    </a:gs>
                  </a:gsLst>
                  <a:lin ang="5400000" scaled="0"/>
                </a:gradFill>
              </a:defRPr>
            </a:lvl3pPr>
            <a:lvl4pPr marL="456057" indent="0">
              <a:buNone/>
              <a:defRPr sz="1995">
                <a:gradFill>
                  <a:gsLst>
                    <a:gs pos="100000">
                      <a:schemeClr val="bg2"/>
                    </a:gs>
                    <a:gs pos="0">
                      <a:schemeClr val="bg2"/>
                    </a:gs>
                  </a:gsLst>
                  <a:lin ang="5400000" scaled="0"/>
                </a:gradFill>
              </a:defRPr>
            </a:lvl4pPr>
            <a:lvl5pPr marL="692004" indent="0">
              <a:buNone/>
              <a:defRPr sz="1995">
                <a:gradFill>
                  <a:gsLst>
                    <a:gs pos="100000">
                      <a:schemeClr val="bg2"/>
                    </a:gs>
                    <a:gs pos="0">
                      <a:schemeClr val="bg2"/>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6" name="Slide Number Placeholder 9"/>
          <p:cNvSpPr>
            <a:spLocks noGrp="1"/>
          </p:cNvSpPr>
          <p:nvPr>
            <p:ph type="sldNum" sz="quarter" idx="12"/>
          </p:nvPr>
        </p:nvSpPr>
        <p:spPr>
          <a:xfrm>
            <a:off x="520701" y="6399557"/>
            <a:ext cx="560686" cy="219456"/>
          </a:xfrm>
          <a:prstGeom prst="rect">
            <a:avLst/>
          </a:prstGeom>
        </p:spPr>
        <p:txBody>
          <a:bodyPr lIns="121899" tIns="60949" rIns="121899" bIns="60949" anchor="ctr"/>
          <a:lstStyle>
            <a:lvl1pPr algn="l">
              <a:defRPr sz="1596">
                <a:gradFill>
                  <a:gsLst>
                    <a:gs pos="100000">
                      <a:schemeClr val="bg2"/>
                    </a:gs>
                    <a:gs pos="0">
                      <a:schemeClr val="bg2"/>
                    </a:gs>
                  </a:gsLst>
                  <a:lin ang="5400000" scaled="0"/>
                </a:gradFill>
              </a:defRPr>
            </a:lvl1pPr>
          </a:lstStyle>
          <a:p>
            <a:pPr defTabSz="912115"/>
            <a:fld id="{727B4C2D-45E2-4621-8491-2995EB46A674}" type="slidenum">
              <a:rPr lang="en-US" smtClean="0">
                <a:gradFill>
                  <a:gsLst>
                    <a:gs pos="100000">
                      <a:srgbClr val="797A7D"/>
                    </a:gs>
                    <a:gs pos="0">
                      <a:srgbClr val="797A7D"/>
                    </a:gs>
                  </a:gsLst>
                  <a:lin ang="5400000" scaled="0"/>
                </a:gradFill>
              </a:rPr>
              <a:pPr defTabSz="912115"/>
              <a:t>‹#›</a:t>
            </a:fld>
            <a:endParaRPr lang="en-US" dirty="0">
              <a:gradFill>
                <a:gsLst>
                  <a:gs pos="100000">
                    <a:srgbClr val="797A7D"/>
                  </a:gs>
                  <a:gs pos="0">
                    <a:srgbClr val="797A7D"/>
                  </a:gs>
                </a:gsLst>
                <a:lin ang="5400000" scaled="0"/>
              </a:gradFill>
            </a:endParaRPr>
          </a:p>
        </p:txBody>
      </p:sp>
      <p:pic>
        <p:nvPicPr>
          <p:cNvPr id="8" name="Picture 7"/>
          <p:cNvPicPr>
            <a:picLocks noChangeAspect="1"/>
          </p:cNvPicPr>
          <p:nvPr userDrawn="1"/>
        </p:nvPicPr>
        <p:blipFill>
          <a:blip r:embed="rId2"/>
          <a:stretch>
            <a:fillRect/>
          </a:stretch>
        </p:blipFill>
        <p:spPr>
          <a:xfrm>
            <a:off x="10699082" y="6301222"/>
            <a:ext cx="1489745" cy="548317"/>
          </a:xfrm>
          <a:prstGeom prst="rect">
            <a:avLst/>
          </a:prstGeom>
        </p:spPr>
      </p:pic>
    </p:spTree>
    <p:extLst>
      <p:ext uri="{BB962C8B-B14F-4D97-AF65-F5344CB8AC3E}">
        <p14:creationId xmlns:p14="http://schemas.microsoft.com/office/powerpoint/2010/main" val="3037764113"/>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4"/>
            <a:ext cx="11149013" cy="747897"/>
          </a:xfrm>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43636"/>
          </a:xfrm>
          <a:prstGeom prst="rect">
            <a:avLst/>
          </a:prstGeom>
        </p:spPr>
        <p:txBody>
          <a:bodyPr/>
          <a:lstStyle>
            <a:lvl1pPr marL="283453" indent="-283453">
              <a:buFont typeface="Wingdings" pitchFamily="2" charset="2"/>
              <a:buChar char=""/>
              <a:defRPr sz="3990"/>
            </a:lvl1pPr>
            <a:lvl2pPr marL="516232" indent="-232780">
              <a:buFont typeface="Wingdings" pitchFamily="2" charset="2"/>
              <a:buChar char=""/>
              <a:defRPr>
                <a:latin typeface="+mn-lt"/>
              </a:defRPr>
            </a:lvl2pPr>
            <a:lvl3pPr marL="739510" indent="-223279">
              <a:buFont typeface="Wingdings" pitchFamily="2" charset="2"/>
              <a:buChar char=""/>
              <a:tabLst/>
              <a:defRPr>
                <a:latin typeface="+mn-lt"/>
              </a:defRPr>
            </a:lvl3pPr>
            <a:lvl4pPr marL="912115" indent="-172605">
              <a:buFont typeface="Wingdings" pitchFamily="2" charset="2"/>
              <a:buChar char=""/>
              <a:defRPr>
                <a:latin typeface="+mn-lt"/>
              </a:defRPr>
            </a:lvl4pPr>
            <a:lvl5pPr marL="1084720" indent="-172605">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9"/>
          <p:cNvSpPr>
            <a:spLocks noGrp="1"/>
          </p:cNvSpPr>
          <p:nvPr>
            <p:ph type="sldNum" sz="quarter" idx="12"/>
          </p:nvPr>
        </p:nvSpPr>
        <p:spPr>
          <a:xfrm>
            <a:off x="520701" y="6399557"/>
            <a:ext cx="560686" cy="219456"/>
          </a:xfrm>
          <a:prstGeom prst="rect">
            <a:avLst/>
          </a:prstGeom>
        </p:spPr>
        <p:txBody>
          <a:bodyPr lIns="121899" tIns="60949" rIns="121899" bIns="60949" anchor="ctr"/>
          <a:lstStyle>
            <a:lvl1pPr algn="l">
              <a:defRPr sz="1596">
                <a:gradFill>
                  <a:gsLst>
                    <a:gs pos="100000">
                      <a:schemeClr val="bg2"/>
                    </a:gs>
                    <a:gs pos="0">
                      <a:schemeClr val="bg2"/>
                    </a:gs>
                  </a:gsLst>
                  <a:lin ang="5400000" scaled="0"/>
                </a:gradFill>
              </a:defRPr>
            </a:lvl1pPr>
          </a:lstStyle>
          <a:p>
            <a:pPr defTabSz="912115"/>
            <a:fld id="{727B4C2D-45E2-4621-8491-2995EB46A674}" type="slidenum">
              <a:rPr lang="en-US" smtClean="0">
                <a:gradFill>
                  <a:gsLst>
                    <a:gs pos="100000">
                      <a:srgbClr val="797A7D"/>
                    </a:gs>
                    <a:gs pos="0">
                      <a:srgbClr val="797A7D"/>
                    </a:gs>
                  </a:gsLst>
                  <a:lin ang="5400000" scaled="0"/>
                </a:gradFill>
              </a:rPr>
              <a:pPr defTabSz="912115"/>
              <a:t>‹#›</a:t>
            </a:fld>
            <a:endParaRPr lang="en-US" dirty="0">
              <a:gradFill>
                <a:gsLst>
                  <a:gs pos="100000">
                    <a:srgbClr val="797A7D"/>
                  </a:gs>
                  <a:gs pos="0">
                    <a:srgbClr val="797A7D"/>
                  </a:gs>
                </a:gsLst>
                <a:lin ang="5400000" scaled="0"/>
              </a:gradFill>
            </a:endParaRPr>
          </a:p>
        </p:txBody>
      </p:sp>
      <p:pic>
        <p:nvPicPr>
          <p:cNvPr id="8" name="Picture 7"/>
          <p:cNvPicPr>
            <a:picLocks noChangeAspect="1"/>
          </p:cNvPicPr>
          <p:nvPr userDrawn="1"/>
        </p:nvPicPr>
        <p:blipFill>
          <a:blip r:embed="rId2"/>
          <a:stretch>
            <a:fillRect/>
          </a:stretch>
        </p:blipFill>
        <p:spPr>
          <a:xfrm>
            <a:off x="10699082" y="6301222"/>
            <a:ext cx="1489745" cy="548317"/>
          </a:xfrm>
          <a:prstGeom prst="rect">
            <a:avLst/>
          </a:prstGeom>
        </p:spPr>
      </p:pic>
    </p:spTree>
    <p:extLst>
      <p:ext uri="{BB962C8B-B14F-4D97-AF65-F5344CB8AC3E}">
        <p14:creationId xmlns:p14="http://schemas.microsoft.com/office/powerpoint/2010/main" val="4017163331"/>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701" y="1447804"/>
            <a:ext cx="5394960" cy="2462213"/>
          </a:xfrm>
        </p:spPr>
        <p:txBody>
          <a:bodyPr/>
          <a:lstStyle>
            <a:lvl1pPr marL="0" indent="0">
              <a:spcBef>
                <a:spcPts val="1197"/>
              </a:spcBef>
              <a:buNone/>
              <a:defRPr sz="3990">
                <a:gradFill>
                  <a:gsLst>
                    <a:gs pos="100000">
                      <a:schemeClr val="tx2"/>
                    </a:gs>
                    <a:gs pos="0">
                      <a:schemeClr val="tx2"/>
                    </a:gs>
                  </a:gsLst>
                  <a:lin ang="5400000" scaled="0"/>
                </a:gradFill>
                <a:latin typeface="+mj-lt"/>
              </a:defRPr>
            </a:lvl1pPr>
            <a:lvl2pPr marL="0" indent="0">
              <a:buNone/>
              <a:defRPr sz="1995"/>
            </a:lvl2pPr>
            <a:lvl3pPr marL="232780" indent="0">
              <a:buNone/>
              <a:defRPr sz="1995"/>
            </a:lvl3pPr>
            <a:lvl4pPr marL="456057" indent="0">
              <a:buNone/>
              <a:defRPr sz="1995"/>
            </a:lvl4pPr>
            <a:lvl5pPr marL="692004" indent="0">
              <a:buNone/>
              <a:defRPr sz="199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6277928" y="1447804"/>
            <a:ext cx="5394960" cy="2462213"/>
          </a:xfrm>
        </p:spPr>
        <p:txBody>
          <a:bodyPr/>
          <a:lstStyle>
            <a:lvl1pPr marL="0" indent="0">
              <a:spcBef>
                <a:spcPts val="1197"/>
              </a:spcBef>
              <a:buNone/>
              <a:defRPr lang="en-US" sz="3990" kern="1200" spc="-70" baseline="0" dirty="0" smtClean="0">
                <a:gradFill>
                  <a:gsLst>
                    <a:gs pos="100000">
                      <a:schemeClr val="tx2"/>
                    </a:gs>
                    <a:gs pos="0">
                      <a:schemeClr val="tx2"/>
                    </a:gs>
                  </a:gsLst>
                  <a:lin ang="5400000" scaled="0"/>
                </a:gradFill>
                <a:latin typeface="+mj-lt"/>
                <a:ea typeface="+mn-ea"/>
                <a:cs typeface="+mn-cs"/>
              </a:defRPr>
            </a:lvl1pPr>
            <a:lvl2pPr marL="3167" marR="0" indent="0" algn="l" defTabSz="912078" rtl="0" eaLnBrk="1" fontAlgn="auto" latinLnBrk="0" hangingPunct="1">
              <a:lnSpc>
                <a:spcPct val="90000"/>
              </a:lnSpc>
              <a:spcBef>
                <a:spcPct val="20000"/>
              </a:spcBef>
              <a:spcAft>
                <a:spcPts val="0"/>
              </a:spcAft>
              <a:buClrTx/>
              <a:buSzPct val="90000"/>
              <a:buFont typeface="Arial" pitchFamily="34" charset="0"/>
              <a:buNone/>
              <a:tabLst/>
              <a:defRPr lang="en-US" sz="1995" kern="1200" spc="-70" baseline="0" dirty="0" smtClean="0">
                <a:gradFill>
                  <a:gsLst>
                    <a:gs pos="1250">
                      <a:schemeClr val="bg2"/>
                    </a:gs>
                    <a:gs pos="100000">
                      <a:schemeClr val="bg2"/>
                    </a:gs>
                  </a:gsLst>
                  <a:lin ang="5400000" scaled="0"/>
                </a:gradFill>
                <a:latin typeface="+mn-lt"/>
                <a:ea typeface="+mn-ea"/>
                <a:cs typeface="+mn-cs"/>
              </a:defRPr>
            </a:lvl2pPr>
            <a:lvl3pPr marL="232780" marR="0" indent="0" algn="l" defTabSz="912078" rtl="0" eaLnBrk="1" fontAlgn="auto" latinLnBrk="0" hangingPunct="1">
              <a:lnSpc>
                <a:spcPct val="90000"/>
              </a:lnSpc>
              <a:spcBef>
                <a:spcPct val="20000"/>
              </a:spcBef>
              <a:spcAft>
                <a:spcPts val="0"/>
              </a:spcAft>
              <a:buClrTx/>
              <a:buSzPct val="90000"/>
              <a:buFont typeface="Arial" pitchFamily="34" charset="0"/>
              <a:buNone/>
              <a:tabLst/>
              <a:defRPr lang="en-US" sz="1995" kern="1200" spc="-70" baseline="0" dirty="0" smtClean="0">
                <a:gradFill>
                  <a:gsLst>
                    <a:gs pos="1250">
                      <a:schemeClr val="bg2"/>
                    </a:gs>
                    <a:gs pos="100000">
                      <a:schemeClr val="bg2"/>
                    </a:gs>
                  </a:gsLst>
                  <a:lin ang="5400000" scaled="0"/>
                </a:gradFill>
                <a:latin typeface="+mn-lt"/>
                <a:ea typeface="+mn-ea"/>
                <a:cs typeface="+mn-cs"/>
              </a:defRPr>
            </a:lvl3pPr>
            <a:lvl4pPr marL="459224" marR="0" indent="0" algn="l" defTabSz="912078" rtl="0" eaLnBrk="1" fontAlgn="auto" latinLnBrk="0" hangingPunct="1">
              <a:lnSpc>
                <a:spcPct val="90000"/>
              </a:lnSpc>
              <a:spcBef>
                <a:spcPct val="20000"/>
              </a:spcBef>
              <a:spcAft>
                <a:spcPts val="0"/>
              </a:spcAft>
              <a:buClrTx/>
              <a:buSzPct val="90000"/>
              <a:buFont typeface="Arial" pitchFamily="34" charset="0"/>
              <a:buNone/>
              <a:tabLst/>
              <a:defRPr lang="en-US" sz="1995" kern="1200" spc="-70" baseline="0" dirty="0" smtClean="0">
                <a:gradFill>
                  <a:gsLst>
                    <a:gs pos="1250">
                      <a:schemeClr val="bg2"/>
                    </a:gs>
                    <a:gs pos="100000">
                      <a:schemeClr val="bg2"/>
                    </a:gs>
                  </a:gsLst>
                  <a:lin ang="5400000" scaled="0"/>
                </a:gradFill>
                <a:latin typeface="+mn-lt"/>
                <a:ea typeface="+mn-ea"/>
                <a:cs typeface="+mn-cs"/>
              </a:defRPr>
            </a:lvl4pPr>
            <a:lvl5pPr marL="685670" marR="0" indent="0" algn="l" defTabSz="912078" rtl="0" eaLnBrk="1" fontAlgn="auto" latinLnBrk="0" hangingPunct="1">
              <a:lnSpc>
                <a:spcPct val="90000"/>
              </a:lnSpc>
              <a:spcBef>
                <a:spcPct val="20000"/>
              </a:spcBef>
              <a:spcAft>
                <a:spcPts val="0"/>
              </a:spcAft>
              <a:buClrTx/>
              <a:buSzPct val="90000"/>
              <a:buFont typeface="Arial" pitchFamily="34" charset="0"/>
              <a:buNone/>
              <a:tabLst/>
              <a:defRPr lang="en-US" sz="1995" kern="1200" spc="-70" baseline="0" dirty="0">
                <a:gradFill>
                  <a:gsLst>
                    <a:gs pos="1250">
                      <a:schemeClr val="bg2"/>
                    </a:gs>
                    <a:gs pos="100000">
                      <a:schemeClr val="bg2"/>
                    </a:gs>
                  </a:gsLst>
                  <a:lin ang="5400000" scaled="0"/>
                </a:gradFill>
                <a:latin typeface="+mn-lt"/>
                <a:ea typeface="+mn-ea"/>
                <a:cs typeface="+mn-cs"/>
              </a:defRPr>
            </a:lvl5pPr>
          </a:lstStyle>
          <a:p>
            <a:pPr marL="0" marR="0" lvl="0" indent="0" algn="l" defTabSz="912078"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12078"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12078"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12078"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12078"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
        <p:nvSpPr>
          <p:cNvPr id="7" name="Slide Number Placeholder 9"/>
          <p:cNvSpPr>
            <a:spLocks noGrp="1"/>
          </p:cNvSpPr>
          <p:nvPr>
            <p:ph type="sldNum" sz="quarter" idx="13"/>
          </p:nvPr>
        </p:nvSpPr>
        <p:spPr>
          <a:xfrm>
            <a:off x="520701" y="6399557"/>
            <a:ext cx="560686" cy="219456"/>
          </a:xfrm>
          <a:prstGeom prst="rect">
            <a:avLst/>
          </a:prstGeom>
        </p:spPr>
        <p:txBody>
          <a:bodyPr lIns="121899" tIns="60949" rIns="121899" bIns="60949" anchor="ctr"/>
          <a:lstStyle>
            <a:lvl1pPr algn="l">
              <a:defRPr sz="1596">
                <a:gradFill>
                  <a:gsLst>
                    <a:gs pos="100000">
                      <a:schemeClr val="bg2"/>
                    </a:gs>
                    <a:gs pos="0">
                      <a:schemeClr val="bg2"/>
                    </a:gs>
                  </a:gsLst>
                  <a:lin ang="5400000" scaled="0"/>
                </a:gradFill>
              </a:defRPr>
            </a:lvl1pPr>
          </a:lstStyle>
          <a:p>
            <a:pPr defTabSz="912115"/>
            <a:fld id="{727B4C2D-45E2-4621-8491-2995EB46A674}" type="slidenum">
              <a:rPr lang="en-US" smtClean="0">
                <a:gradFill>
                  <a:gsLst>
                    <a:gs pos="100000">
                      <a:srgbClr val="797A7D"/>
                    </a:gs>
                    <a:gs pos="0">
                      <a:srgbClr val="797A7D"/>
                    </a:gs>
                  </a:gsLst>
                  <a:lin ang="5400000" scaled="0"/>
                </a:gradFill>
              </a:rPr>
              <a:pPr defTabSz="912115"/>
              <a:t>‹#›</a:t>
            </a:fld>
            <a:endParaRPr lang="en-US" dirty="0">
              <a:gradFill>
                <a:gsLst>
                  <a:gs pos="100000">
                    <a:srgbClr val="797A7D"/>
                  </a:gs>
                  <a:gs pos="0">
                    <a:srgbClr val="797A7D"/>
                  </a:gs>
                </a:gsLst>
                <a:lin ang="5400000" scaled="0"/>
              </a:gradFill>
            </a:endParaRPr>
          </a:p>
        </p:txBody>
      </p:sp>
      <p:pic>
        <p:nvPicPr>
          <p:cNvPr id="10" name="Picture 9"/>
          <p:cNvPicPr>
            <a:picLocks noChangeAspect="1"/>
          </p:cNvPicPr>
          <p:nvPr userDrawn="1"/>
        </p:nvPicPr>
        <p:blipFill>
          <a:blip r:embed="rId2"/>
          <a:stretch>
            <a:fillRect/>
          </a:stretch>
        </p:blipFill>
        <p:spPr>
          <a:xfrm>
            <a:off x="10699082" y="6301222"/>
            <a:ext cx="1489745" cy="548317"/>
          </a:xfrm>
          <a:prstGeom prst="rect">
            <a:avLst/>
          </a:prstGeom>
        </p:spPr>
      </p:pic>
    </p:spTree>
    <p:extLst>
      <p:ext uri="{BB962C8B-B14F-4D97-AF65-F5344CB8AC3E}">
        <p14:creationId xmlns:p14="http://schemas.microsoft.com/office/powerpoint/2010/main" val="3833224484"/>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701" y="1447804"/>
            <a:ext cx="5394960" cy="2462213"/>
          </a:xfrm>
        </p:spPr>
        <p:txBody>
          <a:bodyPr/>
          <a:lstStyle>
            <a:lvl1pPr marL="0" indent="0">
              <a:spcBef>
                <a:spcPts val="1197"/>
              </a:spcBef>
              <a:buNone/>
              <a:defRPr sz="3990">
                <a:gradFill>
                  <a:gsLst>
                    <a:gs pos="1000">
                      <a:schemeClr val="bg2"/>
                    </a:gs>
                    <a:gs pos="98000">
                      <a:schemeClr val="bg2"/>
                    </a:gs>
                  </a:gsLst>
                  <a:lin ang="5400000" scaled="0"/>
                </a:gradFill>
                <a:latin typeface="+mj-lt"/>
              </a:defRPr>
            </a:lvl1pPr>
            <a:lvl2pPr marL="0" indent="0">
              <a:buNone/>
              <a:defRPr sz="1995">
                <a:gradFill>
                  <a:gsLst>
                    <a:gs pos="1000">
                      <a:schemeClr val="bg2"/>
                    </a:gs>
                    <a:gs pos="98000">
                      <a:schemeClr val="bg2"/>
                    </a:gs>
                  </a:gsLst>
                  <a:lin ang="5400000" scaled="0"/>
                </a:gradFill>
              </a:defRPr>
            </a:lvl2pPr>
            <a:lvl3pPr marL="232780" indent="0">
              <a:buNone/>
              <a:defRPr sz="1995">
                <a:gradFill>
                  <a:gsLst>
                    <a:gs pos="1000">
                      <a:schemeClr val="bg2"/>
                    </a:gs>
                    <a:gs pos="98000">
                      <a:schemeClr val="bg2"/>
                    </a:gs>
                  </a:gsLst>
                  <a:lin ang="5400000" scaled="0"/>
                </a:gradFill>
              </a:defRPr>
            </a:lvl3pPr>
            <a:lvl4pPr marL="456057" indent="0">
              <a:buNone/>
              <a:defRPr sz="1995">
                <a:gradFill>
                  <a:gsLst>
                    <a:gs pos="1000">
                      <a:schemeClr val="bg2"/>
                    </a:gs>
                    <a:gs pos="98000">
                      <a:schemeClr val="bg2"/>
                    </a:gs>
                  </a:gsLst>
                  <a:lin ang="5400000" scaled="0"/>
                </a:gradFill>
              </a:defRPr>
            </a:lvl4pPr>
            <a:lvl5pPr marL="692004" indent="0">
              <a:buNone/>
              <a:defRPr sz="1995">
                <a:gradFill>
                  <a:gsLst>
                    <a:gs pos="1000">
                      <a:schemeClr val="bg2"/>
                    </a:gs>
                    <a:gs pos="98000">
                      <a:schemeClr val="bg2"/>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6277928" y="1447804"/>
            <a:ext cx="5394960" cy="2462213"/>
          </a:xfrm>
        </p:spPr>
        <p:txBody>
          <a:bodyPr/>
          <a:lstStyle>
            <a:lvl1pPr marL="0" indent="0">
              <a:spcBef>
                <a:spcPts val="1197"/>
              </a:spcBef>
              <a:buNone/>
              <a:defRPr lang="en-US" sz="3990" kern="1200" spc="-70" baseline="0" dirty="0" smtClean="0">
                <a:gradFill>
                  <a:gsLst>
                    <a:gs pos="1000">
                      <a:schemeClr val="bg2"/>
                    </a:gs>
                    <a:gs pos="98000">
                      <a:schemeClr val="bg2"/>
                    </a:gs>
                  </a:gsLst>
                  <a:lin ang="5400000" scaled="0"/>
                </a:gradFill>
                <a:latin typeface="+mj-lt"/>
                <a:ea typeface="+mn-ea"/>
                <a:cs typeface="+mn-cs"/>
              </a:defRPr>
            </a:lvl1pPr>
            <a:lvl2pPr marL="3167" marR="0" indent="0" algn="l" defTabSz="912078" rtl="0" eaLnBrk="1" fontAlgn="auto" latinLnBrk="0" hangingPunct="1">
              <a:lnSpc>
                <a:spcPct val="90000"/>
              </a:lnSpc>
              <a:spcBef>
                <a:spcPct val="20000"/>
              </a:spcBef>
              <a:spcAft>
                <a:spcPts val="0"/>
              </a:spcAft>
              <a:buClrTx/>
              <a:buSzPct val="90000"/>
              <a:buFont typeface="Arial" pitchFamily="34" charset="0"/>
              <a:buNone/>
              <a:tabLst/>
              <a:defRPr lang="en-US" sz="1995" kern="1200" spc="-70" baseline="0" dirty="0" smtClean="0">
                <a:gradFill>
                  <a:gsLst>
                    <a:gs pos="1000">
                      <a:schemeClr val="bg2"/>
                    </a:gs>
                    <a:gs pos="98000">
                      <a:schemeClr val="bg2"/>
                    </a:gs>
                  </a:gsLst>
                  <a:lin ang="5400000" scaled="0"/>
                </a:gradFill>
                <a:latin typeface="+mn-lt"/>
                <a:ea typeface="+mn-ea"/>
                <a:cs typeface="+mn-cs"/>
              </a:defRPr>
            </a:lvl2pPr>
            <a:lvl3pPr marL="232780" marR="0" indent="0" algn="l" defTabSz="912078" rtl="0" eaLnBrk="1" fontAlgn="auto" latinLnBrk="0" hangingPunct="1">
              <a:lnSpc>
                <a:spcPct val="90000"/>
              </a:lnSpc>
              <a:spcBef>
                <a:spcPct val="20000"/>
              </a:spcBef>
              <a:spcAft>
                <a:spcPts val="0"/>
              </a:spcAft>
              <a:buClrTx/>
              <a:buSzPct val="90000"/>
              <a:buFont typeface="Arial" pitchFamily="34" charset="0"/>
              <a:buNone/>
              <a:tabLst/>
              <a:defRPr lang="en-US" sz="1995" kern="1200" spc="-70" baseline="0" dirty="0" smtClean="0">
                <a:gradFill>
                  <a:gsLst>
                    <a:gs pos="1000">
                      <a:schemeClr val="bg2"/>
                    </a:gs>
                    <a:gs pos="98000">
                      <a:schemeClr val="bg2"/>
                    </a:gs>
                  </a:gsLst>
                  <a:lin ang="5400000" scaled="0"/>
                </a:gradFill>
                <a:latin typeface="+mn-lt"/>
                <a:ea typeface="+mn-ea"/>
                <a:cs typeface="+mn-cs"/>
              </a:defRPr>
            </a:lvl3pPr>
            <a:lvl4pPr marL="459224" marR="0" indent="0" algn="l" defTabSz="912078" rtl="0" eaLnBrk="1" fontAlgn="auto" latinLnBrk="0" hangingPunct="1">
              <a:lnSpc>
                <a:spcPct val="90000"/>
              </a:lnSpc>
              <a:spcBef>
                <a:spcPct val="20000"/>
              </a:spcBef>
              <a:spcAft>
                <a:spcPts val="0"/>
              </a:spcAft>
              <a:buClrTx/>
              <a:buSzPct val="90000"/>
              <a:buFont typeface="Arial" pitchFamily="34" charset="0"/>
              <a:buNone/>
              <a:tabLst/>
              <a:defRPr lang="en-US" sz="1995" kern="1200" spc="-70" baseline="0" dirty="0" smtClean="0">
                <a:gradFill>
                  <a:gsLst>
                    <a:gs pos="1000">
                      <a:schemeClr val="bg2"/>
                    </a:gs>
                    <a:gs pos="98000">
                      <a:schemeClr val="bg2"/>
                    </a:gs>
                  </a:gsLst>
                  <a:lin ang="5400000" scaled="0"/>
                </a:gradFill>
                <a:latin typeface="+mn-lt"/>
                <a:ea typeface="+mn-ea"/>
                <a:cs typeface="+mn-cs"/>
              </a:defRPr>
            </a:lvl4pPr>
            <a:lvl5pPr marL="685670" marR="0" indent="0" algn="l" defTabSz="912078" rtl="0" eaLnBrk="1" fontAlgn="auto" latinLnBrk="0" hangingPunct="1">
              <a:lnSpc>
                <a:spcPct val="90000"/>
              </a:lnSpc>
              <a:spcBef>
                <a:spcPct val="20000"/>
              </a:spcBef>
              <a:spcAft>
                <a:spcPts val="0"/>
              </a:spcAft>
              <a:buClrTx/>
              <a:buSzPct val="90000"/>
              <a:buFont typeface="Arial" pitchFamily="34" charset="0"/>
              <a:buNone/>
              <a:tabLst/>
              <a:defRPr lang="en-US" sz="1995" kern="1200" spc="-70" baseline="0" dirty="0">
                <a:gradFill>
                  <a:gsLst>
                    <a:gs pos="1000">
                      <a:schemeClr val="bg2"/>
                    </a:gs>
                    <a:gs pos="98000">
                      <a:schemeClr val="bg2"/>
                    </a:gs>
                  </a:gsLst>
                  <a:lin ang="5400000" scaled="0"/>
                </a:gradFill>
                <a:latin typeface="+mn-lt"/>
                <a:ea typeface="+mn-ea"/>
                <a:cs typeface="+mn-cs"/>
              </a:defRPr>
            </a:lvl5pPr>
          </a:lstStyle>
          <a:p>
            <a:pPr marL="0" marR="0" lvl="0" indent="0" algn="l" defTabSz="912078"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12078"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12078"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12078"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12078"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
        <p:nvSpPr>
          <p:cNvPr id="7" name="Slide Number Placeholder 9"/>
          <p:cNvSpPr>
            <a:spLocks noGrp="1"/>
          </p:cNvSpPr>
          <p:nvPr>
            <p:ph type="sldNum" sz="quarter" idx="13"/>
          </p:nvPr>
        </p:nvSpPr>
        <p:spPr>
          <a:xfrm>
            <a:off x="520701" y="6399557"/>
            <a:ext cx="560686" cy="219456"/>
          </a:xfrm>
          <a:prstGeom prst="rect">
            <a:avLst/>
          </a:prstGeom>
        </p:spPr>
        <p:txBody>
          <a:bodyPr lIns="121899" tIns="60949" rIns="121899" bIns="60949" anchor="ctr"/>
          <a:lstStyle>
            <a:lvl1pPr algn="l">
              <a:defRPr sz="1596">
                <a:gradFill>
                  <a:gsLst>
                    <a:gs pos="100000">
                      <a:schemeClr val="bg2"/>
                    </a:gs>
                    <a:gs pos="0">
                      <a:schemeClr val="bg2"/>
                    </a:gs>
                  </a:gsLst>
                  <a:lin ang="5400000" scaled="0"/>
                </a:gradFill>
              </a:defRPr>
            </a:lvl1pPr>
          </a:lstStyle>
          <a:p>
            <a:pPr defTabSz="912115"/>
            <a:fld id="{727B4C2D-45E2-4621-8491-2995EB46A674}" type="slidenum">
              <a:rPr lang="en-US" smtClean="0">
                <a:gradFill>
                  <a:gsLst>
                    <a:gs pos="100000">
                      <a:srgbClr val="797A7D"/>
                    </a:gs>
                    <a:gs pos="0">
                      <a:srgbClr val="797A7D"/>
                    </a:gs>
                  </a:gsLst>
                  <a:lin ang="5400000" scaled="0"/>
                </a:gradFill>
              </a:rPr>
              <a:pPr defTabSz="912115"/>
              <a:t>‹#›</a:t>
            </a:fld>
            <a:endParaRPr lang="en-US" dirty="0">
              <a:gradFill>
                <a:gsLst>
                  <a:gs pos="100000">
                    <a:srgbClr val="797A7D"/>
                  </a:gs>
                  <a:gs pos="0">
                    <a:srgbClr val="797A7D"/>
                  </a:gs>
                </a:gsLst>
                <a:lin ang="5400000" scaled="0"/>
              </a:gradFill>
            </a:endParaRPr>
          </a:p>
        </p:txBody>
      </p:sp>
      <p:pic>
        <p:nvPicPr>
          <p:cNvPr id="10" name="Picture 9"/>
          <p:cNvPicPr>
            <a:picLocks noChangeAspect="1"/>
          </p:cNvPicPr>
          <p:nvPr userDrawn="1"/>
        </p:nvPicPr>
        <p:blipFill>
          <a:blip r:embed="rId2"/>
          <a:stretch>
            <a:fillRect/>
          </a:stretch>
        </p:blipFill>
        <p:spPr>
          <a:xfrm>
            <a:off x="10699082" y="6301222"/>
            <a:ext cx="1489745" cy="548317"/>
          </a:xfrm>
          <a:prstGeom prst="rect">
            <a:avLst/>
          </a:prstGeom>
        </p:spPr>
      </p:pic>
    </p:spTree>
    <p:extLst>
      <p:ext uri="{BB962C8B-B14F-4D97-AF65-F5344CB8AC3E}">
        <p14:creationId xmlns:p14="http://schemas.microsoft.com/office/powerpoint/2010/main" val="1119620953"/>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520701" y="1447804"/>
            <a:ext cx="5394960" cy="2351413"/>
          </a:xfrm>
        </p:spPr>
        <p:txBody>
          <a:bodyPr>
            <a:spAutoFit/>
          </a:bodyPr>
          <a:lstStyle>
            <a:lvl1pPr marL="291370" indent="-291370">
              <a:spcBef>
                <a:spcPts val="1197"/>
              </a:spcBef>
              <a:buClr>
                <a:schemeClr val="bg2"/>
              </a:buClr>
              <a:buSzPct val="100000"/>
              <a:buFont typeface="Wingdings" pitchFamily="2" charset="2"/>
              <a:buChar char=""/>
              <a:defRPr lang="en-US" sz="3591" kern="1200" spc="-70" baseline="0" dirty="0" smtClean="0">
                <a:gradFill>
                  <a:gsLst>
                    <a:gs pos="1250">
                      <a:schemeClr val="bg2"/>
                    </a:gs>
                    <a:gs pos="100000">
                      <a:schemeClr val="bg2"/>
                    </a:gs>
                  </a:gsLst>
                  <a:lin ang="5400000" scaled="0"/>
                </a:gradFill>
                <a:latin typeface="+mj-lt"/>
                <a:ea typeface="+mn-ea"/>
                <a:cs typeface="+mn-cs"/>
              </a:defRPr>
            </a:lvl1pPr>
            <a:lvl2pPr marL="519399" indent="-228028">
              <a:defRPr sz="1995"/>
            </a:lvl2pPr>
            <a:lvl3pPr marL="684086" indent="-164687">
              <a:tabLst/>
              <a:defRPr sz="1995"/>
            </a:lvl3pPr>
            <a:lvl4pPr marL="861442" indent="-177356">
              <a:defRPr/>
            </a:lvl4pPr>
            <a:lvl5pPr marL="1026129" indent="-1646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7928" y="1447804"/>
            <a:ext cx="5394960" cy="2720745"/>
          </a:xfrm>
        </p:spPr>
        <p:txBody>
          <a:bodyPr>
            <a:spAutoFit/>
          </a:bodyPr>
          <a:lstStyle>
            <a:lvl1pPr marL="338876" indent="-338876">
              <a:spcBef>
                <a:spcPts val="1197"/>
              </a:spcBef>
              <a:buClr>
                <a:schemeClr val="bg2"/>
              </a:buClr>
              <a:buFont typeface="Arial" pitchFamily="34" charset="0"/>
              <a:buChar char="•"/>
              <a:defRPr lang="en-US" sz="3591" kern="1200" spc="-70" baseline="0" dirty="0" smtClean="0">
                <a:gradFill>
                  <a:gsLst>
                    <a:gs pos="1250">
                      <a:schemeClr val="bg2"/>
                    </a:gs>
                    <a:gs pos="100000">
                      <a:schemeClr val="bg2"/>
                    </a:gs>
                  </a:gsLst>
                  <a:lin ang="5400000" scaled="0"/>
                </a:gradFill>
                <a:latin typeface="+mj-lt"/>
                <a:ea typeface="+mn-ea"/>
                <a:cs typeface="+mn-cs"/>
              </a:defRPr>
            </a:lvl1pPr>
            <a:lvl2pPr marL="633413" indent="-342043">
              <a:defRPr lang="en-US" sz="1995" kern="1200" spc="0" baseline="0" dirty="0" smtClean="0">
                <a:gradFill>
                  <a:gsLst>
                    <a:gs pos="1250">
                      <a:schemeClr val="bg2"/>
                    </a:gs>
                    <a:gs pos="100000">
                      <a:schemeClr val="bg2"/>
                    </a:gs>
                  </a:gsLst>
                  <a:lin ang="5400000" scaled="0"/>
                </a:gradFill>
                <a:latin typeface="+mn-lt"/>
                <a:ea typeface="+mn-ea"/>
                <a:cs typeface="+mn-cs"/>
              </a:defRPr>
            </a:lvl2pPr>
            <a:lvl3pPr marL="861442" indent="-342043">
              <a:defRPr lang="en-US" sz="1995" kern="1200" spc="0" baseline="0" dirty="0" smtClean="0">
                <a:gradFill>
                  <a:gsLst>
                    <a:gs pos="1250">
                      <a:schemeClr val="bg2"/>
                    </a:gs>
                    <a:gs pos="100000">
                      <a:schemeClr val="bg2"/>
                    </a:gs>
                  </a:gsLst>
                  <a:lin ang="5400000" scaled="0"/>
                </a:gradFill>
                <a:latin typeface="+mn-lt"/>
                <a:ea typeface="+mn-ea"/>
                <a:cs typeface="+mn-cs"/>
              </a:defRPr>
            </a:lvl3pPr>
            <a:lvl4pPr marL="1026129" indent="-342043">
              <a:defRPr lang="en-US" sz="1995" kern="1200" spc="0" baseline="0" dirty="0" smtClean="0">
                <a:gradFill>
                  <a:gsLst>
                    <a:gs pos="1250">
                      <a:schemeClr val="bg2"/>
                    </a:gs>
                    <a:gs pos="100000">
                      <a:schemeClr val="bg2"/>
                    </a:gs>
                  </a:gsLst>
                  <a:lin ang="5400000" scaled="0"/>
                </a:gradFill>
                <a:latin typeface="+mn-lt"/>
                <a:ea typeface="+mn-ea"/>
                <a:cs typeface="+mn-cs"/>
              </a:defRPr>
            </a:lvl4pPr>
            <a:lvl5pPr marL="1203484" indent="-342043">
              <a:defRPr lang="en-US" sz="1995" kern="1200" spc="0" baseline="0" dirty="0">
                <a:gradFill>
                  <a:gsLst>
                    <a:gs pos="1250">
                      <a:schemeClr val="bg2"/>
                    </a:gs>
                    <a:gs pos="100000">
                      <a:schemeClr val="bg2"/>
                    </a:gs>
                  </a:gsLst>
                  <a:lin ang="5400000" scaled="0"/>
                </a:gradFill>
                <a:latin typeface="+mn-lt"/>
                <a:ea typeface="+mn-ea"/>
                <a:cs typeface="+mn-cs"/>
              </a:defRPr>
            </a:lvl5pPr>
          </a:lstStyle>
          <a:p>
            <a:pPr marL="291370" marR="0" lvl="0" indent="-291370" algn="l" defTabSz="912078" rtl="0" eaLnBrk="1" fontAlgn="auto" latinLnBrk="0" hangingPunct="1">
              <a:lnSpc>
                <a:spcPct val="90000"/>
              </a:lnSpc>
              <a:spcBef>
                <a:spcPts val="1197"/>
              </a:spcBef>
              <a:spcAft>
                <a:spcPts val="0"/>
              </a:spcAft>
              <a:buClr>
                <a:schemeClr val="bg2"/>
              </a:buClr>
              <a:buSzPct val="100000"/>
              <a:buFont typeface="Wingdings" pitchFamily="2" charset="2"/>
              <a:buChar char=""/>
              <a:tabLst/>
            </a:pPr>
            <a:r>
              <a:rPr lang="en-US" smtClean="0"/>
              <a:t>Click to edit Master text styles</a:t>
            </a:r>
          </a:p>
          <a:p>
            <a:pPr marL="291370" marR="0" lvl="1" indent="-291370" algn="l" defTabSz="912078" rtl="0" eaLnBrk="1" fontAlgn="auto" latinLnBrk="0" hangingPunct="1">
              <a:lnSpc>
                <a:spcPct val="90000"/>
              </a:lnSpc>
              <a:spcBef>
                <a:spcPts val="1197"/>
              </a:spcBef>
              <a:spcAft>
                <a:spcPts val="0"/>
              </a:spcAft>
              <a:buClr>
                <a:schemeClr val="bg2"/>
              </a:buClr>
              <a:buSzPct val="100000"/>
              <a:buFont typeface="Wingdings" pitchFamily="2" charset="2"/>
              <a:buChar char=""/>
              <a:tabLst/>
            </a:pPr>
            <a:r>
              <a:rPr lang="en-US" smtClean="0"/>
              <a:t>Second level</a:t>
            </a:r>
          </a:p>
          <a:p>
            <a:pPr marL="291370" marR="0" lvl="2" indent="-291370" algn="l" defTabSz="912078" rtl="0" eaLnBrk="1" fontAlgn="auto" latinLnBrk="0" hangingPunct="1">
              <a:lnSpc>
                <a:spcPct val="90000"/>
              </a:lnSpc>
              <a:spcBef>
                <a:spcPts val="1197"/>
              </a:spcBef>
              <a:spcAft>
                <a:spcPts val="0"/>
              </a:spcAft>
              <a:buClr>
                <a:schemeClr val="bg2"/>
              </a:buClr>
              <a:buSzPct val="100000"/>
              <a:buFont typeface="Wingdings" pitchFamily="2" charset="2"/>
              <a:buChar char=""/>
              <a:tabLst/>
            </a:pPr>
            <a:r>
              <a:rPr lang="en-US" smtClean="0"/>
              <a:t>Third level</a:t>
            </a:r>
          </a:p>
          <a:p>
            <a:pPr marL="291370" marR="0" lvl="3" indent="-291370" algn="l" defTabSz="912078" rtl="0" eaLnBrk="1" fontAlgn="auto" latinLnBrk="0" hangingPunct="1">
              <a:lnSpc>
                <a:spcPct val="90000"/>
              </a:lnSpc>
              <a:spcBef>
                <a:spcPts val="1197"/>
              </a:spcBef>
              <a:spcAft>
                <a:spcPts val="0"/>
              </a:spcAft>
              <a:buClr>
                <a:schemeClr val="bg2"/>
              </a:buClr>
              <a:buSzPct val="100000"/>
              <a:buFont typeface="Wingdings" pitchFamily="2" charset="2"/>
              <a:buChar char=""/>
              <a:tabLst/>
            </a:pPr>
            <a:r>
              <a:rPr lang="en-US" smtClean="0"/>
              <a:t>Fourth level</a:t>
            </a:r>
          </a:p>
          <a:p>
            <a:pPr marL="291370" marR="0" lvl="4" indent="-291370" algn="l" defTabSz="912078" rtl="0" eaLnBrk="1" fontAlgn="auto" latinLnBrk="0" hangingPunct="1">
              <a:lnSpc>
                <a:spcPct val="90000"/>
              </a:lnSpc>
              <a:spcBef>
                <a:spcPts val="1197"/>
              </a:spcBef>
              <a:spcAft>
                <a:spcPts val="0"/>
              </a:spcAft>
              <a:buClr>
                <a:schemeClr val="bg2"/>
              </a:buClr>
              <a:buSzPct val="100000"/>
              <a:buFont typeface="Wingdings" pitchFamily="2" charset="2"/>
              <a:buChar char=""/>
              <a:tabLst/>
            </a:pPr>
            <a:r>
              <a:rPr lang="en-US" smtClean="0"/>
              <a:t>Fifth level</a:t>
            </a:r>
            <a:endParaRPr lang="en-US" dirty="0"/>
          </a:p>
        </p:txBody>
      </p:sp>
      <p:sp>
        <p:nvSpPr>
          <p:cNvPr id="6" name="Slide Number Placeholder 9"/>
          <p:cNvSpPr>
            <a:spLocks noGrp="1"/>
          </p:cNvSpPr>
          <p:nvPr>
            <p:ph type="sldNum" sz="quarter" idx="12"/>
          </p:nvPr>
        </p:nvSpPr>
        <p:spPr>
          <a:xfrm>
            <a:off x="520701" y="6399557"/>
            <a:ext cx="560686" cy="219456"/>
          </a:xfrm>
          <a:prstGeom prst="rect">
            <a:avLst/>
          </a:prstGeom>
        </p:spPr>
        <p:txBody>
          <a:bodyPr lIns="121899" tIns="60949" rIns="121899" bIns="60949" anchor="ctr"/>
          <a:lstStyle>
            <a:lvl1pPr algn="l">
              <a:defRPr sz="1596">
                <a:gradFill>
                  <a:gsLst>
                    <a:gs pos="100000">
                      <a:schemeClr val="bg2"/>
                    </a:gs>
                    <a:gs pos="0">
                      <a:schemeClr val="bg2"/>
                    </a:gs>
                  </a:gsLst>
                  <a:lin ang="5400000" scaled="0"/>
                </a:gradFill>
              </a:defRPr>
            </a:lvl1pPr>
          </a:lstStyle>
          <a:p>
            <a:pPr defTabSz="912115"/>
            <a:fld id="{727B4C2D-45E2-4621-8491-2995EB46A674}" type="slidenum">
              <a:rPr lang="en-US" smtClean="0">
                <a:gradFill>
                  <a:gsLst>
                    <a:gs pos="100000">
                      <a:srgbClr val="797A7D"/>
                    </a:gs>
                    <a:gs pos="0">
                      <a:srgbClr val="797A7D"/>
                    </a:gs>
                  </a:gsLst>
                  <a:lin ang="5400000" scaled="0"/>
                </a:gradFill>
              </a:rPr>
              <a:pPr defTabSz="912115"/>
              <a:t>‹#›</a:t>
            </a:fld>
            <a:endParaRPr lang="en-US" dirty="0">
              <a:gradFill>
                <a:gsLst>
                  <a:gs pos="100000">
                    <a:srgbClr val="797A7D"/>
                  </a:gs>
                  <a:gs pos="0">
                    <a:srgbClr val="797A7D"/>
                  </a:gs>
                </a:gsLst>
                <a:lin ang="5400000" scaled="0"/>
              </a:gradFill>
            </a:endParaRPr>
          </a:p>
        </p:txBody>
      </p:sp>
      <p:pic>
        <p:nvPicPr>
          <p:cNvPr id="9" name="Picture 8"/>
          <p:cNvPicPr>
            <a:picLocks noChangeAspect="1"/>
          </p:cNvPicPr>
          <p:nvPr userDrawn="1"/>
        </p:nvPicPr>
        <p:blipFill>
          <a:blip r:embed="rId2"/>
          <a:stretch>
            <a:fillRect/>
          </a:stretch>
        </p:blipFill>
        <p:spPr>
          <a:xfrm>
            <a:off x="10699082" y="6301222"/>
            <a:ext cx="1489745" cy="548317"/>
          </a:xfrm>
          <a:prstGeom prst="rect">
            <a:avLst/>
          </a:prstGeom>
        </p:spPr>
      </p:pic>
    </p:spTree>
    <p:extLst>
      <p:ext uri="{BB962C8B-B14F-4D97-AF65-F5344CB8AC3E}">
        <p14:creationId xmlns:p14="http://schemas.microsoft.com/office/powerpoint/2010/main" val="1683104448"/>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4241" y="5292983"/>
            <a:ext cx="11149013" cy="1218795"/>
          </a:xfrm>
        </p:spPr>
        <p:txBody>
          <a:bodyPr anchor="b" anchorCtr="0"/>
          <a:lstStyle>
            <a:lvl1pPr>
              <a:defRPr sz="7200" spc="-299" baseline="0">
                <a:gradFill>
                  <a:gsLst>
                    <a:gs pos="100000">
                      <a:schemeClr val="bg1"/>
                    </a:gs>
                    <a:gs pos="0">
                      <a:schemeClr val="bg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2210606290"/>
      </p:ext>
    </p:extLst>
  </p:cSld>
  <p:clrMapOvr>
    <a:masterClrMapping/>
  </p:clrMapOvr>
  <p:transition>
    <p:fade/>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701" y="1447804"/>
            <a:ext cx="5433533" cy="1661993"/>
          </a:xfrm>
          <a:prstGeom prst="rect">
            <a:avLst/>
          </a:prstGeom>
        </p:spPr>
        <p:txBody>
          <a:bodyPr>
            <a:noAutofit/>
          </a:bodyPr>
          <a:lstStyle>
            <a:lvl1pPr marL="0" indent="0">
              <a:buNone/>
              <a:defRPr sz="3990" b="0" cap="none" baseline="0">
                <a:gradFill>
                  <a:gsLst>
                    <a:gs pos="100000">
                      <a:schemeClr val="tx2"/>
                    </a:gs>
                    <a:gs pos="0">
                      <a:schemeClr val="tx2"/>
                    </a:gs>
                  </a:gsLst>
                  <a:lin ang="5400000" scaled="0"/>
                </a:gradFill>
                <a:latin typeface="+mj-lt"/>
              </a:defRPr>
            </a:lvl1pPr>
            <a:lvl2pPr marL="607970" indent="0">
              <a:buNone/>
              <a:defRPr sz="2693" b="1"/>
            </a:lvl2pPr>
            <a:lvl3pPr marL="1215940" indent="0">
              <a:buNone/>
              <a:defRPr sz="2394" b="1"/>
            </a:lvl3pPr>
            <a:lvl4pPr marL="1823910" indent="0">
              <a:buNone/>
              <a:defRPr sz="2094" b="1"/>
            </a:lvl4pPr>
            <a:lvl5pPr marL="2431880" indent="0">
              <a:buNone/>
              <a:defRPr sz="2094" b="1"/>
            </a:lvl5pPr>
            <a:lvl6pPr marL="3039851" indent="0">
              <a:buNone/>
              <a:defRPr sz="2094" b="1"/>
            </a:lvl6pPr>
            <a:lvl7pPr marL="3647820" indent="0">
              <a:buNone/>
              <a:defRPr sz="2094" b="1"/>
            </a:lvl7pPr>
            <a:lvl8pPr marL="4255790" indent="0">
              <a:buNone/>
              <a:defRPr sz="2094" b="1"/>
            </a:lvl8pPr>
            <a:lvl9pPr marL="4863760" indent="0">
              <a:buNone/>
              <a:defRPr sz="2094" b="1"/>
            </a:lvl9pPr>
          </a:lstStyle>
          <a:p>
            <a:pPr lvl="0"/>
            <a:r>
              <a:rPr lang="en-US" dirty="0" smtClean="0"/>
              <a:t>Click to edit Master text styles.</a:t>
            </a:r>
          </a:p>
        </p:txBody>
      </p:sp>
      <p:sp>
        <p:nvSpPr>
          <p:cNvPr id="6" name="Content Placeholder 5"/>
          <p:cNvSpPr>
            <a:spLocks noGrp="1"/>
          </p:cNvSpPr>
          <p:nvPr>
            <p:ph sz="quarter" idx="4"/>
          </p:nvPr>
        </p:nvSpPr>
        <p:spPr>
          <a:xfrm>
            <a:off x="6188150" y="1681907"/>
            <a:ext cx="5484740" cy="332399"/>
          </a:xfrm>
          <a:prstGeom prst="rect">
            <a:avLst/>
          </a:prstGeom>
        </p:spPr>
        <p:txBody>
          <a:bodyPr>
            <a:noAutofit/>
          </a:bodyPr>
          <a:lstStyle>
            <a:lvl1pPr marL="0" indent="0">
              <a:spcBef>
                <a:spcPts val="1197"/>
              </a:spcBef>
              <a:buNone/>
              <a:defRPr lang="en-US" sz="1995" kern="1200" spc="0" dirty="0" smtClean="0">
                <a:gradFill>
                  <a:gsLst>
                    <a:gs pos="100000">
                      <a:schemeClr val="bg2"/>
                    </a:gs>
                    <a:gs pos="0">
                      <a:schemeClr val="bg2"/>
                    </a:gs>
                  </a:gsLst>
                  <a:lin ang="5400000" scaled="0"/>
                </a:gradFill>
                <a:latin typeface="+mn-lt"/>
                <a:ea typeface="+mn-ea"/>
                <a:cs typeface="Segoe UI" pitchFamily="34" charset="0"/>
              </a:defRPr>
            </a:lvl1pPr>
            <a:lvl2pPr marL="911955" indent="-379981">
              <a:defRPr lang="en-US" sz="2094" kern="1200" dirty="0" smtClean="0">
                <a:solidFill>
                  <a:schemeClr val="bg2">
                    <a:lumMod val="50000"/>
                  </a:schemeClr>
                </a:solidFill>
                <a:latin typeface="+mn-lt"/>
                <a:ea typeface="+mn-ea"/>
                <a:cs typeface="Arial" pitchFamily="34" charset="0"/>
              </a:defRPr>
            </a:lvl2pPr>
            <a:lvl3pPr marL="911955" indent="-227988">
              <a:defRPr lang="en-US" sz="1895" kern="1200" dirty="0" smtClean="0">
                <a:solidFill>
                  <a:schemeClr val="bg2">
                    <a:lumMod val="50000"/>
                  </a:schemeClr>
                </a:solidFill>
                <a:latin typeface="+mn-lt"/>
                <a:ea typeface="+mn-ea"/>
                <a:cs typeface="Arial" pitchFamily="34" charset="0"/>
              </a:defRPr>
            </a:lvl3pPr>
            <a:lvl4pPr marL="1215940" indent="-227988">
              <a:defRPr lang="en-US" sz="1596" kern="1200" dirty="0" smtClean="0">
                <a:solidFill>
                  <a:schemeClr val="bg2">
                    <a:lumMod val="50000"/>
                  </a:schemeClr>
                </a:solidFill>
                <a:latin typeface="+mn-lt"/>
                <a:ea typeface="+mn-ea"/>
                <a:cs typeface="Arial" pitchFamily="34" charset="0"/>
              </a:defRPr>
            </a:lvl4pPr>
            <a:lvl5pPr marL="1443929" indent="-227988">
              <a:defRPr lang="en-US" sz="1596" kern="1200" dirty="0">
                <a:solidFill>
                  <a:schemeClr val="bg2">
                    <a:lumMod val="50000"/>
                  </a:schemeClr>
                </a:solidFill>
                <a:latin typeface="+mn-lt"/>
                <a:ea typeface="+mn-ea"/>
                <a:cs typeface="Arial" pitchFamily="34" charset="0"/>
              </a:defRPr>
            </a:lvl5pPr>
            <a:lvl6pPr>
              <a:defRPr sz="2094"/>
            </a:lvl6pPr>
            <a:lvl7pPr>
              <a:defRPr sz="2094"/>
            </a:lvl7pPr>
            <a:lvl8pPr>
              <a:defRPr sz="2094"/>
            </a:lvl8pPr>
            <a:lvl9pPr>
              <a:defRPr sz="2094"/>
            </a:lvl9pPr>
          </a:lstStyle>
          <a:p>
            <a:pPr lvl="0"/>
            <a:r>
              <a:rPr lang="en-US" smtClean="0"/>
              <a:t>Click to edit Master text styles</a:t>
            </a:r>
          </a:p>
        </p:txBody>
      </p:sp>
      <p:sp>
        <p:nvSpPr>
          <p:cNvPr id="12" name="Title 11"/>
          <p:cNvSpPr>
            <a:spLocks noGrp="1"/>
          </p:cNvSpPr>
          <p:nvPr>
            <p:ph type="title"/>
          </p:nvPr>
        </p:nvSpPr>
        <p:spPr/>
        <p:txBody>
          <a:bodyPr>
            <a:noAutofit/>
          </a:bodyPr>
          <a:lstStyle>
            <a:lvl1pPr>
              <a:defRPr/>
            </a:lvl1pPr>
          </a:lstStyle>
          <a:p>
            <a:r>
              <a:rPr lang="en-US" smtClean="0"/>
              <a:t>Click to edit Master title style</a:t>
            </a:r>
            <a:endParaRPr lang="en-US" dirty="0"/>
          </a:p>
        </p:txBody>
      </p:sp>
      <p:sp>
        <p:nvSpPr>
          <p:cNvPr id="10" name="Slide Number Placeholder 9"/>
          <p:cNvSpPr>
            <a:spLocks noGrp="1"/>
          </p:cNvSpPr>
          <p:nvPr>
            <p:ph type="sldNum" sz="quarter" idx="12"/>
          </p:nvPr>
        </p:nvSpPr>
        <p:spPr>
          <a:xfrm>
            <a:off x="520701" y="6399557"/>
            <a:ext cx="560686" cy="219456"/>
          </a:xfrm>
          <a:prstGeom prst="rect">
            <a:avLst/>
          </a:prstGeom>
        </p:spPr>
        <p:txBody>
          <a:bodyPr lIns="121899" tIns="60949" rIns="121899" bIns="60949" anchor="ctr"/>
          <a:lstStyle>
            <a:lvl1pPr algn="l">
              <a:defRPr sz="1596">
                <a:gradFill>
                  <a:gsLst>
                    <a:gs pos="100000">
                      <a:schemeClr val="bg2"/>
                    </a:gs>
                    <a:gs pos="0">
                      <a:schemeClr val="bg2"/>
                    </a:gs>
                  </a:gsLst>
                  <a:lin ang="5400000" scaled="0"/>
                </a:gradFill>
              </a:defRPr>
            </a:lvl1pPr>
          </a:lstStyle>
          <a:p>
            <a:pPr defTabSz="912115"/>
            <a:fld id="{727B4C2D-45E2-4621-8491-2995EB46A674}" type="slidenum">
              <a:rPr lang="en-US" smtClean="0">
                <a:gradFill>
                  <a:gsLst>
                    <a:gs pos="100000">
                      <a:srgbClr val="797A7D"/>
                    </a:gs>
                    <a:gs pos="0">
                      <a:srgbClr val="797A7D"/>
                    </a:gs>
                  </a:gsLst>
                  <a:lin ang="5400000" scaled="0"/>
                </a:gradFill>
              </a:rPr>
              <a:pPr defTabSz="912115"/>
              <a:t>‹#›</a:t>
            </a:fld>
            <a:endParaRPr lang="en-US" dirty="0">
              <a:gradFill>
                <a:gsLst>
                  <a:gs pos="100000">
                    <a:srgbClr val="797A7D"/>
                  </a:gs>
                  <a:gs pos="0">
                    <a:srgbClr val="797A7D"/>
                  </a:gs>
                </a:gsLst>
                <a:lin ang="5400000" scaled="0"/>
              </a:gradFill>
            </a:endParaRPr>
          </a:p>
        </p:txBody>
      </p:sp>
      <p:pic>
        <p:nvPicPr>
          <p:cNvPr id="8" name="Picture 7"/>
          <p:cNvPicPr>
            <a:picLocks noChangeAspect="1"/>
          </p:cNvPicPr>
          <p:nvPr userDrawn="1"/>
        </p:nvPicPr>
        <p:blipFill>
          <a:blip r:embed="rId2"/>
          <a:stretch>
            <a:fillRect/>
          </a:stretch>
        </p:blipFill>
        <p:spPr>
          <a:xfrm>
            <a:off x="10699082" y="6301222"/>
            <a:ext cx="1489745" cy="548317"/>
          </a:xfrm>
          <a:prstGeom prst="rect">
            <a:avLst/>
          </a:prstGeom>
        </p:spPr>
      </p:pic>
    </p:spTree>
    <p:extLst>
      <p:ext uri="{BB962C8B-B14F-4D97-AF65-F5344CB8AC3E}">
        <p14:creationId xmlns:p14="http://schemas.microsoft.com/office/powerpoint/2010/main" val="1598325842"/>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ontent w/Photo on Righ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701" y="1447801"/>
            <a:ext cx="5433533" cy="1178442"/>
          </a:xfrm>
          <a:prstGeom prst="rect">
            <a:avLst/>
          </a:prstGeom>
        </p:spPr>
        <p:txBody>
          <a:bodyPr>
            <a:noAutofit/>
          </a:bodyPr>
          <a:lstStyle>
            <a:lvl1pPr marL="0" indent="0">
              <a:buNone/>
              <a:defRPr sz="3990" b="0" cap="none" baseline="0">
                <a:gradFill>
                  <a:gsLst>
                    <a:gs pos="100000">
                      <a:schemeClr val="tx2"/>
                    </a:gs>
                    <a:gs pos="0">
                      <a:schemeClr val="tx2"/>
                    </a:gs>
                  </a:gsLst>
                  <a:lin ang="5400000" scaled="0"/>
                </a:gradFill>
                <a:latin typeface="+mj-lt"/>
              </a:defRPr>
            </a:lvl1pPr>
            <a:lvl2pPr marL="607970" indent="0">
              <a:buNone/>
              <a:defRPr sz="2693" b="1"/>
            </a:lvl2pPr>
            <a:lvl3pPr marL="1215940" indent="0">
              <a:buNone/>
              <a:defRPr sz="2394" b="1"/>
            </a:lvl3pPr>
            <a:lvl4pPr marL="1823910" indent="0">
              <a:buNone/>
              <a:defRPr sz="2094" b="1"/>
            </a:lvl4pPr>
            <a:lvl5pPr marL="2431880" indent="0">
              <a:buNone/>
              <a:defRPr sz="2094" b="1"/>
            </a:lvl5pPr>
            <a:lvl6pPr marL="3039851" indent="0">
              <a:buNone/>
              <a:defRPr sz="2094" b="1"/>
            </a:lvl6pPr>
            <a:lvl7pPr marL="3647820" indent="0">
              <a:buNone/>
              <a:defRPr sz="2094" b="1"/>
            </a:lvl7pPr>
            <a:lvl8pPr marL="4255790" indent="0">
              <a:buNone/>
              <a:defRPr sz="2094" b="1"/>
            </a:lvl8pPr>
            <a:lvl9pPr marL="4863760" indent="0">
              <a:buNone/>
              <a:defRPr sz="2094" b="1"/>
            </a:lvl9pPr>
          </a:lstStyle>
          <a:p>
            <a:pPr lvl="0"/>
            <a:r>
              <a:rPr lang="en-US" dirty="0" smtClean="0"/>
              <a:t>Click to edit Master text styles.</a:t>
            </a:r>
          </a:p>
        </p:txBody>
      </p:sp>
      <p:sp>
        <p:nvSpPr>
          <p:cNvPr id="10" name="Slide Number Placeholder 9"/>
          <p:cNvSpPr>
            <a:spLocks noGrp="1"/>
          </p:cNvSpPr>
          <p:nvPr>
            <p:ph type="sldNum" sz="quarter" idx="12"/>
          </p:nvPr>
        </p:nvSpPr>
        <p:spPr>
          <a:xfrm>
            <a:off x="520701" y="6399557"/>
            <a:ext cx="560686" cy="219456"/>
          </a:xfrm>
          <a:prstGeom prst="rect">
            <a:avLst/>
          </a:prstGeom>
        </p:spPr>
        <p:txBody>
          <a:bodyPr lIns="121899" tIns="60949" rIns="121899" bIns="60949" anchor="ctr"/>
          <a:lstStyle>
            <a:lvl1pPr algn="l">
              <a:defRPr sz="1596">
                <a:gradFill>
                  <a:gsLst>
                    <a:gs pos="100000">
                      <a:schemeClr val="bg2"/>
                    </a:gs>
                    <a:gs pos="0">
                      <a:schemeClr val="bg2"/>
                    </a:gs>
                  </a:gsLst>
                  <a:lin ang="5400000" scaled="0"/>
                </a:gradFill>
              </a:defRPr>
            </a:lvl1pPr>
          </a:lstStyle>
          <a:p>
            <a:pPr defTabSz="912115"/>
            <a:fld id="{727B4C2D-45E2-4621-8491-2995EB46A674}" type="slidenum">
              <a:rPr lang="en-US" smtClean="0">
                <a:gradFill>
                  <a:gsLst>
                    <a:gs pos="100000">
                      <a:srgbClr val="797A7D"/>
                    </a:gs>
                    <a:gs pos="0">
                      <a:srgbClr val="797A7D"/>
                    </a:gs>
                  </a:gsLst>
                  <a:lin ang="5400000" scaled="0"/>
                </a:gradFill>
              </a:rPr>
              <a:pPr defTabSz="912115"/>
              <a:t>‹#›</a:t>
            </a:fld>
            <a:endParaRPr lang="en-US" dirty="0">
              <a:gradFill>
                <a:gsLst>
                  <a:gs pos="100000">
                    <a:srgbClr val="797A7D"/>
                  </a:gs>
                  <a:gs pos="0">
                    <a:srgbClr val="797A7D"/>
                  </a:gs>
                </a:gsLst>
                <a:lin ang="5400000" scaled="0"/>
              </a:gradFill>
            </a:endParaRPr>
          </a:p>
        </p:txBody>
      </p:sp>
      <p:sp>
        <p:nvSpPr>
          <p:cNvPr id="9" name="Content Placeholder 5"/>
          <p:cNvSpPr>
            <a:spLocks noGrp="1"/>
          </p:cNvSpPr>
          <p:nvPr>
            <p:ph sz="quarter" idx="13"/>
          </p:nvPr>
        </p:nvSpPr>
        <p:spPr>
          <a:xfrm>
            <a:off x="520701" y="2734985"/>
            <a:ext cx="5444165" cy="609398"/>
          </a:xfrm>
          <a:prstGeom prst="rect">
            <a:avLst/>
          </a:prstGeom>
        </p:spPr>
        <p:txBody>
          <a:bodyPr>
            <a:noAutofit/>
          </a:bodyPr>
          <a:lstStyle>
            <a:lvl1pPr marL="0" indent="0">
              <a:spcBef>
                <a:spcPts val="1197"/>
              </a:spcBef>
              <a:buFont typeface="Arial" pitchFamily="34" charset="0"/>
              <a:buNone/>
              <a:defRPr lang="en-US" sz="1995" kern="1200" spc="0" dirty="0" smtClean="0">
                <a:gradFill>
                  <a:gsLst>
                    <a:gs pos="100000">
                      <a:schemeClr val="bg2"/>
                    </a:gs>
                    <a:gs pos="0">
                      <a:schemeClr val="bg2"/>
                    </a:gs>
                  </a:gsLst>
                  <a:lin ang="5400000" scaled="0"/>
                </a:gradFill>
                <a:latin typeface="+mn-lt"/>
                <a:ea typeface="+mn-ea"/>
                <a:cs typeface="Segoe UI" pitchFamily="34" charset="0"/>
              </a:defRPr>
            </a:lvl1pPr>
            <a:lvl2pPr marL="911955" indent="-379981">
              <a:defRPr lang="en-US" sz="2094" kern="1200" dirty="0" smtClean="0">
                <a:solidFill>
                  <a:schemeClr val="bg2">
                    <a:lumMod val="50000"/>
                  </a:schemeClr>
                </a:solidFill>
                <a:latin typeface="+mn-lt"/>
                <a:ea typeface="+mn-ea"/>
                <a:cs typeface="Arial" pitchFamily="34" charset="0"/>
              </a:defRPr>
            </a:lvl2pPr>
            <a:lvl3pPr marL="911955" indent="-227988">
              <a:defRPr lang="en-US" sz="1895" kern="1200" dirty="0" smtClean="0">
                <a:solidFill>
                  <a:schemeClr val="bg2">
                    <a:lumMod val="50000"/>
                  </a:schemeClr>
                </a:solidFill>
                <a:latin typeface="+mn-lt"/>
                <a:ea typeface="+mn-ea"/>
                <a:cs typeface="Arial" pitchFamily="34" charset="0"/>
              </a:defRPr>
            </a:lvl3pPr>
            <a:lvl4pPr marL="1215940" indent="-227988">
              <a:defRPr lang="en-US" sz="1596" kern="1200" dirty="0" smtClean="0">
                <a:solidFill>
                  <a:schemeClr val="bg2">
                    <a:lumMod val="50000"/>
                  </a:schemeClr>
                </a:solidFill>
                <a:latin typeface="+mn-lt"/>
                <a:ea typeface="+mn-ea"/>
                <a:cs typeface="Arial" pitchFamily="34" charset="0"/>
              </a:defRPr>
            </a:lvl4pPr>
            <a:lvl5pPr marL="1443929" indent="-227988">
              <a:defRPr lang="en-US" sz="1596" kern="1200" dirty="0">
                <a:solidFill>
                  <a:schemeClr val="bg2">
                    <a:lumMod val="50000"/>
                  </a:schemeClr>
                </a:solidFill>
                <a:latin typeface="+mn-lt"/>
                <a:ea typeface="+mn-ea"/>
                <a:cs typeface="Arial" pitchFamily="34" charset="0"/>
              </a:defRPr>
            </a:lvl5pPr>
            <a:lvl6pPr>
              <a:defRPr sz="2094"/>
            </a:lvl6pPr>
            <a:lvl7pPr>
              <a:defRPr sz="2094"/>
            </a:lvl7pPr>
            <a:lvl8pPr>
              <a:defRPr sz="2094"/>
            </a:lvl8pPr>
            <a:lvl9pPr>
              <a:defRPr sz="2094"/>
            </a:lvl9pPr>
          </a:lstStyle>
          <a:p>
            <a:pPr lvl="0"/>
            <a:r>
              <a:rPr lang="en-US" smtClean="0"/>
              <a:t>Click to edit Master text styles</a:t>
            </a:r>
          </a:p>
        </p:txBody>
      </p:sp>
      <p:pic>
        <p:nvPicPr>
          <p:cNvPr id="8" name="Picture 7"/>
          <p:cNvPicPr>
            <a:picLocks noChangeAspect="1"/>
          </p:cNvPicPr>
          <p:nvPr userDrawn="1"/>
        </p:nvPicPr>
        <p:blipFill>
          <a:blip r:embed="rId2"/>
          <a:stretch>
            <a:fillRect/>
          </a:stretch>
        </p:blipFill>
        <p:spPr>
          <a:xfrm>
            <a:off x="10699082" y="6301222"/>
            <a:ext cx="1489745" cy="548317"/>
          </a:xfrm>
          <a:prstGeom prst="rect">
            <a:avLst/>
          </a:prstGeom>
        </p:spPr>
      </p:pic>
    </p:spTree>
    <p:extLst>
      <p:ext uri="{BB962C8B-B14F-4D97-AF65-F5344CB8AC3E}">
        <p14:creationId xmlns:p14="http://schemas.microsoft.com/office/powerpoint/2010/main" val="3408901932"/>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218091" y="1447801"/>
            <a:ext cx="5433533" cy="1178442"/>
          </a:xfrm>
          <a:prstGeom prst="rect">
            <a:avLst/>
          </a:prstGeom>
        </p:spPr>
        <p:txBody>
          <a:bodyPr>
            <a:noAutofit/>
          </a:bodyPr>
          <a:lstStyle>
            <a:lvl1pPr marL="0" indent="0">
              <a:buNone/>
              <a:defRPr sz="3990" b="0" cap="none" baseline="0">
                <a:gradFill>
                  <a:gsLst>
                    <a:gs pos="100000">
                      <a:schemeClr val="tx2"/>
                    </a:gs>
                    <a:gs pos="0">
                      <a:schemeClr val="tx2"/>
                    </a:gs>
                  </a:gsLst>
                  <a:lin ang="5400000" scaled="0"/>
                </a:gradFill>
                <a:latin typeface="+mj-lt"/>
              </a:defRPr>
            </a:lvl1pPr>
            <a:lvl2pPr marL="607970" indent="0">
              <a:buNone/>
              <a:defRPr sz="2693" b="1"/>
            </a:lvl2pPr>
            <a:lvl3pPr marL="1215940" indent="0">
              <a:buNone/>
              <a:defRPr sz="2394" b="1"/>
            </a:lvl3pPr>
            <a:lvl4pPr marL="1823910" indent="0">
              <a:buNone/>
              <a:defRPr sz="2094" b="1"/>
            </a:lvl4pPr>
            <a:lvl5pPr marL="2431880" indent="0">
              <a:buNone/>
              <a:defRPr sz="2094" b="1"/>
            </a:lvl5pPr>
            <a:lvl6pPr marL="3039851" indent="0">
              <a:buNone/>
              <a:defRPr sz="2094" b="1"/>
            </a:lvl6pPr>
            <a:lvl7pPr marL="3647820" indent="0">
              <a:buNone/>
              <a:defRPr sz="2094" b="1"/>
            </a:lvl7pPr>
            <a:lvl8pPr marL="4255790" indent="0">
              <a:buNone/>
              <a:defRPr sz="2094" b="1"/>
            </a:lvl8pPr>
            <a:lvl9pPr marL="4863760" indent="0">
              <a:buNone/>
              <a:defRPr sz="2094" b="1"/>
            </a:lvl9pPr>
          </a:lstStyle>
          <a:p>
            <a:pPr lvl="0"/>
            <a:r>
              <a:rPr lang="en-US" dirty="0" smtClean="0"/>
              <a:t>Click to edit Master text styles.</a:t>
            </a:r>
          </a:p>
        </p:txBody>
      </p:sp>
      <p:sp>
        <p:nvSpPr>
          <p:cNvPr id="9" name="Content Placeholder 5"/>
          <p:cNvSpPr>
            <a:spLocks noGrp="1"/>
          </p:cNvSpPr>
          <p:nvPr>
            <p:ph sz="quarter" idx="13"/>
          </p:nvPr>
        </p:nvSpPr>
        <p:spPr>
          <a:xfrm>
            <a:off x="6218092" y="2734985"/>
            <a:ext cx="5444165" cy="609398"/>
          </a:xfrm>
          <a:prstGeom prst="rect">
            <a:avLst/>
          </a:prstGeom>
        </p:spPr>
        <p:txBody>
          <a:bodyPr>
            <a:noAutofit/>
          </a:bodyPr>
          <a:lstStyle>
            <a:lvl1pPr marL="0" indent="0">
              <a:spcBef>
                <a:spcPts val="1197"/>
              </a:spcBef>
              <a:buFont typeface="Arial" pitchFamily="34" charset="0"/>
              <a:buNone/>
              <a:defRPr lang="en-US" sz="1995" kern="1200" spc="0" dirty="0" smtClean="0">
                <a:gradFill>
                  <a:gsLst>
                    <a:gs pos="100000">
                      <a:schemeClr val="bg2"/>
                    </a:gs>
                    <a:gs pos="0">
                      <a:schemeClr val="bg2"/>
                    </a:gs>
                  </a:gsLst>
                  <a:lin ang="5400000" scaled="0"/>
                </a:gradFill>
                <a:latin typeface="+mn-lt"/>
                <a:ea typeface="+mn-ea"/>
                <a:cs typeface="Segoe UI" pitchFamily="34" charset="0"/>
              </a:defRPr>
            </a:lvl1pPr>
            <a:lvl2pPr marL="911955" indent="-379981">
              <a:defRPr lang="en-US" sz="2094" kern="1200" dirty="0" smtClean="0">
                <a:solidFill>
                  <a:schemeClr val="bg2">
                    <a:lumMod val="50000"/>
                  </a:schemeClr>
                </a:solidFill>
                <a:latin typeface="+mn-lt"/>
                <a:ea typeface="+mn-ea"/>
                <a:cs typeface="Arial" pitchFamily="34" charset="0"/>
              </a:defRPr>
            </a:lvl2pPr>
            <a:lvl3pPr marL="911955" indent="-227988">
              <a:defRPr lang="en-US" sz="1895" kern="1200" dirty="0" smtClean="0">
                <a:solidFill>
                  <a:schemeClr val="bg2">
                    <a:lumMod val="50000"/>
                  </a:schemeClr>
                </a:solidFill>
                <a:latin typeface="+mn-lt"/>
                <a:ea typeface="+mn-ea"/>
                <a:cs typeface="Arial" pitchFamily="34" charset="0"/>
              </a:defRPr>
            </a:lvl3pPr>
            <a:lvl4pPr marL="1215940" indent="-227988">
              <a:defRPr lang="en-US" sz="1596" kern="1200" dirty="0" smtClean="0">
                <a:solidFill>
                  <a:schemeClr val="bg2">
                    <a:lumMod val="50000"/>
                  </a:schemeClr>
                </a:solidFill>
                <a:latin typeface="+mn-lt"/>
                <a:ea typeface="+mn-ea"/>
                <a:cs typeface="Arial" pitchFamily="34" charset="0"/>
              </a:defRPr>
            </a:lvl4pPr>
            <a:lvl5pPr marL="1443929" indent="-227988">
              <a:defRPr lang="en-US" sz="1596" kern="1200" dirty="0">
                <a:solidFill>
                  <a:schemeClr val="bg2">
                    <a:lumMod val="50000"/>
                  </a:schemeClr>
                </a:solidFill>
                <a:latin typeface="+mn-lt"/>
                <a:ea typeface="+mn-ea"/>
                <a:cs typeface="Arial" pitchFamily="34" charset="0"/>
              </a:defRPr>
            </a:lvl5pPr>
            <a:lvl6pPr>
              <a:defRPr sz="2094"/>
            </a:lvl6pPr>
            <a:lvl7pPr>
              <a:defRPr sz="2094"/>
            </a:lvl7pPr>
            <a:lvl8pPr>
              <a:defRPr sz="2094"/>
            </a:lvl8pPr>
            <a:lvl9pPr>
              <a:defRPr sz="2094"/>
            </a:lvl9pPr>
          </a:lstStyle>
          <a:p>
            <a:pPr lvl="0"/>
            <a:r>
              <a:rPr lang="en-US" smtClean="0"/>
              <a:t>Click to edit Master text styles</a:t>
            </a:r>
          </a:p>
        </p:txBody>
      </p:sp>
      <p:sp>
        <p:nvSpPr>
          <p:cNvPr id="4" name="Picture Placeholder 3"/>
          <p:cNvSpPr>
            <a:spLocks noGrp="1"/>
          </p:cNvSpPr>
          <p:nvPr>
            <p:ph type="pic" sz="quarter" idx="14" hasCustomPrompt="1"/>
          </p:nvPr>
        </p:nvSpPr>
        <p:spPr>
          <a:xfrm>
            <a:off x="0" y="0"/>
            <a:ext cx="5980112" cy="6858000"/>
          </a:xfrm>
        </p:spPr>
        <p:txBody>
          <a:bodyPr lIns="182880" anchor="ctr"/>
          <a:lstStyle>
            <a:lvl1pPr marL="0" indent="0" algn="l">
              <a:buNone/>
              <a:defRPr/>
            </a:lvl1pPr>
          </a:lstStyle>
          <a:p>
            <a:r>
              <a:rPr lang="en-US" dirty="0" smtClean="0"/>
              <a:t>Click to insert photo.</a:t>
            </a:r>
            <a:endParaRPr lang="en-US" dirty="0"/>
          </a:p>
        </p:txBody>
      </p:sp>
    </p:spTree>
    <p:extLst>
      <p:ext uri="{BB962C8B-B14F-4D97-AF65-F5344CB8AC3E}">
        <p14:creationId xmlns:p14="http://schemas.microsoft.com/office/powerpoint/2010/main" val="2626373754"/>
      </p:ext>
    </p:extLst>
  </p:cSld>
  <p:clrMapOvr>
    <a:masterClrMapping/>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Color Block Header on Left &amp; Text on Right ">
    <p:spTree>
      <p:nvGrpSpPr>
        <p:cNvPr id="1" name=""/>
        <p:cNvGrpSpPr/>
        <p:nvPr/>
      </p:nvGrpSpPr>
      <p:grpSpPr>
        <a:xfrm>
          <a:off x="0" y="0"/>
          <a:ext cx="0" cy="0"/>
          <a:chOff x="0" y="0"/>
          <a:chExt cx="0" cy="0"/>
        </a:xfrm>
      </p:grpSpPr>
      <p:sp>
        <p:nvSpPr>
          <p:cNvPr id="2" name="Rectangle 1"/>
          <p:cNvSpPr/>
          <p:nvPr/>
        </p:nvSpPr>
        <p:spPr bwMode="white">
          <a:xfrm>
            <a:off x="-9524" y="0"/>
            <a:ext cx="4499638"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07" tIns="45607" rIns="45607" bIns="45607" numCol="1" spcCol="0" rtlCol="0" fromWordArt="0" anchor="ctr" anchorCtr="0" forceAA="0" compatLnSpc="1">
            <a:prstTxWarp prst="textNoShape">
              <a:avLst/>
            </a:prstTxWarp>
            <a:noAutofit/>
          </a:bodyPr>
          <a:lstStyle/>
          <a:p>
            <a:pPr algn="ctr" defTabSz="911815" fontAlgn="base">
              <a:spcBef>
                <a:spcPct val="0"/>
              </a:spcBef>
              <a:spcAft>
                <a:spcPct val="0"/>
              </a:spcAft>
            </a:pPr>
            <a:endParaRPr lang="en-US" sz="219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700" y="720725"/>
            <a:ext cx="3819289" cy="1687393"/>
          </a:xfrm>
          <a:prstGeom prst="rect">
            <a:avLst/>
          </a:prstGeom>
        </p:spPr>
        <p:txBody>
          <a:bodyPr>
            <a:noAutofit/>
          </a:bodyPr>
          <a:lstStyle>
            <a:lvl1pPr marL="0" indent="0">
              <a:buNone/>
              <a:defRPr sz="3990" b="0" cap="none" baseline="0">
                <a:gradFill>
                  <a:gsLst>
                    <a:gs pos="100000">
                      <a:schemeClr val="bg1"/>
                    </a:gs>
                    <a:gs pos="0">
                      <a:schemeClr val="bg1"/>
                    </a:gs>
                  </a:gsLst>
                  <a:lin ang="5400000" scaled="0"/>
                </a:gradFill>
                <a:latin typeface="+mj-lt"/>
              </a:defRPr>
            </a:lvl1pPr>
            <a:lvl2pPr marL="607970" indent="0">
              <a:buNone/>
              <a:defRPr sz="2693" b="1"/>
            </a:lvl2pPr>
            <a:lvl3pPr marL="1215940" indent="0">
              <a:buNone/>
              <a:defRPr sz="2394" b="1"/>
            </a:lvl3pPr>
            <a:lvl4pPr marL="1823910" indent="0">
              <a:buNone/>
              <a:defRPr sz="2094" b="1"/>
            </a:lvl4pPr>
            <a:lvl5pPr marL="2431880" indent="0">
              <a:buNone/>
              <a:defRPr sz="2094" b="1"/>
            </a:lvl5pPr>
            <a:lvl6pPr marL="3039851" indent="0">
              <a:buNone/>
              <a:defRPr sz="2094" b="1"/>
            </a:lvl6pPr>
            <a:lvl7pPr marL="3647820" indent="0">
              <a:buNone/>
              <a:defRPr sz="2094" b="1"/>
            </a:lvl7pPr>
            <a:lvl8pPr marL="4255790" indent="0">
              <a:buNone/>
              <a:defRPr sz="2094" b="1"/>
            </a:lvl8pPr>
            <a:lvl9pPr marL="4863760" indent="0">
              <a:buNone/>
              <a:defRPr sz="2094" b="1"/>
            </a:lvl9pPr>
          </a:lstStyle>
          <a:p>
            <a:pPr lvl="0"/>
            <a:r>
              <a:rPr lang="en-US" dirty="0" smtClean="0"/>
              <a:t>Click to edit Master text styles.</a:t>
            </a:r>
          </a:p>
        </p:txBody>
      </p:sp>
      <p:sp>
        <p:nvSpPr>
          <p:cNvPr id="6" name="Content Placeholder 5"/>
          <p:cNvSpPr>
            <a:spLocks noGrp="1"/>
          </p:cNvSpPr>
          <p:nvPr>
            <p:ph sz="quarter" idx="4"/>
          </p:nvPr>
        </p:nvSpPr>
        <p:spPr>
          <a:xfrm>
            <a:off x="6188150" y="1681907"/>
            <a:ext cx="5484740" cy="332399"/>
          </a:xfrm>
          <a:prstGeom prst="rect">
            <a:avLst/>
          </a:prstGeom>
        </p:spPr>
        <p:txBody>
          <a:bodyPr>
            <a:noAutofit/>
          </a:bodyPr>
          <a:lstStyle>
            <a:lvl1pPr marL="0" indent="0">
              <a:spcBef>
                <a:spcPts val="1197"/>
              </a:spcBef>
              <a:buNone/>
              <a:defRPr lang="en-US" sz="1995" kern="1200" spc="0" dirty="0" smtClean="0">
                <a:gradFill>
                  <a:gsLst>
                    <a:gs pos="100000">
                      <a:schemeClr val="bg2"/>
                    </a:gs>
                    <a:gs pos="0">
                      <a:schemeClr val="bg2"/>
                    </a:gs>
                  </a:gsLst>
                  <a:lin ang="5400000" scaled="0"/>
                </a:gradFill>
                <a:latin typeface="+mn-lt"/>
                <a:ea typeface="+mn-ea"/>
                <a:cs typeface="Segoe UI" pitchFamily="34" charset="0"/>
              </a:defRPr>
            </a:lvl1pPr>
            <a:lvl2pPr marL="911955" indent="-379981">
              <a:defRPr lang="en-US" sz="2094" kern="1200" dirty="0" smtClean="0">
                <a:solidFill>
                  <a:schemeClr val="bg2">
                    <a:lumMod val="50000"/>
                  </a:schemeClr>
                </a:solidFill>
                <a:latin typeface="+mn-lt"/>
                <a:ea typeface="+mn-ea"/>
                <a:cs typeface="Arial" pitchFamily="34" charset="0"/>
              </a:defRPr>
            </a:lvl2pPr>
            <a:lvl3pPr marL="911955" indent="-227988">
              <a:defRPr lang="en-US" sz="1895" kern="1200" dirty="0" smtClean="0">
                <a:solidFill>
                  <a:schemeClr val="bg2">
                    <a:lumMod val="50000"/>
                  </a:schemeClr>
                </a:solidFill>
                <a:latin typeface="+mn-lt"/>
                <a:ea typeface="+mn-ea"/>
                <a:cs typeface="Arial" pitchFamily="34" charset="0"/>
              </a:defRPr>
            </a:lvl3pPr>
            <a:lvl4pPr marL="1215940" indent="-227988">
              <a:defRPr lang="en-US" sz="1596" kern="1200" dirty="0" smtClean="0">
                <a:solidFill>
                  <a:schemeClr val="bg2">
                    <a:lumMod val="50000"/>
                  </a:schemeClr>
                </a:solidFill>
                <a:latin typeface="+mn-lt"/>
                <a:ea typeface="+mn-ea"/>
                <a:cs typeface="Arial" pitchFamily="34" charset="0"/>
              </a:defRPr>
            </a:lvl4pPr>
            <a:lvl5pPr marL="1443929" indent="-227988">
              <a:defRPr lang="en-US" sz="1596" kern="1200" dirty="0">
                <a:solidFill>
                  <a:schemeClr val="bg2">
                    <a:lumMod val="50000"/>
                  </a:schemeClr>
                </a:solidFill>
                <a:latin typeface="+mn-lt"/>
                <a:ea typeface="+mn-ea"/>
                <a:cs typeface="Arial" pitchFamily="34" charset="0"/>
              </a:defRPr>
            </a:lvl5pPr>
            <a:lvl6pPr>
              <a:defRPr sz="2094"/>
            </a:lvl6pPr>
            <a:lvl7pPr>
              <a:defRPr sz="2094"/>
            </a:lvl7pPr>
            <a:lvl8pPr>
              <a:defRPr sz="2094"/>
            </a:lvl8pPr>
            <a:lvl9pPr>
              <a:defRPr sz="2094"/>
            </a:lvl9pPr>
          </a:lstStyle>
          <a:p>
            <a:pPr lvl="0"/>
            <a:r>
              <a:rPr lang="en-US" smtClean="0"/>
              <a:t>Click to edit Master text styles</a:t>
            </a:r>
          </a:p>
        </p:txBody>
      </p:sp>
    </p:spTree>
    <p:extLst>
      <p:ext uri="{BB962C8B-B14F-4D97-AF65-F5344CB8AC3E}">
        <p14:creationId xmlns:p14="http://schemas.microsoft.com/office/powerpoint/2010/main" val="1905398532"/>
      </p:ext>
    </p:extLst>
  </p:cSld>
  <p:clrMapOvr>
    <a:masterClrMapping/>
  </p:clrMapOvr>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olor Block Header&amp; Subtext">
    <p:spTree>
      <p:nvGrpSpPr>
        <p:cNvPr id="1" name=""/>
        <p:cNvGrpSpPr/>
        <p:nvPr/>
      </p:nvGrpSpPr>
      <p:grpSpPr>
        <a:xfrm>
          <a:off x="0" y="0"/>
          <a:ext cx="0" cy="0"/>
          <a:chOff x="0" y="0"/>
          <a:chExt cx="0" cy="0"/>
        </a:xfrm>
      </p:grpSpPr>
      <p:sp>
        <p:nvSpPr>
          <p:cNvPr id="2" name="Rectangle 1"/>
          <p:cNvSpPr/>
          <p:nvPr/>
        </p:nvSpPr>
        <p:spPr bwMode="white">
          <a:xfrm>
            <a:off x="-9524" y="0"/>
            <a:ext cx="4499638"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ctr" defTabSz="911815" fontAlgn="base">
              <a:spcBef>
                <a:spcPct val="0"/>
              </a:spcBef>
              <a:spcAft>
                <a:spcPct val="0"/>
              </a:spcAft>
            </a:pPr>
            <a:endParaRPr lang="en-US" sz="219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12075" y="27027"/>
            <a:ext cx="2852227" cy="2751138"/>
          </a:xfrm>
          <a:prstGeom prst="rect">
            <a:avLst/>
          </a:prstGeom>
        </p:spPr>
        <p:txBody>
          <a:bodyPr anchor="b" anchorCtr="0">
            <a:noAutofit/>
          </a:bodyPr>
          <a:lstStyle>
            <a:lvl1pPr marL="0" indent="0">
              <a:lnSpc>
                <a:spcPts val="3800"/>
              </a:lnSpc>
              <a:spcBef>
                <a:spcPts val="0"/>
              </a:spcBef>
              <a:buNone/>
              <a:defRPr sz="3600" b="0" cap="none" baseline="0">
                <a:gradFill>
                  <a:gsLst>
                    <a:gs pos="100000">
                      <a:schemeClr val="bg1"/>
                    </a:gs>
                    <a:gs pos="0">
                      <a:schemeClr val="bg1"/>
                    </a:gs>
                  </a:gsLst>
                  <a:lin ang="5400000" scaled="0"/>
                </a:gradFill>
                <a:latin typeface="+mj-lt"/>
              </a:defRPr>
            </a:lvl1pPr>
            <a:lvl2pPr marL="607970" indent="0">
              <a:buNone/>
              <a:defRPr sz="2693" b="1"/>
            </a:lvl2pPr>
            <a:lvl3pPr marL="1215940" indent="0">
              <a:buNone/>
              <a:defRPr sz="2394" b="1"/>
            </a:lvl3pPr>
            <a:lvl4pPr marL="1823910" indent="0">
              <a:buNone/>
              <a:defRPr sz="2094" b="1"/>
            </a:lvl4pPr>
            <a:lvl5pPr marL="2431880" indent="0">
              <a:buNone/>
              <a:defRPr sz="2094" b="1"/>
            </a:lvl5pPr>
            <a:lvl6pPr marL="3039851" indent="0">
              <a:buNone/>
              <a:defRPr sz="2094" b="1"/>
            </a:lvl6pPr>
            <a:lvl7pPr marL="3647820" indent="0">
              <a:buNone/>
              <a:defRPr sz="2094" b="1"/>
            </a:lvl7pPr>
            <a:lvl8pPr marL="4255790" indent="0">
              <a:buNone/>
              <a:defRPr sz="2094" b="1"/>
            </a:lvl8pPr>
            <a:lvl9pPr marL="4863760" indent="0">
              <a:buNone/>
              <a:defRPr sz="2094" b="1"/>
            </a:lvl9pPr>
          </a:lstStyle>
          <a:p>
            <a:pPr lvl="0"/>
            <a:r>
              <a:rPr lang="en-US" dirty="0" smtClean="0"/>
              <a:t>Click to edit Master text styles.</a:t>
            </a:r>
          </a:p>
        </p:txBody>
      </p:sp>
      <p:sp>
        <p:nvSpPr>
          <p:cNvPr id="7" name="Text Placeholder 6"/>
          <p:cNvSpPr>
            <a:spLocks noGrp="1"/>
          </p:cNvSpPr>
          <p:nvPr>
            <p:ph type="body" sz="quarter" idx="10"/>
          </p:nvPr>
        </p:nvSpPr>
        <p:spPr>
          <a:xfrm>
            <a:off x="532923" y="3054083"/>
            <a:ext cx="2865884" cy="3575317"/>
          </a:xfrm>
        </p:spPr>
        <p:txBody>
          <a:bodyPr/>
          <a:lstStyle>
            <a:lvl1pPr marL="0" indent="0">
              <a:lnSpc>
                <a:spcPts val="2200"/>
              </a:lnSpc>
              <a:spcBef>
                <a:spcPts val="0"/>
              </a:spcBef>
              <a:spcAft>
                <a:spcPts val="1200"/>
              </a:spcAft>
              <a:buNone/>
              <a:defRPr sz="2100" spc="0" baseline="0">
                <a:solidFill>
                  <a:schemeClr val="bg1"/>
                </a:solidFill>
                <a:latin typeface="+mj-lt"/>
              </a:defRPr>
            </a:lvl1pPr>
            <a:lvl2pPr marL="0" indent="0">
              <a:lnSpc>
                <a:spcPts val="2200"/>
              </a:lnSpc>
              <a:spcBef>
                <a:spcPts val="0"/>
              </a:spcBef>
              <a:spcAft>
                <a:spcPts val="1200"/>
              </a:spcAft>
              <a:buNone/>
              <a:defRPr sz="2100" spc="0" baseline="0">
                <a:solidFill>
                  <a:schemeClr val="bg1"/>
                </a:solidFill>
                <a:latin typeface="+mj-lt"/>
              </a:defRPr>
            </a:lvl2pPr>
            <a:lvl3pPr marL="0" indent="0">
              <a:lnSpc>
                <a:spcPts val="2200"/>
              </a:lnSpc>
              <a:spcBef>
                <a:spcPts val="0"/>
              </a:spcBef>
              <a:spcAft>
                <a:spcPts val="1200"/>
              </a:spcAft>
              <a:buNone/>
              <a:defRPr sz="2100" spc="0" baseline="0">
                <a:solidFill>
                  <a:schemeClr val="bg1"/>
                </a:solidFill>
                <a:latin typeface="+mj-lt"/>
              </a:defRPr>
            </a:lvl3pPr>
            <a:lvl4pPr marL="0" indent="0">
              <a:lnSpc>
                <a:spcPts val="2200"/>
              </a:lnSpc>
              <a:spcBef>
                <a:spcPts val="0"/>
              </a:spcBef>
              <a:spcAft>
                <a:spcPts val="1200"/>
              </a:spcAft>
              <a:buNone/>
              <a:defRPr sz="2100" spc="0" baseline="0">
                <a:solidFill>
                  <a:schemeClr val="bg1"/>
                </a:solidFill>
                <a:latin typeface="+mj-lt"/>
              </a:defRPr>
            </a:lvl4pPr>
            <a:lvl5pPr marL="0" indent="0">
              <a:lnSpc>
                <a:spcPts val="2200"/>
              </a:lnSpc>
              <a:spcBef>
                <a:spcPts val="0"/>
              </a:spcBef>
              <a:spcAft>
                <a:spcPts val="1200"/>
              </a:spcAft>
              <a:buNone/>
              <a:defRPr sz="2100" spc="0" baseline="0">
                <a:solidFill>
                  <a:schemeClr val="bg1"/>
                </a:solidFill>
                <a:latin typeface="+mj-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027877149"/>
      </p:ext>
    </p:extLst>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1_Color Block Header on Left &amp; Text on Right ">
    <p:spTree>
      <p:nvGrpSpPr>
        <p:cNvPr id="1" name=""/>
        <p:cNvGrpSpPr/>
        <p:nvPr/>
      </p:nvGrpSpPr>
      <p:grpSpPr>
        <a:xfrm>
          <a:off x="0" y="0"/>
          <a:ext cx="0" cy="0"/>
          <a:chOff x="0" y="0"/>
          <a:chExt cx="0" cy="0"/>
        </a:xfrm>
      </p:grpSpPr>
      <p:sp>
        <p:nvSpPr>
          <p:cNvPr id="2" name="Rectangle 1"/>
          <p:cNvSpPr/>
          <p:nvPr/>
        </p:nvSpPr>
        <p:spPr bwMode="white">
          <a:xfrm>
            <a:off x="-9524" y="0"/>
            <a:ext cx="4499638"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07" tIns="45607" rIns="45607" bIns="45607" numCol="1" spcCol="0" rtlCol="0" fromWordArt="0" anchor="ctr" anchorCtr="0" forceAA="0" compatLnSpc="1">
            <a:prstTxWarp prst="textNoShape">
              <a:avLst/>
            </a:prstTxWarp>
            <a:noAutofit/>
          </a:bodyPr>
          <a:lstStyle/>
          <a:p>
            <a:pPr algn="ctr" defTabSz="911815" fontAlgn="base">
              <a:spcBef>
                <a:spcPct val="0"/>
              </a:spcBef>
              <a:spcAft>
                <a:spcPct val="0"/>
              </a:spcAft>
            </a:pPr>
            <a:endParaRPr lang="en-US" sz="219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700" y="720725"/>
            <a:ext cx="3819289" cy="1687393"/>
          </a:xfrm>
          <a:prstGeom prst="rect">
            <a:avLst/>
          </a:prstGeom>
        </p:spPr>
        <p:txBody>
          <a:bodyPr>
            <a:noAutofit/>
          </a:bodyPr>
          <a:lstStyle>
            <a:lvl1pPr marL="0" indent="0">
              <a:buNone/>
              <a:defRPr sz="3990" b="0" cap="none" baseline="0">
                <a:gradFill>
                  <a:gsLst>
                    <a:gs pos="100000">
                      <a:schemeClr val="bg1"/>
                    </a:gs>
                    <a:gs pos="0">
                      <a:schemeClr val="bg1"/>
                    </a:gs>
                  </a:gsLst>
                  <a:lin ang="5400000" scaled="0"/>
                </a:gradFill>
                <a:latin typeface="+mj-lt"/>
              </a:defRPr>
            </a:lvl1pPr>
            <a:lvl2pPr marL="607970" indent="0">
              <a:buNone/>
              <a:defRPr sz="2693" b="1"/>
            </a:lvl2pPr>
            <a:lvl3pPr marL="1215940" indent="0">
              <a:buNone/>
              <a:defRPr sz="2394" b="1"/>
            </a:lvl3pPr>
            <a:lvl4pPr marL="1823910" indent="0">
              <a:buNone/>
              <a:defRPr sz="2094" b="1"/>
            </a:lvl4pPr>
            <a:lvl5pPr marL="2431880" indent="0">
              <a:buNone/>
              <a:defRPr sz="2094" b="1"/>
            </a:lvl5pPr>
            <a:lvl6pPr marL="3039851" indent="0">
              <a:buNone/>
              <a:defRPr sz="2094" b="1"/>
            </a:lvl6pPr>
            <a:lvl7pPr marL="3647820" indent="0">
              <a:buNone/>
              <a:defRPr sz="2094" b="1"/>
            </a:lvl7pPr>
            <a:lvl8pPr marL="4255790" indent="0">
              <a:buNone/>
              <a:defRPr sz="2094" b="1"/>
            </a:lvl8pPr>
            <a:lvl9pPr marL="4863760" indent="0">
              <a:buNone/>
              <a:defRPr sz="2094" b="1"/>
            </a:lvl9pPr>
          </a:lstStyle>
          <a:p>
            <a:pPr lvl="0"/>
            <a:r>
              <a:rPr lang="en-US" dirty="0" smtClean="0"/>
              <a:t>Click to edit Master text styles.</a:t>
            </a:r>
          </a:p>
        </p:txBody>
      </p:sp>
      <p:sp>
        <p:nvSpPr>
          <p:cNvPr id="6" name="Content Placeholder 5"/>
          <p:cNvSpPr>
            <a:spLocks noGrp="1"/>
          </p:cNvSpPr>
          <p:nvPr>
            <p:ph sz="quarter" idx="4"/>
          </p:nvPr>
        </p:nvSpPr>
        <p:spPr>
          <a:xfrm>
            <a:off x="6188150" y="1681907"/>
            <a:ext cx="5484740" cy="332399"/>
          </a:xfrm>
          <a:prstGeom prst="rect">
            <a:avLst/>
          </a:prstGeom>
        </p:spPr>
        <p:txBody>
          <a:bodyPr>
            <a:noAutofit/>
          </a:bodyPr>
          <a:lstStyle>
            <a:lvl1pPr marL="0" indent="0">
              <a:spcBef>
                <a:spcPts val="1197"/>
              </a:spcBef>
              <a:buNone/>
              <a:defRPr lang="en-US" sz="1995" kern="1200" spc="0" dirty="0" smtClean="0">
                <a:gradFill>
                  <a:gsLst>
                    <a:gs pos="100000">
                      <a:schemeClr val="bg2"/>
                    </a:gs>
                    <a:gs pos="0">
                      <a:schemeClr val="bg2"/>
                    </a:gs>
                  </a:gsLst>
                  <a:lin ang="5400000" scaled="0"/>
                </a:gradFill>
                <a:latin typeface="+mn-lt"/>
                <a:ea typeface="+mn-ea"/>
                <a:cs typeface="Segoe UI" pitchFamily="34" charset="0"/>
              </a:defRPr>
            </a:lvl1pPr>
            <a:lvl2pPr marL="911955" indent="-379981">
              <a:defRPr lang="en-US" sz="2094" kern="1200" dirty="0" smtClean="0">
                <a:solidFill>
                  <a:schemeClr val="bg2">
                    <a:lumMod val="50000"/>
                  </a:schemeClr>
                </a:solidFill>
                <a:latin typeface="+mn-lt"/>
                <a:ea typeface="+mn-ea"/>
                <a:cs typeface="Arial" pitchFamily="34" charset="0"/>
              </a:defRPr>
            </a:lvl2pPr>
            <a:lvl3pPr marL="911955" indent="-227988">
              <a:defRPr lang="en-US" sz="1895" kern="1200" dirty="0" smtClean="0">
                <a:solidFill>
                  <a:schemeClr val="bg2">
                    <a:lumMod val="50000"/>
                  </a:schemeClr>
                </a:solidFill>
                <a:latin typeface="+mn-lt"/>
                <a:ea typeface="+mn-ea"/>
                <a:cs typeface="Arial" pitchFamily="34" charset="0"/>
              </a:defRPr>
            </a:lvl3pPr>
            <a:lvl4pPr marL="1215940" indent="-227988">
              <a:defRPr lang="en-US" sz="1596" kern="1200" dirty="0" smtClean="0">
                <a:solidFill>
                  <a:schemeClr val="bg2">
                    <a:lumMod val="50000"/>
                  </a:schemeClr>
                </a:solidFill>
                <a:latin typeface="+mn-lt"/>
                <a:ea typeface="+mn-ea"/>
                <a:cs typeface="Arial" pitchFamily="34" charset="0"/>
              </a:defRPr>
            </a:lvl4pPr>
            <a:lvl5pPr marL="1443929" indent="-227988">
              <a:defRPr lang="en-US" sz="1596" kern="1200" dirty="0">
                <a:solidFill>
                  <a:schemeClr val="bg2">
                    <a:lumMod val="50000"/>
                  </a:schemeClr>
                </a:solidFill>
                <a:latin typeface="+mn-lt"/>
                <a:ea typeface="+mn-ea"/>
                <a:cs typeface="Arial" pitchFamily="34" charset="0"/>
              </a:defRPr>
            </a:lvl5pPr>
            <a:lvl6pPr>
              <a:defRPr sz="2094"/>
            </a:lvl6pPr>
            <a:lvl7pPr>
              <a:defRPr sz="2094"/>
            </a:lvl7pPr>
            <a:lvl8pPr>
              <a:defRPr sz="2094"/>
            </a:lvl8pPr>
            <a:lvl9pPr>
              <a:defRPr sz="2094"/>
            </a:lvl9pPr>
          </a:lstStyle>
          <a:p>
            <a:pPr lvl="0"/>
            <a:r>
              <a:rPr lang="en-US" smtClean="0"/>
              <a:t>Click to edit Master text styles</a:t>
            </a:r>
          </a:p>
        </p:txBody>
      </p:sp>
    </p:spTree>
    <p:extLst>
      <p:ext uri="{BB962C8B-B14F-4D97-AF65-F5344CB8AC3E}">
        <p14:creationId xmlns:p14="http://schemas.microsoft.com/office/powerpoint/2010/main" val="407261182"/>
      </p:ext>
    </p:extLst>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Color Block text w/Photo on Right">
    <p:spTree>
      <p:nvGrpSpPr>
        <p:cNvPr id="1" name=""/>
        <p:cNvGrpSpPr/>
        <p:nvPr/>
      </p:nvGrpSpPr>
      <p:grpSpPr>
        <a:xfrm>
          <a:off x="0" y="0"/>
          <a:ext cx="0" cy="0"/>
          <a:chOff x="0" y="0"/>
          <a:chExt cx="0" cy="0"/>
        </a:xfrm>
      </p:grpSpPr>
      <p:sp>
        <p:nvSpPr>
          <p:cNvPr id="7" name="Rectangle 6"/>
          <p:cNvSpPr/>
          <p:nvPr/>
        </p:nvSpPr>
        <p:spPr bwMode="white">
          <a:xfrm>
            <a:off x="1" y="0"/>
            <a:ext cx="6219825"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07" tIns="45607" rIns="45607" bIns="45607" numCol="1" spcCol="0" rtlCol="0" fromWordArt="0" anchor="ctr" anchorCtr="0" forceAA="0" compatLnSpc="1">
            <a:prstTxWarp prst="textNoShape">
              <a:avLst/>
            </a:prstTxWarp>
            <a:noAutofit/>
          </a:bodyPr>
          <a:lstStyle/>
          <a:p>
            <a:pPr algn="ctr" defTabSz="911815" fontAlgn="base">
              <a:spcBef>
                <a:spcPct val="0"/>
              </a:spcBef>
              <a:spcAft>
                <a:spcPct val="0"/>
              </a:spcAft>
            </a:pPr>
            <a:endParaRPr lang="en-US" sz="219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701" y="1447801"/>
            <a:ext cx="5433533" cy="1178442"/>
          </a:xfrm>
          <a:prstGeom prst="rect">
            <a:avLst/>
          </a:prstGeom>
        </p:spPr>
        <p:txBody>
          <a:bodyPr>
            <a:noAutofit/>
          </a:bodyPr>
          <a:lstStyle>
            <a:lvl1pPr marL="0" indent="0">
              <a:buNone/>
              <a:defRPr sz="3990" b="0" cap="none" baseline="0">
                <a:gradFill>
                  <a:gsLst>
                    <a:gs pos="100000">
                      <a:schemeClr val="bg1"/>
                    </a:gs>
                    <a:gs pos="0">
                      <a:schemeClr val="bg1"/>
                    </a:gs>
                  </a:gsLst>
                  <a:lin ang="5400000" scaled="0"/>
                </a:gradFill>
                <a:latin typeface="+mj-lt"/>
              </a:defRPr>
            </a:lvl1pPr>
            <a:lvl2pPr marL="607970" indent="0">
              <a:buNone/>
              <a:defRPr sz="2693" b="1"/>
            </a:lvl2pPr>
            <a:lvl3pPr marL="1215940" indent="0">
              <a:buNone/>
              <a:defRPr sz="2394" b="1"/>
            </a:lvl3pPr>
            <a:lvl4pPr marL="1823910" indent="0">
              <a:buNone/>
              <a:defRPr sz="2094" b="1"/>
            </a:lvl4pPr>
            <a:lvl5pPr marL="2431880" indent="0">
              <a:buNone/>
              <a:defRPr sz="2094" b="1"/>
            </a:lvl5pPr>
            <a:lvl6pPr marL="3039851" indent="0">
              <a:buNone/>
              <a:defRPr sz="2094" b="1"/>
            </a:lvl6pPr>
            <a:lvl7pPr marL="3647820" indent="0">
              <a:buNone/>
              <a:defRPr sz="2094" b="1"/>
            </a:lvl7pPr>
            <a:lvl8pPr marL="4255790" indent="0">
              <a:buNone/>
              <a:defRPr sz="2094" b="1"/>
            </a:lvl8pPr>
            <a:lvl9pPr marL="4863760" indent="0">
              <a:buNone/>
              <a:defRPr sz="2094" b="1"/>
            </a:lvl9pPr>
          </a:lstStyle>
          <a:p>
            <a:pPr lvl="0"/>
            <a:r>
              <a:rPr lang="en-US" dirty="0" smtClean="0"/>
              <a:t>Click to edit Master text styles.</a:t>
            </a:r>
          </a:p>
        </p:txBody>
      </p:sp>
      <p:sp>
        <p:nvSpPr>
          <p:cNvPr id="9" name="Content Placeholder 5"/>
          <p:cNvSpPr>
            <a:spLocks noGrp="1"/>
          </p:cNvSpPr>
          <p:nvPr>
            <p:ph sz="quarter" idx="13"/>
          </p:nvPr>
        </p:nvSpPr>
        <p:spPr>
          <a:xfrm>
            <a:off x="520701" y="2734985"/>
            <a:ext cx="5444165" cy="609398"/>
          </a:xfrm>
          <a:prstGeom prst="rect">
            <a:avLst/>
          </a:prstGeom>
        </p:spPr>
        <p:txBody>
          <a:bodyPr>
            <a:noAutofit/>
          </a:bodyPr>
          <a:lstStyle>
            <a:lvl1pPr marL="0" indent="0">
              <a:spcBef>
                <a:spcPts val="1197"/>
              </a:spcBef>
              <a:buFont typeface="Arial" pitchFamily="34" charset="0"/>
              <a:buNone/>
              <a:defRPr lang="en-US" sz="1995" kern="1200" spc="0" dirty="0" smtClean="0">
                <a:gradFill>
                  <a:gsLst>
                    <a:gs pos="100000">
                      <a:schemeClr val="bg1"/>
                    </a:gs>
                    <a:gs pos="0">
                      <a:schemeClr val="bg1"/>
                    </a:gs>
                  </a:gsLst>
                  <a:lin ang="5400000" scaled="0"/>
                </a:gradFill>
                <a:latin typeface="+mn-lt"/>
                <a:ea typeface="+mn-ea"/>
                <a:cs typeface="Segoe UI" pitchFamily="34" charset="0"/>
              </a:defRPr>
            </a:lvl1pPr>
            <a:lvl2pPr marL="911955" indent="-379981">
              <a:defRPr lang="en-US" sz="2094" kern="1200" dirty="0" smtClean="0">
                <a:solidFill>
                  <a:schemeClr val="bg2">
                    <a:lumMod val="50000"/>
                  </a:schemeClr>
                </a:solidFill>
                <a:latin typeface="+mn-lt"/>
                <a:ea typeface="+mn-ea"/>
                <a:cs typeface="Arial" pitchFamily="34" charset="0"/>
              </a:defRPr>
            </a:lvl2pPr>
            <a:lvl3pPr marL="911955" indent="-227988">
              <a:defRPr lang="en-US" sz="1895" kern="1200" dirty="0" smtClean="0">
                <a:solidFill>
                  <a:schemeClr val="bg2">
                    <a:lumMod val="50000"/>
                  </a:schemeClr>
                </a:solidFill>
                <a:latin typeface="+mn-lt"/>
                <a:ea typeface="+mn-ea"/>
                <a:cs typeface="Arial" pitchFamily="34" charset="0"/>
              </a:defRPr>
            </a:lvl3pPr>
            <a:lvl4pPr marL="1215940" indent="-227988">
              <a:defRPr lang="en-US" sz="1596" kern="1200" dirty="0" smtClean="0">
                <a:solidFill>
                  <a:schemeClr val="bg2">
                    <a:lumMod val="50000"/>
                  </a:schemeClr>
                </a:solidFill>
                <a:latin typeface="+mn-lt"/>
                <a:ea typeface="+mn-ea"/>
                <a:cs typeface="Arial" pitchFamily="34" charset="0"/>
              </a:defRPr>
            </a:lvl4pPr>
            <a:lvl5pPr marL="1443929" indent="-227988">
              <a:defRPr lang="en-US" sz="1596" kern="1200" dirty="0">
                <a:solidFill>
                  <a:schemeClr val="bg2">
                    <a:lumMod val="50000"/>
                  </a:schemeClr>
                </a:solidFill>
                <a:latin typeface="+mn-lt"/>
                <a:ea typeface="+mn-ea"/>
                <a:cs typeface="Arial" pitchFamily="34" charset="0"/>
              </a:defRPr>
            </a:lvl5pPr>
            <a:lvl6pPr>
              <a:defRPr sz="2094"/>
            </a:lvl6pPr>
            <a:lvl7pPr>
              <a:defRPr sz="2094"/>
            </a:lvl7pPr>
            <a:lvl8pPr>
              <a:defRPr sz="2094"/>
            </a:lvl8pPr>
            <a:lvl9pPr>
              <a:defRPr sz="2094"/>
            </a:lvl9pPr>
          </a:lstStyle>
          <a:p>
            <a:pPr lvl="0"/>
            <a:r>
              <a:rPr lang="en-US" smtClean="0"/>
              <a:t>Click to edit Master text styles</a:t>
            </a:r>
          </a:p>
        </p:txBody>
      </p:sp>
      <p:sp>
        <p:nvSpPr>
          <p:cNvPr id="4" name="Picture Placeholder 3"/>
          <p:cNvSpPr>
            <a:spLocks noGrp="1"/>
          </p:cNvSpPr>
          <p:nvPr>
            <p:ph type="pic" sz="quarter" idx="14" hasCustomPrompt="1"/>
          </p:nvPr>
        </p:nvSpPr>
        <p:spPr>
          <a:xfrm>
            <a:off x="6208713" y="0"/>
            <a:ext cx="5980112" cy="6858000"/>
          </a:xfrm>
        </p:spPr>
        <p:txBody>
          <a:bodyPr lIns="182880" anchor="ctr"/>
          <a:lstStyle>
            <a:lvl1pPr marL="0" indent="0" algn="l">
              <a:buNone/>
              <a:defRPr/>
            </a:lvl1pPr>
          </a:lstStyle>
          <a:p>
            <a:r>
              <a:rPr lang="en-US" dirty="0" smtClean="0"/>
              <a:t>Click to insert photo.</a:t>
            </a:r>
            <a:endParaRPr lang="en-US" dirty="0"/>
          </a:p>
        </p:txBody>
      </p:sp>
    </p:spTree>
    <p:extLst>
      <p:ext uri="{BB962C8B-B14F-4D97-AF65-F5344CB8AC3E}">
        <p14:creationId xmlns:p14="http://schemas.microsoft.com/office/powerpoint/2010/main" val="2728650805"/>
      </p:ext>
    </p:extLst>
  </p:cSld>
  <p:clrMapOvr>
    <a:masterClrMapping/>
  </p:clrMapOvr>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Color Block text w/Photo on Left">
    <p:spTree>
      <p:nvGrpSpPr>
        <p:cNvPr id="1" name=""/>
        <p:cNvGrpSpPr/>
        <p:nvPr/>
      </p:nvGrpSpPr>
      <p:grpSpPr>
        <a:xfrm>
          <a:off x="0" y="0"/>
          <a:ext cx="0" cy="0"/>
          <a:chOff x="0" y="0"/>
          <a:chExt cx="0" cy="0"/>
        </a:xfrm>
      </p:grpSpPr>
      <p:sp>
        <p:nvSpPr>
          <p:cNvPr id="7" name="Rectangle 6"/>
          <p:cNvSpPr/>
          <p:nvPr/>
        </p:nvSpPr>
        <p:spPr bwMode="white">
          <a:xfrm>
            <a:off x="8763990" y="0"/>
            <a:ext cx="3437533"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07" tIns="45607" rIns="45607" bIns="45607" numCol="1" spcCol="0" rtlCol="0" fromWordArt="0" anchor="ctr" anchorCtr="0" forceAA="0" compatLnSpc="1">
            <a:prstTxWarp prst="textNoShape">
              <a:avLst/>
            </a:prstTxWarp>
            <a:noAutofit/>
          </a:bodyPr>
          <a:lstStyle/>
          <a:p>
            <a:pPr algn="ctr" defTabSz="911815" fontAlgn="base">
              <a:spcBef>
                <a:spcPct val="0"/>
              </a:spcBef>
              <a:spcAft>
                <a:spcPct val="0"/>
              </a:spcAft>
            </a:pPr>
            <a:endParaRPr lang="en-US" sz="219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8763990" y="1447801"/>
            <a:ext cx="2887633" cy="1178442"/>
          </a:xfrm>
          <a:prstGeom prst="rect">
            <a:avLst/>
          </a:prstGeom>
        </p:spPr>
        <p:txBody>
          <a:bodyPr>
            <a:noAutofit/>
          </a:bodyPr>
          <a:lstStyle>
            <a:lvl1pPr marL="0" indent="0">
              <a:buNone/>
              <a:defRPr sz="3990" b="0" cap="none" baseline="0">
                <a:gradFill>
                  <a:gsLst>
                    <a:gs pos="100000">
                      <a:schemeClr val="bg1"/>
                    </a:gs>
                    <a:gs pos="0">
                      <a:schemeClr val="bg1"/>
                    </a:gs>
                  </a:gsLst>
                  <a:lin ang="5400000" scaled="0"/>
                </a:gradFill>
                <a:latin typeface="+mj-lt"/>
              </a:defRPr>
            </a:lvl1pPr>
            <a:lvl2pPr marL="607970" indent="0">
              <a:buNone/>
              <a:defRPr sz="2693" b="1"/>
            </a:lvl2pPr>
            <a:lvl3pPr marL="1215940" indent="0">
              <a:buNone/>
              <a:defRPr sz="2394" b="1"/>
            </a:lvl3pPr>
            <a:lvl4pPr marL="1823910" indent="0">
              <a:buNone/>
              <a:defRPr sz="2094" b="1"/>
            </a:lvl4pPr>
            <a:lvl5pPr marL="2431880" indent="0">
              <a:buNone/>
              <a:defRPr sz="2094" b="1"/>
            </a:lvl5pPr>
            <a:lvl6pPr marL="3039851" indent="0">
              <a:buNone/>
              <a:defRPr sz="2094" b="1"/>
            </a:lvl6pPr>
            <a:lvl7pPr marL="3647820" indent="0">
              <a:buNone/>
              <a:defRPr sz="2094" b="1"/>
            </a:lvl7pPr>
            <a:lvl8pPr marL="4255790" indent="0">
              <a:buNone/>
              <a:defRPr sz="2094" b="1"/>
            </a:lvl8pPr>
            <a:lvl9pPr marL="4863760" indent="0">
              <a:buNone/>
              <a:defRPr sz="2094" b="1"/>
            </a:lvl9pPr>
          </a:lstStyle>
          <a:p>
            <a:pPr lvl="0"/>
            <a:r>
              <a:rPr lang="en-US" dirty="0" smtClean="0"/>
              <a:t>Click to edit Master text styles.</a:t>
            </a:r>
          </a:p>
        </p:txBody>
      </p:sp>
      <p:sp>
        <p:nvSpPr>
          <p:cNvPr id="9" name="Content Placeholder 5"/>
          <p:cNvSpPr>
            <a:spLocks noGrp="1"/>
          </p:cNvSpPr>
          <p:nvPr>
            <p:ph sz="quarter" idx="13"/>
          </p:nvPr>
        </p:nvSpPr>
        <p:spPr>
          <a:xfrm>
            <a:off x="8763991" y="3264991"/>
            <a:ext cx="2898266" cy="609398"/>
          </a:xfrm>
          <a:prstGeom prst="rect">
            <a:avLst/>
          </a:prstGeom>
        </p:spPr>
        <p:txBody>
          <a:bodyPr>
            <a:noAutofit/>
          </a:bodyPr>
          <a:lstStyle>
            <a:lvl1pPr marL="0" indent="0">
              <a:spcBef>
                <a:spcPts val="1197"/>
              </a:spcBef>
              <a:buFont typeface="Arial" pitchFamily="34" charset="0"/>
              <a:buNone/>
              <a:defRPr lang="en-US" sz="1995" kern="1200" spc="0" dirty="0" smtClean="0">
                <a:gradFill>
                  <a:gsLst>
                    <a:gs pos="100000">
                      <a:schemeClr val="bg1"/>
                    </a:gs>
                    <a:gs pos="0">
                      <a:schemeClr val="bg1"/>
                    </a:gs>
                  </a:gsLst>
                  <a:lin ang="5400000" scaled="0"/>
                </a:gradFill>
                <a:latin typeface="+mn-lt"/>
                <a:ea typeface="+mn-ea"/>
                <a:cs typeface="Segoe UI" pitchFamily="34" charset="0"/>
              </a:defRPr>
            </a:lvl1pPr>
            <a:lvl2pPr marL="911955" indent="-379981">
              <a:defRPr lang="en-US" sz="2094" kern="1200" dirty="0" smtClean="0">
                <a:solidFill>
                  <a:schemeClr val="bg2">
                    <a:lumMod val="50000"/>
                  </a:schemeClr>
                </a:solidFill>
                <a:latin typeface="+mn-lt"/>
                <a:ea typeface="+mn-ea"/>
                <a:cs typeface="Arial" pitchFamily="34" charset="0"/>
              </a:defRPr>
            </a:lvl2pPr>
            <a:lvl3pPr marL="911955" indent="-227988">
              <a:defRPr lang="en-US" sz="1895" kern="1200" dirty="0" smtClean="0">
                <a:solidFill>
                  <a:schemeClr val="bg2">
                    <a:lumMod val="50000"/>
                  </a:schemeClr>
                </a:solidFill>
                <a:latin typeface="+mn-lt"/>
                <a:ea typeface="+mn-ea"/>
                <a:cs typeface="Arial" pitchFamily="34" charset="0"/>
              </a:defRPr>
            </a:lvl3pPr>
            <a:lvl4pPr marL="1215940" indent="-227988">
              <a:defRPr lang="en-US" sz="1596" kern="1200" dirty="0" smtClean="0">
                <a:solidFill>
                  <a:schemeClr val="bg2">
                    <a:lumMod val="50000"/>
                  </a:schemeClr>
                </a:solidFill>
                <a:latin typeface="+mn-lt"/>
                <a:ea typeface="+mn-ea"/>
                <a:cs typeface="Arial" pitchFamily="34" charset="0"/>
              </a:defRPr>
            </a:lvl4pPr>
            <a:lvl5pPr marL="1443929" indent="-227988">
              <a:defRPr lang="en-US" sz="1596" kern="1200" dirty="0">
                <a:solidFill>
                  <a:schemeClr val="bg2">
                    <a:lumMod val="50000"/>
                  </a:schemeClr>
                </a:solidFill>
                <a:latin typeface="+mn-lt"/>
                <a:ea typeface="+mn-ea"/>
                <a:cs typeface="Arial" pitchFamily="34" charset="0"/>
              </a:defRPr>
            </a:lvl5pPr>
            <a:lvl6pPr>
              <a:defRPr sz="2094"/>
            </a:lvl6pPr>
            <a:lvl7pPr>
              <a:defRPr sz="2094"/>
            </a:lvl7pPr>
            <a:lvl8pPr>
              <a:defRPr sz="2094"/>
            </a:lvl8pPr>
            <a:lvl9pPr>
              <a:defRPr sz="2094"/>
            </a:lvl9pPr>
          </a:lstStyle>
          <a:p>
            <a:pPr lvl="0"/>
            <a:r>
              <a:rPr lang="en-US" dirty="0" smtClean="0"/>
              <a:t>Click to edit Master text styles</a:t>
            </a:r>
          </a:p>
        </p:txBody>
      </p:sp>
      <p:sp>
        <p:nvSpPr>
          <p:cNvPr id="4" name="Picture Placeholder 3"/>
          <p:cNvSpPr>
            <a:spLocks noGrp="1"/>
          </p:cNvSpPr>
          <p:nvPr>
            <p:ph type="pic" sz="quarter" idx="14" hasCustomPrompt="1"/>
          </p:nvPr>
        </p:nvSpPr>
        <p:spPr>
          <a:xfrm>
            <a:off x="661596" y="532563"/>
            <a:ext cx="7966080" cy="6858000"/>
          </a:xfrm>
        </p:spPr>
        <p:txBody>
          <a:bodyPr lIns="182880" anchor="ctr"/>
          <a:lstStyle>
            <a:lvl1pPr marL="0" indent="0" algn="l">
              <a:buNone/>
              <a:defRPr/>
            </a:lvl1pPr>
          </a:lstStyle>
          <a:p>
            <a:r>
              <a:rPr lang="en-US" dirty="0" smtClean="0"/>
              <a:t>Click to insert photo.</a:t>
            </a:r>
            <a:endParaRPr lang="en-US" dirty="0"/>
          </a:p>
        </p:txBody>
      </p:sp>
      <p:pic>
        <p:nvPicPr>
          <p:cNvPr id="35" name="Picture 34"/>
          <p:cNvPicPr>
            <a:picLocks noChangeAspect="1"/>
          </p:cNvPicPr>
          <p:nvPr userDrawn="1"/>
        </p:nvPicPr>
        <p:blipFill>
          <a:blip r:embed="rId2"/>
          <a:stretch>
            <a:fillRect/>
          </a:stretch>
        </p:blipFill>
        <p:spPr>
          <a:xfrm>
            <a:off x="10795674" y="6255100"/>
            <a:ext cx="1269536" cy="501941"/>
          </a:xfrm>
          <a:prstGeom prst="rect">
            <a:avLst/>
          </a:prstGeom>
        </p:spPr>
      </p:pic>
    </p:spTree>
    <p:extLst>
      <p:ext uri="{BB962C8B-B14F-4D97-AF65-F5344CB8AC3E}">
        <p14:creationId xmlns:p14="http://schemas.microsoft.com/office/powerpoint/2010/main" val="401585448"/>
      </p:ext>
    </p:extLst>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p:nvSpPr>
        <p:spPr bwMode="white">
          <a:xfrm>
            <a:off x="1" y="857250"/>
            <a:ext cx="12188825" cy="51244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07" tIns="45607" rIns="45607" bIns="45607" numCol="1" spcCol="0" rtlCol="0" fromWordArt="0" anchor="ctr" anchorCtr="0" forceAA="0" compatLnSpc="1">
            <a:prstTxWarp prst="textNoShape">
              <a:avLst/>
            </a:prstTxWarp>
            <a:noAutofit/>
          </a:bodyPr>
          <a:lstStyle/>
          <a:p>
            <a:pPr algn="ctr" defTabSz="911815" fontAlgn="base">
              <a:spcBef>
                <a:spcPct val="0"/>
              </a:spcBef>
              <a:spcAft>
                <a:spcPct val="0"/>
              </a:spcAft>
            </a:pPr>
            <a:endParaRPr lang="en-US" sz="2194"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Content Placeholder 4"/>
          <p:cNvSpPr>
            <a:spLocks noGrp="1"/>
          </p:cNvSpPr>
          <p:nvPr>
            <p:ph sz="quarter" idx="11" hasCustomPrompt="1"/>
          </p:nvPr>
        </p:nvSpPr>
        <p:spPr>
          <a:xfrm>
            <a:off x="520701" y="1358057"/>
            <a:ext cx="11152188" cy="2863073"/>
          </a:xfrm>
          <a:prstGeom prst="rect">
            <a:avLst/>
          </a:prstGeom>
        </p:spPr>
        <p:txBody>
          <a:bodyPr>
            <a:normAutofit/>
          </a:bodyPr>
          <a:lstStyle>
            <a:lvl1pPr marL="0" indent="0">
              <a:lnSpc>
                <a:spcPct val="90000"/>
              </a:lnSpc>
              <a:buNone/>
              <a:defRPr sz="6384">
                <a:gradFill>
                  <a:gsLst>
                    <a:gs pos="100000">
                      <a:schemeClr val="bg1"/>
                    </a:gs>
                    <a:gs pos="0">
                      <a:schemeClr val="bg1"/>
                    </a:gs>
                  </a:gsLst>
                  <a:lin ang="5400000" scaled="0"/>
                </a:gradFill>
                <a:latin typeface="+mj-lt"/>
              </a:defRPr>
            </a:lvl1pPr>
            <a:lvl2pPr>
              <a:defRPr sz="6384">
                <a:solidFill>
                  <a:schemeClr val="tx2"/>
                </a:solidFill>
                <a:latin typeface="+mn-lt"/>
              </a:defRPr>
            </a:lvl2pPr>
          </a:lstStyle>
          <a:p>
            <a:pPr lvl="0"/>
            <a:r>
              <a:rPr lang="en-US" dirty="0" smtClean="0"/>
              <a:t>“Click to edit Master text styles”</a:t>
            </a:r>
          </a:p>
        </p:txBody>
      </p:sp>
      <p:sp>
        <p:nvSpPr>
          <p:cNvPr id="10" name="Slide Number Placeholder 9"/>
          <p:cNvSpPr>
            <a:spLocks noGrp="1"/>
          </p:cNvSpPr>
          <p:nvPr>
            <p:ph type="sldNum" sz="quarter" idx="12"/>
          </p:nvPr>
        </p:nvSpPr>
        <p:spPr>
          <a:xfrm>
            <a:off x="520701" y="6399557"/>
            <a:ext cx="560686" cy="219456"/>
          </a:xfrm>
          <a:prstGeom prst="rect">
            <a:avLst/>
          </a:prstGeom>
        </p:spPr>
        <p:txBody>
          <a:bodyPr lIns="121899" tIns="60949" rIns="121899" bIns="60949" anchor="ctr"/>
          <a:lstStyle>
            <a:lvl1pPr algn="l">
              <a:defRPr sz="1596">
                <a:gradFill>
                  <a:gsLst>
                    <a:gs pos="100000">
                      <a:schemeClr val="bg2"/>
                    </a:gs>
                    <a:gs pos="0">
                      <a:schemeClr val="bg2"/>
                    </a:gs>
                  </a:gsLst>
                  <a:lin ang="5400000" scaled="0"/>
                </a:gradFill>
              </a:defRPr>
            </a:lvl1pPr>
          </a:lstStyle>
          <a:p>
            <a:pPr defTabSz="912115"/>
            <a:fld id="{727B4C2D-45E2-4621-8491-2995EB46A674}" type="slidenum">
              <a:rPr lang="en-US" smtClean="0">
                <a:gradFill>
                  <a:gsLst>
                    <a:gs pos="100000">
                      <a:srgbClr val="797A7D"/>
                    </a:gs>
                    <a:gs pos="0">
                      <a:srgbClr val="797A7D"/>
                    </a:gs>
                  </a:gsLst>
                  <a:lin ang="5400000" scaled="0"/>
                </a:gradFill>
              </a:rPr>
              <a:pPr defTabSz="912115"/>
              <a:t>‹#›</a:t>
            </a:fld>
            <a:endParaRPr lang="en-US" dirty="0">
              <a:gradFill>
                <a:gsLst>
                  <a:gs pos="100000">
                    <a:srgbClr val="797A7D"/>
                  </a:gs>
                  <a:gs pos="0">
                    <a:srgbClr val="797A7D"/>
                  </a:gs>
                </a:gsLst>
                <a:lin ang="5400000" scaled="0"/>
              </a:gradFill>
            </a:endParaRPr>
          </a:p>
        </p:txBody>
      </p:sp>
      <p:sp>
        <p:nvSpPr>
          <p:cNvPr id="11" name="Content Placeholder 4"/>
          <p:cNvSpPr>
            <a:spLocks noGrp="1"/>
          </p:cNvSpPr>
          <p:nvPr>
            <p:ph sz="quarter" idx="13"/>
          </p:nvPr>
        </p:nvSpPr>
        <p:spPr>
          <a:xfrm>
            <a:off x="520701" y="4343404"/>
            <a:ext cx="11152188" cy="470747"/>
          </a:xfrm>
          <a:prstGeom prst="rect">
            <a:avLst/>
          </a:prstGeom>
        </p:spPr>
        <p:txBody>
          <a:bodyPr>
            <a:normAutofit/>
          </a:bodyPr>
          <a:lstStyle>
            <a:lvl1pPr marL="0" indent="0">
              <a:lnSpc>
                <a:spcPct val="90000"/>
              </a:lnSpc>
              <a:buNone/>
              <a:defRPr sz="3591">
                <a:gradFill>
                  <a:gsLst>
                    <a:gs pos="100000">
                      <a:schemeClr val="bg1"/>
                    </a:gs>
                    <a:gs pos="0">
                      <a:schemeClr val="bg1"/>
                    </a:gs>
                  </a:gsLst>
                  <a:lin ang="5400000" scaled="0"/>
                </a:gradFill>
                <a:latin typeface="+mj-lt"/>
              </a:defRPr>
            </a:lvl1pPr>
            <a:lvl2pPr>
              <a:defRPr sz="6384">
                <a:solidFill>
                  <a:schemeClr val="tx2"/>
                </a:solidFill>
                <a:latin typeface="+mn-lt"/>
              </a:defRPr>
            </a:lvl2pPr>
          </a:lstStyle>
          <a:p>
            <a:pPr lvl="0"/>
            <a:r>
              <a:rPr lang="en-US" smtClean="0"/>
              <a:t>Click to edit Master text styles</a:t>
            </a:r>
          </a:p>
        </p:txBody>
      </p:sp>
      <p:pic>
        <p:nvPicPr>
          <p:cNvPr id="7" name="Picture 6"/>
          <p:cNvPicPr>
            <a:picLocks noChangeAspect="1"/>
          </p:cNvPicPr>
          <p:nvPr userDrawn="1"/>
        </p:nvPicPr>
        <p:blipFill>
          <a:blip r:embed="rId2"/>
          <a:stretch>
            <a:fillRect/>
          </a:stretch>
        </p:blipFill>
        <p:spPr>
          <a:xfrm>
            <a:off x="10699082" y="6301222"/>
            <a:ext cx="1489745" cy="548317"/>
          </a:xfrm>
          <a:prstGeom prst="rect">
            <a:avLst/>
          </a:prstGeom>
        </p:spPr>
      </p:pic>
    </p:spTree>
    <p:extLst>
      <p:ext uri="{BB962C8B-B14F-4D97-AF65-F5344CB8AC3E}">
        <p14:creationId xmlns:p14="http://schemas.microsoft.com/office/powerpoint/2010/main" val="2535582247"/>
      </p:ext>
    </p:extLst>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910208414"/>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139" y="4343404"/>
            <a:ext cx="10237786" cy="461665"/>
          </a:xfrm>
        </p:spPr>
        <p:txBody>
          <a:bodyPr>
            <a:noAutofit/>
          </a:bodyPr>
          <a:lstStyle>
            <a:lvl1pPr marL="0" indent="0" algn="l">
              <a:lnSpc>
                <a:spcPct val="90000"/>
              </a:lnSpc>
              <a:spcBef>
                <a:spcPts val="0"/>
              </a:spcBef>
              <a:buNone/>
              <a:defRPr lang="en-US" sz="3591" kern="1200" spc="-70" baseline="0" dirty="0">
                <a:gradFill>
                  <a:gsLst>
                    <a:gs pos="2083">
                      <a:schemeClr val="bg2"/>
                    </a:gs>
                    <a:gs pos="99000">
                      <a:schemeClr val="bg2"/>
                    </a:gs>
                  </a:gsLst>
                  <a:lin ang="5400000" scaled="0"/>
                </a:gradFill>
                <a:latin typeface="+mj-lt"/>
                <a:ea typeface="+mn-ea"/>
                <a:cs typeface="+mn-cs"/>
              </a:defRPr>
            </a:lvl1pPr>
            <a:lvl2pPr marL="456040" indent="0" algn="ctr">
              <a:buNone/>
              <a:defRPr>
                <a:solidFill>
                  <a:schemeClr val="tx1">
                    <a:tint val="75000"/>
                  </a:schemeClr>
                </a:solidFill>
              </a:defRPr>
            </a:lvl2pPr>
            <a:lvl3pPr marL="912078" indent="0" algn="ctr">
              <a:buNone/>
              <a:defRPr>
                <a:solidFill>
                  <a:schemeClr val="tx1">
                    <a:tint val="75000"/>
                  </a:schemeClr>
                </a:solidFill>
              </a:defRPr>
            </a:lvl3pPr>
            <a:lvl4pPr marL="1368118" indent="0" algn="ctr">
              <a:buNone/>
              <a:defRPr>
                <a:solidFill>
                  <a:schemeClr val="tx1">
                    <a:tint val="75000"/>
                  </a:schemeClr>
                </a:solidFill>
              </a:defRPr>
            </a:lvl4pPr>
            <a:lvl5pPr marL="1824156" indent="0" algn="ctr">
              <a:buNone/>
              <a:defRPr>
                <a:solidFill>
                  <a:schemeClr val="tx1">
                    <a:tint val="75000"/>
                  </a:schemeClr>
                </a:solidFill>
              </a:defRPr>
            </a:lvl5pPr>
            <a:lvl6pPr marL="2280196" indent="0" algn="ctr">
              <a:buNone/>
              <a:defRPr>
                <a:solidFill>
                  <a:schemeClr val="tx1">
                    <a:tint val="75000"/>
                  </a:schemeClr>
                </a:solidFill>
              </a:defRPr>
            </a:lvl6pPr>
            <a:lvl7pPr marL="2736234" indent="0" algn="ctr">
              <a:buNone/>
              <a:defRPr>
                <a:solidFill>
                  <a:schemeClr val="tx1">
                    <a:tint val="75000"/>
                  </a:schemeClr>
                </a:solidFill>
              </a:defRPr>
            </a:lvl7pPr>
            <a:lvl8pPr marL="3192274" indent="0" algn="ctr">
              <a:buNone/>
              <a:defRPr>
                <a:solidFill>
                  <a:schemeClr val="tx1">
                    <a:tint val="75000"/>
                  </a:schemeClr>
                </a:solidFill>
              </a:defRPr>
            </a:lvl8pPr>
            <a:lvl9pPr marL="3648313" indent="0" algn="ctr">
              <a:buNone/>
              <a:defRPr>
                <a:solidFill>
                  <a:schemeClr val="tx1">
                    <a:tint val="75000"/>
                  </a:schemeClr>
                </a:solidFill>
              </a:defRPr>
            </a:lvl9pPr>
          </a:lstStyle>
          <a:p>
            <a:pPr marL="0" marR="0" lvl="0" indent="0" algn="l" defTabSz="912078"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140" y="2739678"/>
            <a:ext cx="10245725"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576" b="0" kern="1200" cap="none" spc="-399" baseline="0" dirty="0" smtClean="0">
                <a:ln w="3175">
                  <a:noFill/>
                </a:ln>
                <a:gradFill>
                  <a:gsLst>
                    <a:gs pos="100000">
                      <a:schemeClr val="tx2"/>
                    </a:gs>
                    <a:gs pos="0">
                      <a:schemeClr val="tx2"/>
                    </a:gs>
                  </a:gsLst>
                  <a:lin ang="5400000" scaled="0"/>
                </a:gra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140" y="1447800"/>
            <a:ext cx="10237787" cy="914096"/>
          </a:xfrm>
        </p:spPr>
        <p:txBody>
          <a:bodyPr wrap="square" anchor="b">
            <a:noAutofit/>
          </a:bodyPr>
          <a:lstStyle>
            <a:lvl1pPr marL="0" indent="0">
              <a:buNone/>
              <a:defRPr sz="6583" spc="-150"/>
            </a:lvl1pPr>
          </a:lstStyle>
          <a:p>
            <a:pPr lvl="0"/>
            <a:r>
              <a:rPr lang="en-US" smtClean="0"/>
              <a:t>Click to edit Master text styles</a:t>
            </a:r>
          </a:p>
        </p:txBody>
      </p:sp>
    </p:spTree>
    <p:extLst>
      <p:ext uri="{BB962C8B-B14F-4D97-AF65-F5344CB8AC3E}">
        <p14:creationId xmlns:p14="http://schemas.microsoft.com/office/powerpoint/2010/main" val="242114888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1523468"/>
      </p:ext>
    </p:extLst>
  </p:cSld>
  <p:clrMapOvr>
    <a:masterClrMapping/>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dirty="0" smtClean="0"/>
              <a:t>Slide for Developer Code</a:t>
            </a:r>
            <a:endParaRPr lang="en-US" dirty="0"/>
          </a:p>
        </p:txBody>
      </p:sp>
      <p:sp>
        <p:nvSpPr>
          <p:cNvPr id="3" name="Rectangle 2"/>
          <p:cNvSpPr/>
          <p:nvPr/>
        </p:nvSpPr>
        <p:spPr bwMode="hidden">
          <a:xfrm>
            <a:off x="1" y="1155940"/>
            <a:ext cx="12188825"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07" tIns="45607" rIns="45607" bIns="45607" numCol="1" spcCol="0" rtlCol="0" fromWordArt="0" anchor="ctr" anchorCtr="0" forceAA="0" compatLnSpc="1">
            <a:prstTxWarp prst="textNoShape">
              <a:avLst/>
            </a:prstTxWarp>
            <a:noAutofit/>
          </a:bodyPr>
          <a:lstStyle/>
          <a:p>
            <a:pPr algn="ctr" defTabSz="911815" fontAlgn="base">
              <a:spcBef>
                <a:spcPct val="0"/>
              </a:spcBef>
              <a:spcAft>
                <a:spcPct val="0"/>
              </a:spcAft>
            </a:pPr>
            <a:endParaRPr lang="en-US" sz="1795"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18319" y="1447804"/>
            <a:ext cx="11152188" cy="1988237"/>
          </a:xfrm>
        </p:spPr>
        <p:txBody>
          <a:bodyPr/>
          <a:lstStyle>
            <a:lvl1pPr marL="0" indent="0">
              <a:lnSpc>
                <a:spcPct val="95000"/>
              </a:lnSpc>
              <a:buNone/>
              <a:defRPr sz="3192">
                <a:gradFill>
                  <a:gsLst>
                    <a:gs pos="1250">
                      <a:srgbClr val="000000"/>
                    </a:gs>
                    <a:gs pos="100000">
                      <a:srgbClr val="000000"/>
                    </a:gs>
                  </a:gsLst>
                  <a:lin ang="5400000" scaled="0"/>
                </a:gradFill>
                <a:latin typeface="Consolas" pitchFamily="49" charset="0"/>
                <a:cs typeface="Consolas" pitchFamily="49" charset="0"/>
              </a:defRPr>
            </a:lvl1pPr>
            <a:lvl2pPr marL="338876"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71656"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796517"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2771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24617648"/>
      </p:ext>
    </p:extLst>
  </p:cSld>
  <p:clrMapOvr>
    <a:masterClrMapping/>
  </p:clrMapOvr>
  <p:transition>
    <p:fade/>
  </p:transition>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701" y="228604"/>
            <a:ext cx="11152188" cy="664797"/>
          </a:xfrm>
        </p:spPr>
        <p:txBody>
          <a:bodyPr/>
          <a:lstStyle>
            <a:lvl1pPr>
              <a:defRPr sz="4788"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113" y="1447799"/>
            <a:ext cx="11149013" cy="2043636"/>
          </a:xfrm>
          <a:prstGeom prst="rect">
            <a:avLst/>
          </a:prstGeom>
        </p:spPr>
        <p:txBody>
          <a:bodyPr/>
          <a:lstStyle>
            <a:lvl1pPr marL="342043" indent="-34204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7078" indent="-28503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2115" indent="-28503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0143" indent="-228028">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68172" indent="-228028">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238880"/>
            <a:ext cx="12188826"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591"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1896468836"/>
      </p:ext>
    </p:extLst>
  </p:cSld>
  <p:clrMapOvr>
    <a:masterClrMapping/>
  </p:clrMapOvr>
  <p:transition>
    <p:fade/>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4"/>
            <a:ext cx="11149013" cy="66638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0" indent="0">
              <a:spcBef>
                <a:spcPts val="0"/>
              </a:spcBef>
              <a:spcAft>
                <a:spcPts val="898"/>
              </a:spcAft>
              <a:buNone/>
              <a:defRPr sz="3990" spc="-100" baseline="0">
                <a:latin typeface="Segoe UI Light" pitchFamily="34" charset="0"/>
              </a:defRPr>
            </a:lvl1pPr>
            <a:lvl2pPr marL="0" indent="0">
              <a:spcBef>
                <a:spcPts val="0"/>
              </a:spcBef>
              <a:spcAft>
                <a:spcPts val="399"/>
              </a:spcAft>
              <a:buNone/>
              <a:defRPr sz="1995" spc="-50" baseline="0"/>
            </a:lvl2pPr>
            <a:lvl3pPr marL="0" indent="0">
              <a:spcBef>
                <a:spcPts val="0"/>
              </a:spcBef>
              <a:spcAft>
                <a:spcPts val="399"/>
              </a:spcAft>
              <a:buNone/>
              <a:defRPr sz="1995"/>
            </a:lvl3pPr>
            <a:lvl4pPr marL="0" indent="0">
              <a:spcBef>
                <a:spcPts val="0"/>
              </a:spcBef>
              <a:spcAft>
                <a:spcPts val="399"/>
              </a:spcAft>
              <a:buNone/>
              <a:defRPr/>
            </a:lvl4pPr>
            <a:lvl5pPr marL="0" indent="0">
              <a:spcBef>
                <a:spcPts val="0"/>
              </a:spcBef>
              <a:spcAft>
                <a:spcPts val="399"/>
              </a:spcAft>
              <a:buNone/>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066260850"/>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422276" y="1239664"/>
            <a:ext cx="5570564" cy="346248"/>
          </a:xfrm>
        </p:spPr>
        <p:txBody>
          <a:bodyPr anchor="b"/>
          <a:lstStyle>
            <a:lvl1pPr marL="0" indent="0">
              <a:lnSpc>
                <a:spcPct val="90000"/>
              </a:lnSpc>
              <a:spcBef>
                <a:spcPts val="0"/>
              </a:spcBef>
              <a:buNone/>
              <a:defRPr sz="2494" b="0">
                <a:latin typeface="Segoe UI Semibold" pitchFamily="34" charset="0"/>
              </a:defRPr>
            </a:lvl1pPr>
            <a:lvl2pPr marL="456072" indent="0">
              <a:buNone/>
              <a:defRPr sz="1995" b="1"/>
            </a:lvl2pPr>
            <a:lvl3pPr marL="912145" indent="0">
              <a:buNone/>
              <a:defRPr sz="1829" b="1"/>
            </a:lvl3pPr>
            <a:lvl4pPr marL="1368216" indent="0">
              <a:buNone/>
              <a:defRPr sz="1580" b="1"/>
            </a:lvl4pPr>
            <a:lvl5pPr marL="1824291" indent="0">
              <a:buNone/>
              <a:defRPr sz="1580" b="1"/>
            </a:lvl5pPr>
            <a:lvl6pPr marL="2280363" indent="0">
              <a:buNone/>
              <a:defRPr sz="1580" b="1"/>
            </a:lvl6pPr>
            <a:lvl7pPr marL="2736435" indent="0">
              <a:buNone/>
              <a:defRPr sz="1580" b="1"/>
            </a:lvl7pPr>
            <a:lvl8pPr marL="3192507" indent="0">
              <a:buNone/>
              <a:defRPr sz="1580" b="1"/>
            </a:lvl8pPr>
            <a:lvl9pPr marL="3648579" indent="0">
              <a:buNone/>
              <a:defRPr sz="1580" b="1"/>
            </a:lvl9pPr>
          </a:lstStyle>
          <a:p>
            <a:pPr lvl="0"/>
            <a:r>
              <a:rPr lang="en-US" smtClean="0"/>
              <a:t>Click to edit Master text styles</a:t>
            </a:r>
          </a:p>
        </p:txBody>
      </p:sp>
      <p:sp>
        <p:nvSpPr>
          <p:cNvPr id="4" name="Content Placeholder 3"/>
          <p:cNvSpPr>
            <a:spLocks noGrp="1"/>
          </p:cNvSpPr>
          <p:nvPr>
            <p:ph sz="half" idx="2"/>
          </p:nvPr>
        </p:nvSpPr>
        <p:spPr>
          <a:xfrm>
            <a:off x="411056" y="1905000"/>
            <a:ext cx="5581783" cy="1394228"/>
          </a:xfrm>
        </p:spPr>
        <p:txBody>
          <a:bodyPr/>
          <a:lstStyle>
            <a:lvl1pPr marL="281086" indent="-281086">
              <a:defRPr sz="1995"/>
            </a:lvl1pPr>
            <a:lvl2pPr marL="560853" indent="-265251">
              <a:defRPr sz="1829"/>
            </a:lvl2pPr>
            <a:lvl3pPr marL="811589" indent="-242816">
              <a:defRPr sz="1580"/>
            </a:lvl3pPr>
            <a:lvl4pPr marL="1047806" indent="-228301">
              <a:defRPr sz="1580"/>
            </a:lvl4pPr>
            <a:lvl5pPr marL="1276106" indent="-205867">
              <a:defRPr sz="1580"/>
            </a:lvl5pPr>
            <a:lvl6pPr>
              <a:defRPr sz="1580"/>
            </a:lvl6pPr>
            <a:lvl7pPr>
              <a:defRPr sz="1580"/>
            </a:lvl7pPr>
            <a:lvl8pPr>
              <a:defRPr sz="1580"/>
            </a:lvl8pPr>
            <a:lvl9pPr>
              <a:defRPr sz="158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239664"/>
            <a:ext cx="5638800" cy="346248"/>
          </a:xfrm>
        </p:spPr>
        <p:txBody>
          <a:bodyPr anchor="b"/>
          <a:lstStyle>
            <a:lvl1pPr marL="0" indent="0">
              <a:lnSpc>
                <a:spcPct val="90000"/>
              </a:lnSpc>
              <a:spcBef>
                <a:spcPts val="0"/>
              </a:spcBef>
              <a:buNone/>
              <a:defRPr sz="2494" b="1"/>
            </a:lvl1pPr>
            <a:lvl2pPr marL="456072" indent="0">
              <a:buNone/>
              <a:defRPr sz="1995" b="1"/>
            </a:lvl2pPr>
            <a:lvl3pPr marL="912145" indent="0">
              <a:buNone/>
              <a:defRPr sz="1829" b="1"/>
            </a:lvl3pPr>
            <a:lvl4pPr marL="1368216" indent="0">
              <a:buNone/>
              <a:defRPr sz="1580" b="1"/>
            </a:lvl4pPr>
            <a:lvl5pPr marL="1824291" indent="0">
              <a:buNone/>
              <a:defRPr sz="1580" b="1"/>
            </a:lvl5pPr>
            <a:lvl6pPr marL="2280363" indent="0">
              <a:buNone/>
              <a:defRPr sz="1580" b="1"/>
            </a:lvl6pPr>
            <a:lvl7pPr marL="2736435" indent="0">
              <a:buNone/>
              <a:defRPr sz="1580" b="1"/>
            </a:lvl7pPr>
            <a:lvl8pPr marL="3192507" indent="0">
              <a:buNone/>
              <a:defRPr sz="1580" b="1"/>
            </a:lvl8pPr>
            <a:lvl9pPr marL="3648579" indent="0">
              <a:buNone/>
              <a:defRPr sz="1580" b="1"/>
            </a:lvl9pPr>
          </a:lstStyle>
          <a:p>
            <a:pPr lvl="0"/>
            <a:r>
              <a:rPr lang="en-US" smtClean="0"/>
              <a:t>Click to edit Master text styles</a:t>
            </a:r>
          </a:p>
        </p:txBody>
      </p:sp>
      <p:sp>
        <p:nvSpPr>
          <p:cNvPr id="6" name="Content Placeholder 5"/>
          <p:cNvSpPr>
            <a:spLocks noGrp="1"/>
          </p:cNvSpPr>
          <p:nvPr>
            <p:ph sz="quarter" idx="4"/>
          </p:nvPr>
        </p:nvSpPr>
        <p:spPr>
          <a:xfrm>
            <a:off x="6181727" y="1905001"/>
            <a:ext cx="5608493" cy="1394228"/>
          </a:xfrm>
        </p:spPr>
        <p:txBody>
          <a:bodyPr/>
          <a:lstStyle>
            <a:lvl1pPr marL="295602" indent="-295602">
              <a:defRPr sz="1995"/>
            </a:lvl1pPr>
            <a:lvl2pPr marL="568771" indent="-273169">
              <a:defRPr sz="1829"/>
            </a:lvl2pPr>
            <a:lvl3pPr marL="819505" indent="-244136">
              <a:defRPr sz="1580"/>
            </a:lvl3pPr>
            <a:lvl4pPr marL="1047806" indent="-236219">
              <a:defRPr sz="1580"/>
            </a:lvl4pPr>
            <a:lvl5pPr marL="1276106" indent="-220383">
              <a:defRPr sz="1580"/>
            </a:lvl5pPr>
            <a:lvl6pPr>
              <a:defRPr sz="1580"/>
            </a:lvl6pPr>
            <a:lvl7pPr>
              <a:defRPr sz="1580"/>
            </a:lvl7pPr>
            <a:lvl8pPr>
              <a:defRPr sz="1580"/>
            </a:lvl8pPr>
            <a:lvl9pPr>
              <a:defRPr sz="158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2" cstate="email">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10590215" y="6344945"/>
            <a:ext cx="1371600" cy="436856"/>
          </a:xfrm>
          <a:prstGeom prst="rect">
            <a:avLst/>
          </a:prstGeom>
        </p:spPr>
      </p:pic>
    </p:spTree>
    <p:extLst>
      <p:ext uri="{BB962C8B-B14F-4D97-AF65-F5344CB8AC3E}">
        <p14:creationId xmlns:p14="http://schemas.microsoft.com/office/powerpoint/2010/main" val="646377339"/>
      </p:ext>
    </p:extLst>
  </p:cSld>
  <p:clrMapOvr>
    <a:masterClrMapping/>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611188" y="1449390"/>
            <a:ext cx="5397500" cy="1742015"/>
          </a:xfrm>
          <a:prstGeom prst="rect">
            <a:avLst/>
          </a:prstGeom>
        </p:spPr>
        <p:txBody>
          <a:bodyPr/>
          <a:lstStyle>
            <a:lvl1pPr marL="228097" indent="-228097">
              <a:lnSpc>
                <a:spcPct val="90000"/>
              </a:lnSpc>
              <a:defRPr sz="2794">
                <a:latin typeface="Segoe UI" pitchFamily="34" charset="0"/>
              </a:defRPr>
            </a:lvl1pPr>
            <a:lvl2pPr marL="456194" indent="-228097">
              <a:lnSpc>
                <a:spcPct val="90000"/>
              </a:lnSpc>
              <a:defRPr sz="2395"/>
            </a:lvl2pPr>
            <a:lvl3pPr marL="684291" indent="-228097">
              <a:lnSpc>
                <a:spcPct val="90000"/>
              </a:lnSpc>
              <a:defRPr sz="1996"/>
            </a:lvl3pPr>
            <a:lvl4pPr marL="912388" indent="-228097">
              <a:lnSpc>
                <a:spcPct val="90000"/>
              </a:lnSpc>
              <a:defRPr sz="1796"/>
            </a:lvl4pPr>
            <a:lvl5pPr marL="1089797" indent="-177409">
              <a:lnSpc>
                <a:spcPct val="90000"/>
              </a:lnSpc>
              <a:defRPr sz="1796"/>
            </a:lvl5pPr>
            <a:lvl6pPr>
              <a:defRPr sz="1796"/>
            </a:lvl6pPr>
            <a:lvl7pPr>
              <a:defRPr sz="1796"/>
            </a:lvl7pPr>
            <a:lvl8pPr>
              <a:defRPr sz="1796"/>
            </a:lvl8pPr>
            <a:lvl9pPr>
              <a:defRPr sz="1796"/>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6173414" y="1449390"/>
            <a:ext cx="5399087" cy="1742015"/>
          </a:xfrm>
          <a:prstGeom prst="rect">
            <a:avLst/>
          </a:prstGeom>
        </p:spPr>
        <p:txBody>
          <a:bodyPr/>
          <a:lstStyle>
            <a:lvl1pPr marL="228097" indent="-228097">
              <a:lnSpc>
                <a:spcPct val="90000"/>
              </a:lnSpc>
              <a:defRPr sz="2794">
                <a:latin typeface="Segoe UI" pitchFamily="34" charset="0"/>
              </a:defRPr>
            </a:lvl1pPr>
            <a:lvl2pPr marL="456194" indent="-228097">
              <a:lnSpc>
                <a:spcPct val="90000"/>
              </a:lnSpc>
              <a:defRPr sz="2395"/>
            </a:lvl2pPr>
            <a:lvl3pPr marL="684291" indent="-228097">
              <a:lnSpc>
                <a:spcPct val="90000"/>
              </a:lnSpc>
              <a:defRPr sz="1996"/>
            </a:lvl3pPr>
            <a:lvl4pPr marL="912388" indent="-228097">
              <a:lnSpc>
                <a:spcPct val="90000"/>
              </a:lnSpc>
              <a:defRPr sz="1796"/>
            </a:lvl4pPr>
            <a:lvl5pPr marL="1089797" indent="-177409">
              <a:lnSpc>
                <a:spcPct val="90000"/>
              </a:lnSpc>
              <a:defRPr sz="1796"/>
            </a:lvl5pPr>
            <a:lvl6pPr>
              <a:defRPr sz="1796"/>
            </a:lvl6pPr>
            <a:lvl7pPr>
              <a:defRPr sz="1796"/>
            </a:lvl7pPr>
            <a:lvl8pPr>
              <a:defRPr sz="1796"/>
            </a:lvl8pPr>
            <a:lvl9pPr>
              <a:defRPr sz="1796"/>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104376793"/>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2278" y="436565"/>
            <a:ext cx="11398250" cy="450123"/>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422278" y="1198565"/>
            <a:ext cx="11398250" cy="133780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4" name="Picture 3"/>
          <p:cNvPicPr>
            <a:picLocks noChangeAspect="1"/>
          </p:cNvPicPr>
          <p:nvPr userDrawn="1"/>
        </p:nvPicPr>
        <p:blipFill>
          <a:blip r:embed="rId2" cstate="screen">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10590213" y="6344945"/>
            <a:ext cx="1371600" cy="436856"/>
          </a:xfrm>
          <a:prstGeom prst="rect">
            <a:avLst/>
          </a:prstGeom>
        </p:spPr>
      </p:pic>
    </p:spTree>
    <p:extLst>
      <p:ext uri="{BB962C8B-B14F-4D97-AF65-F5344CB8AC3E}">
        <p14:creationId xmlns:p14="http://schemas.microsoft.com/office/powerpoint/2010/main" val="226866307"/>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type="blank">
  <p:cSld name="2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35691332"/>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cSld name="1_Content w/Photo on Right">
    <p:spTree>
      <p:nvGrpSpPr>
        <p:cNvPr id="1" name=""/>
        <p:cNvGrpSpPr/>
        <p:nvPr/>
      </p:nvGrpSpPr>
      <p:grpSpPr>
        <a:xfrm>
          <a:off x="0" y="0"/>
          <a:ext cx="0" cy="0"/>
          <a:chOff x="0" y="0"/>
          <a:chExt cx="0" cy="0"/>
        </a:xfrm>
      </p:grpSpPr>
      <p:sp>
        <p:nvSpPr>
          <p:cNvPr id="4" name="Picture Placeholder 3"/>
          <p:cNvSpPr>
            <a:spLocks noGrp="1"/>
          </p:cNvSpPr>
          <p:nvPr>
            <p:ph type="pic" sz="quarter" idx="14" hasCustomPrompt="1"/>
          </p:nvPr>
        </p:nvSpPr>
        <p:spPr>
          <a:xfrm>
            <a:off x="6208715" y="3319887"/>
            <a:ext cx="5980112" cy="332527"/>
          </a:xfrm>
        </p:spPr>
        <p:txBody>
          <a:bodyPr lIns="182611" anchor="ctr"/>
          <a:lstStyle>
            <a:lvl1pPr marL="0" indent="0" algn="l">
              <a:buNone/>
              <a:defRPr/>
            </a:lvl1pPr>
          </a:lstStyle>
          <a:p>
            <a:r>
              <a:rPr lang="en-US" dirty="0" smtClean="0"/>
              <a:t>Click to insert photo.</a:t>
            </a:r>
            <a:endParaRPr lang="en-US" dirty="0"/>
          </a:p>
        </p:txBody>
      </p:sp>
      <p:sp>
        <p:nvSpPr>
          <p:cNvPr id="3" name="Text Placeholder 2"/>
          <p:cNvSpPr>
            <a:spLocks noGrp="1"/>
          </p:cNvSpPr>
          <p:nvPr>
            <p:ph type="body" idx="1" hasCustomPrompt="1"/>
          </p:nvPr>
        </p:nvSpPr>
        <p:spPr>
          <a:xfrm>
            <a:off x="520700" y="1447802"/>
            <a:ext cx="5433533" cy="1178443"/>
          </a:xfrm>
          <a:prstGeom prst="rect">
            <a:avLst/>
          </a:prstGeom>
        </p:spPr>
        <p:txBody>
          <a:bodyPr>
            <a:noAutofit/>
          </a:bodyPr>
          <a:lstStyle>
            <a:lvl1pPr marL="0" indent="0">
              <a:spcBef>
                <a:spcPts val="900"/>
              </a:spcBef>
              <a:buNone/>
              <a:defRPr sz="3000" b="0" cap="none" baseline="0">
                <a:solidFill>
                  <a:schemeClr val="tx2"/>
                </a:solidFill>
                <a:latin typeface="+mj-lt"/>
              </a:defRPr>
            </a:lvl1pPr>
            <a:lvl2pPr marL="456449" indent="0">
              <a:buNone/>
              <a:defRPr sz="2025" b="1"/>
            </a:lvl2pPr>
            <a:lvl3pPr marL="912899" indent="0">
              <a:buNone/>
              <a:defRPr sz="1800" b="1"/>
            </a:lvl3pPr>
            <a:lvl4pPr marL="1369349" indent="0">
              <a:buNone/>
              <a:defRPr sz="1575" b="1"/>
            </a:lvl4pPr>
            <a:lvl5pPr marL="1825798" indent="0">
              <a:buNone/>
              <a:defRPr sz="1575" b="1"/>
            </a:lvl5pPr>
            <a:lvl6pPr marL="2282248" indent="0">
              <a:buNone/>
              <a:defRPr sz="1575" b="1"/>
            </a:lvl6pPr>
            <a:lvl7pPr marL="2738697" indent="0">
              <a:buNone/>
              <a:defRPr sz="1575" b="1"/>
            </a:lvl7pPr>
            <a:lvl8pPr marL="3195146" indent="0">
              <a:buNone/>
              <a:defRPr sz="1575" b="1"/>
            </a:lvl8pPr>
            <a:lvl9pPr marL="3651596" indent="0">
              <a:buNone/>
              <a:defRPr sz="1575" b="1"/>
            </a:lvl9pPr>
          </a:lstStyle>
          <a:p>
            <a:pPr lvl="0"/>
            <a:r>
              <a:rPr lang="en-US" dirty="0" smtClean="0"/>
              <a:t>Click to edit Master text styles.</a:t>
            </a:r>
          </a:p>
        </p:txBody>
      </p:sp>
      <p:sp>
        <p:nvSpPr>
          <p:cNvPr id="10" name="Slide Number Placeholder 9"/>
          <p:cNvSpPr>
            <a:spLocks noGrp="1"/>
          </p:cNvSpPr>
          <p:nvPr>
            <p:ph type="sldNum" sz="quarter" idx="12"/>
          </p:nvPr>
        </p:nvSpPr>
        <p:spPr>
          <a:xfrm>
            <a:off x="520700" y="6399557"/>
            <a:ext cx="560686" cy="219456"/>
          </a:xfrm>
          <a:prstGeom prst="rect">
            <a:avLst/>
          </a:prstGeom>
        </p:spPr>
        <p:txBody>
          <a:bodyPr lIns="121720" tIns="60860" rIns="121720" bIns="60860" anchor="ctr"/>
          <a:lstStyle>
            <a:lvl1pPr algn="l">
              <a:defRPr sz="1200">
                <a:gradFill>
                  <a:gsLst>
                    <a:gs pos="100000">
                      <a:schemeClr val="bg2"/>
                    </a:gs>
                    <a:gs pos="0">
                      <a:schemeClr val="bg2"/>
                    </a:gs>
                  </a:gsLst>
                  <a:lin ang="5400000" scaled="0"/>
                </a:gradFill>
              </a:defRPr>
            </a:lvl1pPr>
          </a:lstStyle>
          <a:p>
            <a:pPr defTabSz="914400"/>
            <a:fld id="{727B4C2D-45E2-4621-8491-2995EB46A674}" type="slidenum">
              <a:rPr lang="en-US" smtClean="0">
                <a:gradFill>
                  <a:gsLst>
                    <a:gs pos="100000">
                      <a:srgbClr val="EAEEFB"/>
                    </a:gs>
                    <a:gs pos="0">
                      <a:srgbClr val="EAEEFB"/>
                    </a:gs>
                  </a:gsLst>
                  <a:lin ang="5400000" scaled="0"/>
                </a:gradFill>
              </a:rPr>
              <a:pPr defTabSz="914400"/>
              <a:t>‹#›</a:t>
            </a:fld>
            <a:endParaRPr lang="en-US" dirty="0">
              <a:gradFill>
                <a:gsLst>
                  <a:gs pos="100000">
                    <a:srgbClr val="EAEEFB"/>
                  </a:gs>
                  <a:gs pos="0">
                    <a:srgbClr val="EAEEFB"/>
                  </a:gs>
                </a:gsLst>
                <a:lin ang="5400000" scaled="0"/>
              </a:gradFill>
            </a:endParaRPr>
          </a:p>
        </p:txBody>
      </p:sp>
      <p:sp>
        <p:nvSpPr>
          <p:cNvPr id="9" name="Content Placeholder 5"/>
          <p:cNvSpPr>
            <a:spLocks noGrp="1"/>
          </p:cNvSpPr>
          <p:nvPr>
            <p:ph sz="quarter" idx="13"/>
          </p:nvPr>
        </p:nvSpPr>
        <p:spPr>
          <a:xfrm>
            <a:off x="520702" y="2734989"/>
            <a:ext cx="5444165" cy="609399"/>
          </a:xfrm>
          <a:prstGeom prst="rect">
            <a:avLst/>
          </a:prstGeom>
        </p:spPr>
        <p:txBody>
          <a:bodyPr>
            <a:noAutofit/>
          </a:bodyPr>
          <a:lstStyle>
            <a:lvl1pPr marL="0" indent="0">
              <a:spcBef>
                <a:spcPts val="900"/>
              </a:spcBef>
              <a:buFont typeface="Arial" pitchFamily="34" charset="0"/>
              <a:buNone/>
              <a:defRPr lang="en-US" sz="1500" kern="1200" spc="0" dirty="0" smtClean="0">
                <a:gradFill>
                  <a:gsLst>
                    <a:gs pos="100000">
                      <a:schemeClr val="bg2"/>
                    </a:gs>
                    <a:gs pos="0">
                      <a:schemeClr val="bg2"/>
                    </a:gs>
                  </a:gsLst>
                  <a:lin ang="5400000" scaled="0"/>
                </a:gradFill>
                <a:latin typeface="+mn-lt"/>
                <a:ea typeface="+mn-ea"/>
                <a:cs typeface="Segoe UI" pitchFamily="34" charset="0"/>
              </a:defRPr>
            </a:lvl1pPr>
            <a:lvl2pPr marL="684674" indent="-285281">
              <a:defRPr lang="en-US" sz="1575" kern="1200" dirty="0" smtClean="0">
                <a:solidFill>
                  <a:schemeClr val="bg2">
                    <a:lumMod val="50000"/>
                  </a:schemeClr>
                </a:solidFill>
                <a:latin typeface="+mn-lt"/>
                <a:ea typeface="+mn-ea"/>
                <a:cs typeface="Arial" pitchFamily="34" charset="0"/>
              </a:defRPr>
            </a:lvl2pPr>
            <a:lvl3pPr marL="684674" indent="-171169">
              <a:defRPr lang="en-US" sz="1425" kern="1200" dirty="0" smtClean="0">
                <a:solidFill>
                  <a:schemeClr val="bg2">
                    <a:lumMod val="50000"/>
                  </a:schemeClr>
                </a:solidFill>
                <a:latin typeface="+mn-lt"/>
                <a:ea typeface="+mn-ea"/>
                <a:cs typeface="Arial" pitchFamily="34" charset="0"/>
              </a:defRPr>
            </a:lvl3pPr>
            <a:lvl4pPr marL="912899" indent="-171169">
              <a:defRPr lang="en-US" sz="1200" kern="1200" dirty="0" smtClean="0">
                <a:solidFill>
                  <a:schemeClr val="bg2">
                    <a:lumMod val="50000"/>
                  </a:schemeClr>
                </a:solidFill>
                <a:latin typeface="+mn-lt"/>
                <a:ea typeface="+mn-ea"/>
                <a:cs typeface="Arial" pitchFamily="34" charset="0"/>
              </a:defRPr>
            </a:lvl4pPr>
            <a:lvl5pPr marL="1084068" indent="-171169">
              <a:defRPr lang="en-US" sz="1200" kern="1200" dirty="0">
                <a:solidFill>
                  <a:schemeClr val="bg2">
                    <a:lumMod val="50000"/>
                  </a:schemeClr>
                </a:solidFill>
                <a:latin typeface="+mn-lt"/>
                <a:ea typeface="+mn-ea"/>
                <a:cs typeface="Arial" pitchFamily="34" charset="0"/>
              </a:defRPr>
            </a:lvl5pPr>
            <a:lvl6pPr>
              <a:defRPr sz="1575"/>
            </a:lvl6pPr>
            <a:lvl7pPr>
              <a:defRPr sz="1575"/>
            </a:lvl7pPr>
            <a:lvl8pPr>
              <a:defRPr sz="1575"/>
            </a:lvl8pPr>
            <a:lvl9pPr>
              <a:defRPr sz="1575"/>
            </a:lvl9pPr>
          </a:lstStyle>
          <a:p>
            <a:pPr lvl="0"/>
            <a:r>
              <a:rPr lang="en-US" smtClean="0"/>
              <a:t>Click to edit Master text styles</a:t>
            </a:r>
          </a:p>
        </p:txBody>
      </p:sp>
      <p:sp>
        <p:nvSpPr>
          <p:cNvPr id="11" name="TextBox 10"/>
          <p:cNvSpPr txBox="1"/>
          <p:nvPr/>
        </p:nvSpPr>
        <p:spPr>
          <a:xfrm>
            <a:off x="10615310" y="6186238"/>
            <a:ext cx="1521272" cy="450123"/>
          </a:xfrm>
          <a:prstGeom prst="rect">
            <a:avLst/>
          </a:prstGeom>
          <a:noFill/>
        </p:spPr>
        <p:txBody>
          <a:bodyPr wrap="square" lIns="0" tIns="0" rIns="0" bIns="0" rtlCol="0" anchor="ctr">
            <a:spAutoFit/>
          </a:bodyPr>
          <a:lstStyle/>
          <a:p>
            <a:pPr algn="ctr" defTabSz="914400"/>
            <a:r>
              <a:rPr lang="en-US" sz="2925" spc="-53" dirty="0" smtClean="0">
                <a:solidFill>
                  <a:srgbClr val="3955A1"/>
                </a:solidFill>
                <a:latin typeface="Segoe Pro" pitchFamily="34" charset="0"/>
              </a:rPr>
              <a:t>Visio</a:t>
            </a:r>
          </a:p>
        </p:txBody>
      </p:sp>
    </p:spTree>
    <p:extLst>
      <p:ext uri="{BB962C8B-B14F-4D97-AF65-F5344CB8AC3E}">
        <p14:creationId xmlns:p14="http://schemas.microsoft.com/office/powerpoint/2010/main" val="2082586950"/>
      </p:ext>
    </p:extLst>
  </p:cSld>
  <p:clrMapOvr>
    <a:masterClrMapping/>
  </p:clrMapOvr>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cSld name="2_Content w/Photo on Right">
    <p:spTree>
      <p:nvGrpSpPr>
        <p:cNvPr id="1" name=""/>
        <p:cNvGrpSpPr/>
        <p:nvPr/>
      </p:nvGrpSpPr>
      <p:grpSpPr>
        <a:xfrm>
          <a:off x="0" y="0"/>
          <a:ext cx="0" cy="0"/>
          <a:chOff x="0" y="0"/>
          <a:chExt cx="0" cy="0"/>
        </a:xfrm>
      </p:grpSpPr>
      <p:sp>
        <p:nvSpPr>
          <p:cNvPr id="4" name="Picture Placeholder 3"/>
          <p:cNvSpPr>
            <a:spLocks noGrp="1"/>
          </p:cNvSpPr>
          <p:nvPr>
            <p:ph type="pic" sz="quarter" idx="14" hasCustomPrompt="1"/>
          </p:nvPr>
        </p:nvSpPr>
        <p:spPr>
          <a:xfrm>
            <a:off x="6208715" y="3319887"/>
            <a:ext cx="5980112" cy="332527"/>
          </a:xfrm>
        </p:spPr>
        <p:txBody>
          <a:bodyPr lIns="182611" anchor="ctr"/>
          <a:lstStyle>
            <a:lvl1pPr marL="0" indent="0" algn="l">
              <a:buNone/>
              <a:defRPr/>
            </a:lvl1pPr>
          </a:lstStyle>
          <a:p>
            <a:r>
              <a:rPr lang="en-US" dirty="0" smtClean="0"/>
              <a:t>Click to insert photo.</a:t>
            </a:r>
            <a:endParaRPr lang="en-US" dirty="0"/>
          </a:p>
        </p:txBody>
      </p:sp>
      <p:sp>
        <p:nvSpPr>
          <p:cNvPr id="3" name="Text Placeholder 2"/>
          <p:cNvSpPr>
            <a:spLocks noGrp="1"/>
          </p:cNvSpPr>
          <p:nvPr>
            <p:ph type="body" idx="1" hasCustomPrompt="1"/>
          </p:nvPr>
        </p:nvSpPr>
        <p:spPr>
          <a:xfrm>
            <a:off x="520700" y="1447802"/>
            <a:ext cx="5433533" cy="1178443"/>
          </a:xfrm>
          <a:prstGeom prst="rect">
            <a:avLst/>
          </a:prstGeom>
        </p:spPr>
        <p:txBody>
          <a:bodyPr>
            <a:noAutofit/>
          </a:bodyPr>
          <a:lstStyle>
            <a:lvl1pPr marL="0" indent="0">
              <a:spcBef>
                <a:spcPts val="900"/>
              </a:spcBef>
              <a:buNone/>
              <a:defRPr sz="3000" b="0" cap="none" baseline="0">
                <a:solidFill>
                  <a:schemeClr val="tx2"/>
                </a:solidFill>
                <a:latin typeface="+mj-lt"/>
              </a:defRPr>
            </a:lvl1pPr>
            <a:lvl2pPr marL="456449" indent="0">
              <a:buNone/>
              <a:defRPr sz="2025" b="1"/>
            </a:lvl2pPr>
            <a:lvl3pPr marL="912899" indent="0">
              <a:buNone/>
              <a:defRPr sz="1800" b="1"/>
            </a:lvl3pPr>
            <a:lvl4pPr marL="1369349" indent="0">
              <a:buNone/>
              <a:defRPr sz="1575" b="1"/>
            </a:lvl4pPr>
            <a:lvl5pPr marL="1825798" indent="0">
              <a:buNone/>
              <a:defRPr sz="1575" b="1"/>
            </a:lvl5pPr>
            <a:lvl6pPr marL="2282248" indent="0">
              <a:buNone/>
              <a:defRPr sz="1575" b="1"/>
            </a:lvl6pPr>
            <a:lvl7pPr marL="2738697" indent="0">
              <a:buNone/>
              <a:defRPr sz="1575" b="1"/>
            </a:lvl7pPr>
            <a:lvl8pPr marL="3195146" indent="0">
              <a:buNone/>
              <a:defRPr sz="1575" b="1"/>
            </a:lvl8pPr>
            <a:lvl9pPr marL="3651596" indent="0">
              <a:buNone/>
              <a:defRPr sz="1575" b="1"/>
            </a:lvl9pPr>
          </a:lstStyle>
          <a:p>
            <a:pPr lvl="0"/>
            <a:r>
              <a:rPr lang="en-US" dirty="0" smtClean="0"/>
              <a:t>Click to edit Master text styles.</a:t>
            </a:r>
          </a:p>
        </p:txBody>
      </p:sp>
      <p:sp>
        <p:nvSpPr>
          <p:cNvPr id="10" name="Slide Number Placeholder 9"/>
          <p:cNvSpPr>
            <a:spLocks noGrp="1"/>
          </p:cNvSpPr>
          <p:nvPr>
            <p:ph type="sldNum" sz="quarter" idx="12"/>
          </p:nvPr>
        </p:nvSpPr>
        <p:spPr>
          <a:xfrm>
            <a:off x="520700" y="6399557"/>
            <a:ext cx="560686" cy="219456"/>
          </a:xfrm>
          <a:prstGeom prst="rect">
            <a:avLst/>
          </a:prstGeom>
        </p:spPr>
        <p:txBody>
          <a:bodyPr lIns="121720" tIns="60860" rIns="121720" bIns="60860" anchor="ctr"/>
          <a:lstStyle>
            <a:lvl1pPr algn="l">
              <a:defRPr sz="1200">
                <a:gradFill>
                  <a:gsLst>
                    <a:gs pos="100000">
                      <a:schemeClr val="bg2"/>
                    </a:gs>
                    <a:gs pos="0">
                      <a:schemeClr val="bg2"/>
                    </a:gs>
                  </a:gsLst>
                  <a:lin ang="5400000" scaled="0"/>
                </a:gradFill>
              </a:defRPr>
            </a:lvl1pPr>
          </a:lstStyle>
          <a:p>
            <a:pPr defTabSz="914400"/>
            <a:fld id="{727B4C2D-45E2-4621-8491-2995EB46A674}" type="slidenum">
              <a:rPr lang="en-US" smtClean="0">
                <a:gradFill>
                  <a:gsLst>
                    <a:gs pos="100000">
                      <a:srgbClr val="EAEEFB"/>
                    </a:gs>
                    <a:gs pos="0">
                      <a:srgbClr val="EAEEFB"/>
                    </a:gs>
                  </a:gsLst>
                  <a:lin ang="5400000" scaled="0"/>
                </a:gradFill>
              </a:rPr>
              <a:pPr defTabSz="914400"/>
              <a:t>‹#›</a:t>
            </a:fld>
            <a:endParaRPr lang="en-US" dirty="0">
              <a:gradFill>
                <a:gsLst>
                  <a:gs pos="100000">
                    <a:srgbClr val="EAEEFB"/>
                  </a:gs>
                  <a:gs pos="0">
                    <a:srgbClr val="EAEEFB"/>
                  </a:gs>
                </a:gsLst>
                <a:lin ang="5400000" scaled="0"/>
              </a:gradFill>
            </a:endParaRPr>
          </a:p>
        </p:txBody>
      </p:sp>
      <p:sp>
        <p:nvSpPr>
          <p:cNvPr id="9" name="Content Placeholder 5"/>
          <p:cNvSpPr>
            <a:spLocks noGrp="1"/>
          </p:cNvSpPr>
          <p:nvPr>
            <p:ph sz="quarter" idx="13"/>
          </p:nvPr>
        </p:nvSpPr>
        <p:spPr>
          <a:xfrm>
            <a:off x="520702" y="2734989"/>
            <a:ext cx="5444165" cy="609399"/>
          </a:xfrm>
          <a:prstGeom prst="rect">
            <a:avLst/>
          </a:prstGeom>
        </p:spPr>
        <p:txBody>
          <a:bodyPr>
            <a:noAutofit/>
          </a:bodyPr>
          <a:lstStyle>
            <a:lvl1pPr marL="0" indent="0">
              <a:spcBef>
                <a:spcPts val="900"/>
              </a:spcBef>
              <a:buFont typeface="Arial" pitchFamily="34" charset="0"/>
              <a:buNone/>
              <a:defRPr lang="en-US" sz="1500" kern="1200" spc="0" dirty="0" smtClean="0">
                <a:gradFill>
                  <a:gsLst>
                    <a:gs pos="100000">
                      <a:schemeClr val="bg2"/>
                    </a:gs>
                    <a:gs pos="0">
                      <a:schemeClr val="bg2"/>
                    </a:gs>
                  </a:gsLst>
                  <a:lin ang="5400000" scaled="0"/>
                </a:gradFill>
                <a:latin typeface="+mn-lt"/>
                <a:ea typeface="+mn-ea"/>
                <a:cs typeface="Segoe UI" pitchFamily="34" charset="0"/>
              </a:defRPr>
            </a:lvl1pPr>
            <a:lvl2pPr marL="684674" indent="-285281">
              <a:defRPr lang="en-US" sz="1575" kern="1200" dirty="0" smtClean="0">
                <a:solidFill>
                  <a:schemeClr val="bg2">
                    <a:lumMod val="50000"/>
                  </a:schemeClr>
                </a:solidFill>
                <a:latin typeface="+mn-lt"/>
                <a:ea typeface="+mn-ea"/>
                <a:cs typeface="Arial" pitchFamily="34" charset="0"/>
              </a:defRPr>
            </a:lvl2pPr>
            <a:lvl3pPr marL="684674" indent="-171169">
              <a:defRPr lang="en-US" sz="1425" kern="1200" dirty="0" smtClean="0">
                <a:solidFill>
                  <a:schemeClr val="bg2">
                    <a:lumMod val="50000"/>
                  </a:schemeClr>
                </a:solidFill>
                <a:latin typeface="+mn-lt"/>
                <a:ea typeface="+mn-ea"/>
                <a:cs typeface="Arial" pitchFamily="34" charset="0"/>
              </a:defRPr>
            </a:lvl3pPr>
            <a:lvl4pPr marL="912899" indent="-171169">
              <a:defRPr lang="en-US" sz="1200" kern="1200" dirty="0" smtClean="0">
                <a:solidFill>
                  <a:schemeClr val="bg2">
                    <a:lumMod val="50000"/>
                  </a:schemeClr>
                </a:solidFill>
                <a:latin typeface="+mn-lt"/>
                <a:ea typeface="+mn-ea"/>
                <a:cs typeface="Arial" pitchFamily="34" charset="0"/>
              </a:defRPr>
            </a:lvl4pPr>
            <a:lvl5pPr marL="1084068" indent="-171169">
              <a:defRPr lang="en-US" sz="1200" kern="1200" dirty="0">
                <a:solidFill>
                  <a:schemeClr val="bg2">
                    <a:lumMod val="50000"/>
                  </a:schemeClr>
                </a:solidFill>
                <a:latin typeface="+mn-lt"/>
                <a:ea typeface="+mn-ea"/>
                <a:cs typeface="Arial" pitchFamily="34" charset="0"/>
              </a:defRPr>
            </a:lvl5pPr>
            <a:lvl6pPr>
              <a:defRPr sz="1575"/>
            </a:lvl6pPr>
            <a:lvl7pPr>
              <a:defRPr sz="1575"/>
            </a:lvl7pPr>
            <a:lvl8pPr>
              <a:defRPr sz="1575"/>
            </a:lvl8pPr>
            <a:lvl9pPr>
              <a:defRPr sz="1575"/>
            </a:lvl9pPr>
          </a:lstStyle>
          <a:p>
            <a:pPr lvl="0"/>
            <a:r>
              <a:rPr lang="en-US" smtClean="0"/>
              <a:t>Click to edit Master text styles</a:t>
            </a:r>
          </a:p>
        </p:txBody>
      </p:sp>
      <p:sp>
        <p:nvSpPr>
          <p:cNvPr id="11" name="TextBox 10"/>
          <p:cNvSpPr txBox="1"/>
          <p:nvPr/>
        </p:nvSpPr>
        <p:spPr>
          <a:xfrm>
            <a:off x="10615310" y="6186238"/>
            <a:ext cx="1521272" cy="450123"/>
          </a:xfrm>
          <a:prstGeom prst="rect">
            <a:avLst/>
          </a:prstGeom>
          <a:noFill/>
        </p:spPr>
        <p:txBody>
          <a:bodyPr wrap="square" lIns="0" tIns="0" rIns="0" bIns="0" rtlCol="0" anchor="ctr">
            <a:spAutoFit/>
          </a:bodyPr>
          <a:lstStyle/>
          <a:p>
            <a:pPr algn="ctr" defTabSz="914400"/>
            <a:r>
              <a:rPr lang="en-US" sz="2925" spc="-53" dirty="0" smtClean="0">
                <a:solidFill>
                  <a:srgbClr val="3955A1"/>
                </a:solidFill>
                <a:latin typeface="Segoe Pro" pitchFamily="34" charset="0"/>
              </a:rPr>
              <a:t>Visio</a:t>
            </a:r>
          </a:p>
        </p:txBody>
      </p:sp>
    </p:spTree>
    <p:extLst>
      <p:ext uri="{BB962C8B-B14F-4D97-AF65-F5344CB8AC3E}">
        <p14:creationId xmlns:p14="http://schemas.microsoft.com/office/powerpoint/2010/main" val="2675421611"/>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3" y="1447799"/>
            <a:ext cx="11149013" cy="1975926"/>
          </a:xfrm>
          <a:prstGeom prst="rect">
            <a:avLst/>
          </a:prstGeom>
        </p:spPr>
        <p:txBody>
          <a:bodyPr/>
          <a:lstStyle>
            <a:lvl1pPr marL="0" indent="0">
              <a:spcBef>
                <a:spcPts val="2394"/>
              </a:spcBef>
              <a:buNone/>
              <a:defRPr sz="3990">
                <a:gradFill>
                  <a:gsLst>
                    <a:gs pos="100000">
                      <a:schemeClr val="tx2"/>
                    </a:gs>
                    <a:gs pos="0">
                      <a:schemeClr val="tx2"/>
                    </a:gs>
                  </a:gsLst>
                  <a:lin ang="5400000" scaled="0"/>
                </a:gradFill>
                <a:latin typeface="+mj-lt"/>
              </a:defRPr>
            </a:lvl1pPr>
            <a:lvl2pPr marL="0" indent="0">
              <a:buNone/>
              <a:defRPr sz="1995">
                <a:gradFill>
                  <a:gsLst>
                    <a:gs pos="100000">
                      <a:schemeClr val="bg2"/>
                    </a:gs>
                    <a:gs pos="6000">
                      <a:schemeClr val="bg2"/>
                    </a:gs>
                  </a:gsLst>
                  <a:lin ang="5400000" scaled="0"/>
                </a:gradFill>
              </a:defRPr>
            </a:lvl2pPr>
            <a:lvl3pPr marL="231195" indent="0">
              <a:buNone/>
              <a:defRPr sz="1995">
                <a:gradFill>
                  <a:gsLst>
                    <a:gs pos="100000">
                      <a:schemeClr val="bg2"/>
                    </a:gs>
                    <a:gs pos="6000">
                      <a:schemeClr val="bg2"/>
                    </a:gs>
                  </a:gsLst>
                  <a:lin ang="5400000" scaled="0"/>
                </a:gradFill>
              </a:defRPr>
            </a:lvl3pPr>
            <a:lvl4pPr marL="456057" indent="0">
              <a:buNone/>
              <a:defRPr sz="1995">
                <a:gradFill>
                  <a:gsLst>
                    <a:gs pos="100000">
                      <a:schemeClr val="bg2"/>
                    </a:gs>
                    <a:gs pos="6000">
                      <a:schemeClr val="bg2"/>
                    </a:gs>
                  </a:gsLst>
                  <a:lin ang="5400000" scaled="0"/>
                </a:gradFill>
              </a:defRPr>
            </a:lvl4pPr>
            <a:lvl5pPr marL="692004" indent="0">
              <a:buNone/>
              <a:defRPr sz="1995">
                <a:gradFill>
                  <a:gsLst>
                    <a:gs pos="100000">
                      <a:schemeClr val="bg2"/>
                    </a:gs>
                    <a:gs pos="6000">
                      <a:schemeClr val="bg2"/>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6" name="Slide Number Placeholder 9"/>
          <p:cNvSpPr>
            <a:spLocks noGrp="1"/>
          </p:cNvSpPr>
          <p:nvPr>
            <p:ph type="sldNum" sz="quarter" idx="12"/>
          </p:nvPr>
        </p:nvSpPr>
        <p:spPr>
          <a:xfrm>
            <a:off x="520701" y="6399557"/>
            <a:ext cx="560686" cy="219456"/>
          </a:xfrm>
          <a:prstGeom prst="rect">
            <a:avLst/>
          </a:prstGeom>
        </p:spPr>
        <p:txBody>
          <a:bodyPr lIns="121899" tIns="60949" rIns="121899" bIns="60949" anchor="ctr"/>
          <a:lstStyle>
            <a:lvl1pPr algn="l">
              <a:defRPr sz="1596">
                <a:gradFill>
                  <a:gsLst>
                    <a:gs pos="100000">
                      <a:schemeClr val="bg2"/>
                    </a:gs>
                    <a:gs pos="0">
                      <a:schemeClr val="bg2"/>
                    </a:gs>
                  </a:gsLst>
                  <a:lin ang="5400000" scaled="0"/>
                </a:gradFill>
              </a:defRPr>
            </a:lvl1pPr>
          </a:lstStyle>
          <a:p>
            <a:pPr defTabSz="912115"/>
            <a:fld id="{727B4C2D-45E2-4621-8491-2995EB46A674}" type="slidenum">
              <a:rPr lang="en-US" smtClean="0">
                <a:gradFill>
                  <a:gsLst>
                    <a:gs pos="100000">
                      <a:srgbClr val="797A7D"/>
                    </a:gs>
                    <a:gs pos="0">
                      <a:srgbClr val="797A7D"/>
                    </a:gs>
                  </a:gsLst>
                  <a:lin ang="5400000" scaled="0"/>
                </a:gradFill>
              </a:rPr>
              <a:pPr defTabSz="912115"/>
              <a:t>‹#›</a:t>
            </a:fld>
            <a:endParaRPr lang="en-US" dirty="0">
              <a:gradFill>
                <a:gsLst>
                  <a:gs pos="100000">
                    <a:srgbClr val="797A7D"/>
                  </a:gs>
                  <a:gs pos="0">
                    <a:srgbClr val="797A7D"/>
                  </a:gs>
                </a:gsLst>
                <a:lin ang="5400000" scaled="0"/>
              </a:gradFill>
            </a:endParaRPr>
          </a:p>
        </p:txBody>
      </p:sp>
      <p:pic>
        <p:nvPicPr>
          <p:cNvPr id="7" name="Picture 6"/>
          <p:cNvPicPr>
            <a:picLocks noChangeAspect="1"/>
          </p:cNvPicPr>
          <p:nvPr userDrawn="1"/>
        </p:nvPicPr>
        <p:blipFill>
          <a:blip r:embed="rId2"/>
          <a:stretch>
            <a:fillRect/>
          </a:stretch>
        </p:blipFill>
        <p:spPr>
          <a:xfrm>
            <a:off x="10699082" y="6301222"/>
            <a:ext cx="1489745" cy="548317"/>
          </a:xfrm>
          <a:prstGeom prst="rect">
            <a:avLst/>
          </a:prstGeom>
        </p:spPr>
      </p:pic>
    </p:spTree>
    <p:extLst>
      <p:ext uri="{BB962C8B-B14F-4D97-AF65-F5344CB8AC3E}">
        <p14:creationId xmlns:p14="http://schemas.microsoft.com/office/powerpoint/2010/main" val="3877292114"/>
      </p:ext>
    </p:extLst>
  </p:cSld>
  <p:clrMapOvr>
    <a:masterClrMapping/>
  </p:clrMapOvr>
  <p:transition>
    <p:fade/>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2"/>
            <a:ext cx="10237787" cy="997196"/>
          </a:xfrm>
        </p:spPr>
        <p:txBody>
          <a:bodyPr anchor="b" anchorCtr="0"/>
          <a:lstStyle>
            <a:lvl1pPr>
              <a:defRPr sz="7182" spc="-150" baseline="0">
                <a:gradFill>
                  <a:gsLst>
                    <a:gs pos="1250">
                      <a:schemeClr val="bg1"/>
                    </a:gs>
                    <a:gs pos="100000">
                      <a:schemeClr val="bg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5"/>
            <a:ext cx="10237787" cy="498598"/>
          </a:xfrm>
        </p:spPr>
        <p:txBody>
          <a:bodyPr>
            <a:noAutofit/>
          </a:bodyPr>
          <a:lstStyle>
            <a:lvl1pPr marL="0" indent="0">
              <a:spcBef>
                <a:spcPts val="0"/>
              </a:spcBef>
              <a:buNone/>
              <a:defRPr spc="-70" baseline="0">
                <a:gradFill>
                  <a:gsLst>
                    <a:gs pos="0">
                      <a:schemeClr val="bg1"/>
                    </a:gs>
                    <a:gs pos="100000">
                      <a:schemeClr val="bg1"/>
                    </a:gs>
                  </a:gsLst>
                  <a:lin ang="5400000" scaled="0"/>
                </a:gradFill>
                <a:latin typeface="+mj-lt"/>
              </a:defRPr>
            </a:lvl1pPr>
          </a:lstStyle>
          <a:p>
            <a:pPr lvl="0"/>
            <a:r>
              <a:rPr lang="en-US" dirty="0" smtClean="0"/>
              <a:t>Speaker Title</a:t>
            </a:r>
            <a:endParaRPr lang="en-US" dirty="0"/>
          </a:p>
        </p:txBody>
      </p:sp>
      <p:pic>
        <p:nvPicPr>
          <p:cNvPr id="7" name="Picture 6"/>
          <p:cNvPicPr>
            <a:picLocks noChangeAspect="1"/>
          </p:cNvPicPr>
          <p:nvPr userDrawn="1"/>
        </p:nvPicPr>
        <p:blipFill>
          <a:blip r:embed="rId2" cstate="screen">
            <a:biLevel thresh="25000"/>
            <a:extLst>
              <a:ext uri="{28A0092B-C50C-407E-A947-70E740481C1C}">
                <a14:useLocalDpi xmlns:a14="http://schemas.microsoft.com/office/drawing/2010/main" val="0"/>
              </a:ext>
            </a:extLst>
          </a:blip>
          <a:stretch>
            <a:fillRect/>
          </a:stretch>
        </p:blipFill>
        <p:spPr>
          <a:xfrm>
            <a:off x="9888252" y="6100346"/>
            <a:ext cx="2164584" cy="749808"/>
          </a:xfrm>
          <a:prstGeom prst="rect">
            <a:avLst/>
          </a:prstGeom>
        </p:spPr>
      </p:pic>
    </p:spTree>
    <p:extLst>
      <p:ext uri="{BB962C8B-B14F-4D97-AF65-F5344CB8AC3E}">
        <p14:creationId xmlns:p14="http://schemas.microsoft.com/office/powerpoint/2010/main" val="206924113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Divider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3" y="2819606"/>
            <a:ext cx="11149013" cy="1218795"/>
          </a:xfrm>
        </p:spPr>
        <p:txBody>
          <a:bodyPr anchor="b" anchorCtr="0"/>
          <a:lstStyle>
            <a:lvl1pPr>
              <a:defRPr sz="8778" spc="-299" baseline="0">
                <a:gradFill>
                  <a:gsLst>
                    <a:gs pos="100000">
                      <a:schemeClr val="bg1"/>
                    </a:gs>
                    <a:gs pos="0">
                      <a:schemeClr val="bg1"/>
                    </a:gs>
                  </a:gsLst>
                  <a:lin ang="5400000" scaled="0"/>
                </a:gradFill>
              </a:defRPr>
            </a:lvl1pPr>
          </a:lstStyle>
          <a:p>
            <a:r>
              <a:rPr lang="en-US" dirty="0" smtClean="0"/>
              <a:t>Click to edit title style</a:t>
            </a:r>
            <a:endParaRPr lang="en-US" dirty="0"/>
          </a:p>
        </p:txBody>
      </p:sp>
      <p:pic>
        <p:nvPicPr>
          <p:cNvPr id="4" name="Picture 3"/>
          <p:cNvPicPr>
            <a:picLocks noChangeAspect="1"/>
          </p:cNvPicPr>
          <p:nvPr userDrawn="1"/>
        </p:nvPicPr>
        <p:blipFill>
          <a:blip r:embed="rId2" cstate="screen">
            <a:biLevel thresh="25000"/>
            <a:extLst>
              <a:ext uri="{28A0092B-C50C-407E-A947-70E740481C1C}">
                <a14:useLocalDpi xmlns:a14="http://schemas.microsoft.com/office/drawing/2010/main" val="0"/>
              </a:ext>
            </a:extLst>
          </a:blip>
          <a:stretch>
            <a:fillRect/>
          </a:stretch>
        </p:blipFill>
        <p:spPr>
          <a:xfrm>
            <a:off x="9888252" y="6100346"/>
            <a:ext cx="2164584" cy="749808"/>
          </a:xfrm>
          <a:prstGeom prst="rect">
            <a:avLst/>
          </a:prstGeom>
        </p:spPr>
      </p:pic>
    </p:spTree>
    <p:extLst>
      <p:ext uri="{BB962C8B-B14F-4D97-AF65-F5344CB8AC3E}">
        <p14:creationId xmlns:p14="http://schemas.microsoft.com/office/powerpoint/2010/main" val="867364987"/>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4241" y="5292983"/>
            <a:ext cx="11149013" cy="1218795"/>
          </a:xfrm>
        </p:spPr>
        <p:txBody>
          <a:bodyPr anchor="b" anchorCtr="0"/>
          <a:lstStyle>
            <a:lvl1pPr>
              <a:defRPr sz="7200" spc="-299" baseline="0">
                <a:gradFill>
                  <a:gsLst>
                    <a:gs pos="100000">
                      <a:schemeClr val="bg1"/>
                    </a:gs>
                    <a:gs pos="0">
                      <a:schemeClr val="bg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2105315943"/>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139" y="4343404"/>
            <a:ext cx="10237786" cy="461665"/>
          </a:xfrm>
        </p:spPr>
        <p:txBody>
          <a:bodyPr>
            <a:noAutofit/>
          </a:bodyPr>
          <a:lstStyle>
            <a:lvl1pPr marL="0" indent="0" algn="l">
              <a:lnSpc>
                <a:spcPct val="90000"/>
              </a:lnSpc>
              <a:spcBef>
                <a:spcPts val="0"/>
              </a:spcBef>
              <a:buNone/>
              <a:defRPr lang="en-US" sz="3591" kern="1200" spc="-70" baseline="0" dirty="0">
                <a:gradFill>
                  <a:gsLst>
                    <a:gs pos="2083">
                      <a:schemeClr val="bg2"/>
                    </a:gs>
                    <a:gs pos="99000">
                      <a:schemeClr val="bg2"/>
                    </a:gs>
                  </a:gsLst>
                  <a:lin ang="5400000" scaled="0"/>
                </a:gradFill>
                <a:latin typeface="+mj-lt"/>
                <a:ea typeface="+mn-ea"/>
                <a:cs typeface="+mn-cs"/>
              </a:defRPr>
            </a:lvl1pPr>
            <a:lvl2pPr marL="456040" indent="0" algn="ctr">
              <a:buNone/>
              <a:defRPr>
                <a:solidFill>
                  <a:schemeClr val="tx1">
                    <a:tint val="75000"/>
                  </a:schemeClr>
                </a:solidFill>
              </a:defRPr>
            </a:lvl2pPr>
            <a:lvl3pPr marL="912078" indent="0" algn="ctr">
              <a:buNone/>
              <a:defRPr>
                <a:solidFill>
                  <a:schemeClr val="tx1">
                    <a:tint val="75000"/>
                  </a:schemeClr>
                </a:solidFill>
              </a:defRPr>
            </a:lvl3pPr>
            <a:lvl4pPr marL="1368118" indent="0" algn="ctr">
              <a:buNone/>
              <a:defRPr>
                <a:solidFill>
                  <a:schemeClr val="tx1">
                    <a:tint val="75000"/>
                  </a:schemeClr>
                </a:solidFill>
              </a:defRPr>
            </a:lvl4pPr>
            <a:lvl5pPr marL="1824156" indent="0" algn="ctr">
              <a:buNone/>
              <a:defRPr>
                <a:solidFill>
                  <a:schemeClr val="tx1">
                    <a:tint val="75000"/>
                  </a:schemeClr>
                </a:solidFill>
              </a:defRPr>
            </a:lvl5pPr>
            <a:lvl6pPr marL="2280196" indent="0" algn="ctr">
              <a:buNone/>
              <a:defRPr>
                <a:solidFill>
                  <a:schemeClr val="tx1">
                    <a:tint val="75000"/>
                  </a:schemeClr>
                </a:solidFill>
              </a:defRPr>
            </a:lvl6pPr>
            <a:lvl7pPr marL="2736234" indent="0" algn="ctr">
              <a:buNone/>
              <a:defRPr>
                <a:solidFill>
                  <a:schemeClr val="tx1">
                    <a:tint val="75000"/>
                  </a:schemeClr>
                </a:solidFill>
              </a:defRPr>
            </a:lvl7pPr>
            <a:lvl8pPr marL="3192274" indent="0" algn="ctr">
              <a:buNone/>
              <a:defRPr>
                <a:solidFill>
                  <a:schemeClr val="tx1">
                    <a:tint val="75000"/>
                  </a:schemeClr>
                </a:solidFill>
              </a:defRPr>
            </a:lvl8pPr>
            <a:lvl9pPr marL="3648313" indent="0" algn="ctr">
              <a:buNone/>
              <a:defRPr>
                <a:solidFill>
                  <a:schemeClr val="tx1">
                    <a:tint val="75000"/>
                  </a:schemeClr>
                </a:solidFill>
              </a:defRPr>
            </a:lvl9pPr>
          </a:lstStyle>
          <a:p>
            <a:pPr marL="0" marR="0" lvl="0" indent="0" algn="l" defTabSz="912078"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973140" y="2739678"/>
            <a:ext cx="10245725"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576" b="0" kern="1200" cap="none" spc="-399" baseline="0" dirty="0" smtClean="0">
                <a:ln w="3175">
                  <a:noFill/>
                </a:ln>
                <a:gradFill>
                  <a:gsLst>
                    <a:gs pos="100000">
                      <a:schemeClr val="tx2"/>
                    </a:gs>
                    <a:gs pos="0">
                      <a:schemeClr val="tx2"/>
                    </a:gs>
                  </a:gsLst>
                  <a:lin ang="5400000" scaled="0"/>
                </a:gra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3140" y="1447800"/>
            <a:ext cx="10237787" cy="914096"/>
          </a:xfrm>
        </p:spPr>
        <p:txBody>
          <a:bodyPr wrap="square" anchor="b">
            <a:noAutofit/>
          </a:bodyPr>
          <a:lstStyle>
            <a:lvl1pPr marL="0" indent="0">
              <a:buNone/>
              <a:defRPr sz="6583" spc="-150"/>
            </a:lvl1pPr>
          </a:lstStyle>
          <a:p>
            <a:pPr lvl="0"/>
            <a:r>
              <a:rPr lang="en-US" smtClean="0"/>
              <a:t>Click to edit Master text styles</a:t>
            </a:r>
          </a:p>
        </p:txBody>
      </p:sp>
    </p:spTree>
    <p:extLst>
      <p:ext uri="{BB962C8B-B14F-4D97-AF65-F5344CB8AC3E}">
        <p14:creationId xmlns:p14="http://schemas.microsoft.com/office/powerpoint/2010/main" val="10517698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3" y="1447799"/>
            <a:ext cx="11149013" cy="1975926"/>
          </a:xfrm>
          <a:prstGeom prst="rect">
            <a:avLst/>
          </a:prstGeom>
        </p:spPr>
        <p:txBody>
          <a:bodyPr/>
          <a:lstStyle>
            <a:lvl1pPr marL="0" indent="0">
              <a:spcBef>
                <a:spcPts val="2394"/>
              </a:spcBef>
              <a:buNone/>
              <a:defRPr sz="3990">
                <a:gradFill>
                  <a:gsLst>
                    <a:gs pos="100000">
                      <a:schemeClr val="tx2"/>
                    </a:gs>
                    <a:gs pos="0">
                      <a:schemeClr val="tx2"/>
                    </a:gs>
                  </a:gsLst>
                  <a:lin ang="5400000" scaled="0"/>
                </a:gradFill>
                <a:latin typeface="+mj-lt"/>
              </a:defRPr>
            </a:lvl1pPr>
            <a:lvl2pPr marL="0" indent="0">
              <a:buNone/>
              <a:defRPr sz="1995">
                <a:gradFill>
                  <a:gsLst>
                    <a:gs pos="100000">
                      <a:schemeClr val="bg2"/>
                    </a:gs>
                    <a:gs pos="6000">
                      <a:schemeClr val="bg2"/>
                    </a:gs>
                  </a:gsLst>
                  <a:lin ang="5400000" scaled="0"/>
                </a:gradFill>
              </a:defRPr>
            </a:lvl2pPr>
            <a:lvl3pPr marL="231195" indent="0">
              <a:buNone/>
              <a:defRPr sz="1995">
                <a:gradFill>
                  <a:gsLst>
                    <a:gs pos="100000">
                      <a:schemeClr val="bg2"/>
                    </a:gs>
                    <a:gs pos="6000">
                      <a:schemeClr val="bg2"/>
                    </a:gs>
                  </a:gsLst>
                  <a:lin ang="5400000" scaled="0"/>
                </a:gradFill>
              </a:defRPr>
            </a:lvl3pPr>
            <a:lvl4pPr marL="456057" indent="0">
              <a:buNone/>
              <a:defRPr sz="1995">
                <a:gradFill>
                  <a:gsLst>
                    <a:gs pos="100000">
                      <a:schemeClr val="bg2"/>
                    </a:gs>
                    <a:gs pos="6000">
                      <a:schemeClr val="bg2"/>
                    </a:gs>
                  </a:gsLst>
                  <a:lin ang="5400000" scaled="0"/>
                </a:gradFill>
              </a:defRPr>
            </a:lvl4pPr>
            <a:lvl5pPr marL="692004" indent="0">
              <a:buNone/>
              <a:defRPr sz="1995">
                <a:gradFill>
                  <a:gsLst>
                    <a:gs pos="100000">
                      <a:schemeClr val="bg2"/>
                    </a:gs>
                    <a:gs pos="6000">
                      <a:schemeClr val="bg2"/>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6" name="Slide Number Placeholder 9"/>
          <p:cNvSpPr>
            <a:spLocks noGrp="1"/>
          </p:cNvSpPr>
          <p:nvPr>
            <p:ph type="sldNum" sz="quarter" idx="12"/>
          </p:nvPr>
        </p:nvSpPr>
        <p:spPr>
          <a:xfrm>
            <a:off x="520701" y="6399557"/>
            <a:ext cx="560686" cy="219456"/>
          </a:xfrm>
          <a:prstGeom prst="rect">
            <a:avLst/>
          </a:prstGeom>
        </p:spPr>
        <p:txBody>
          <a:bodyPr lIns="121899" tIns="60949" rIns="121899" bIns="60949" anchor="ctr"/>
          <a:lstStyle>
            <a:lvl1pPr algn="l">
              <a:defRPr sz="1596">
                <a:gradFill>
                  <a:gsLst>
                    <a:gs pos="100000">
                      <a:schemeClr val="bg2"/>
                    </a:gs>
                    <a:gs pos="0">
                      <a:schemeClr val="bg2"/>
                    </a:gs>
                  </a:gsLst>
                  <a:lin ang="5400000" scaled="0"/>
                </a:gradFill>
              </a:defRPr>
            </a:lvl1pPr>
          </a:lstStyle>
          <a:p>
            <a:pPr defTabSz="912115"/>
            <a:fld id="{727B4C2D-45E2-4621-8491-2995EB46A674}" type="slidenum">
              <a:rPr lang="en-US" smtClean="0">
                <a:gradFill>
                  <a:gsLst>
                    <a:gs pos="100000">
                      <a:srgbClr val="797A7D"/>
                    </a:gs>
                    <a:gs pos="0">
                      <a:srgbClr val="797A7D"/>
                    </a:gs>
                  </a:gsLst>
                  <a:lin ang="5400000" scaled="0"/>
                </a:gradFill>
              </a:rPr>
              <a:pPr defTabSz="912115"/>
              <a:t>‹#›</a:t>
            </a:fld>
            <a:endParaRPr lang="en-US" dirty="0">
              <a:gradFill>
                <a:gsLst>
                  <a:gs pos="100000">
                    <a:srgbClr val="797A7D"/>
                  </a:gs>
                  <a:gs pos="0">
                    <a:srgbClr val="797A7D"/>
                  </a:gs>
                </a:gsLst>
                <a:lin ang="5400000" scaled="0"/>
              </a:gradFill>
            </a:endParaRP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9888252" y="6100346"/>
            <a:ext cx="2164584" cy="749808"/>
          </a:xfrm>
          <a:prstGeom prst="rect">
            <a:avLst/>
          </a:prstGeom>
        </p:spPr>
      </p:pic>
    </p:spTree>
    <p:extLst>
      <p:ext uri="{BB962C8B-B14F-4D97-AF65-F5344CB8AC3E}">
        <p14:creationId xmlns:p14="http://schemas.microsoft.com/office/powerpoint/2010/main" val="956914026"/>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Only With Logo">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6" name="Slide Number Placeholder 9"/>
          <p:cNvSpPr>
            <a:spLocks noGrp="1"/>
          </p:cNvSpPr>
          <p:nvPr>
            <p:ph type="sldNum" sz="quarter" idx="12"/>
          </p:nvPr>
        </p:nvSpPr>
        <p:spPr>
          <a:xfrm>
            <a:off x="520701" y="6399557"/>
            <a:ext cx="560686" cy="219456"/>
          </a:xfrm>
          <a:prstGeom prst="rect">
            <a:avLst/>
          </a:prstGeom>
        </p:spPr>
        <p:txBody>
          <a:bodyPr lIns="121899" tIns="60949" rIns="121899" bIns="60949" anchor="ctr"/>
          <a:lstStyle>
            <a:lvl1pPr algn="l">
              <a:defRPr sz="1596">
                <a:gradFill>
                  <a:gsLst>
                    <a:gs pos="100000">
                      <a:schemeClr val="bg2"/>
                    </a:gs>
                    <a:gs pos="0">
                      <a:schemeClr val="bg2"/>
                    </a:gs>
                  </a:gsLst>
                  <a:lin ang="5400000" scaled="0"/>
                </a:gradFill>
              </a:defRPr>
            </a:lvl1pPr>
          </a:lstStyle>
          <a:p>
            <a:pPr defTabSz="912115"/>
            <a:fld id="{727B4C2D-45E2-4621-8491-2995EB46A674}" type="slidenum">
              <a:rPr lang="en-US" smtClean="0">
                <a:gradFill>
                  <a:gsLst>
                    <a:gs pos="100000">
                      <a:srgbClr val="797A7D"/>
                    </a:gs>
                    <a:gs pos="0">
                      <a:srgbClr val="797A7D"/>
                    </a:gs>
                  </a:gsLst>
                  <a:lin ang="5400000" scaled="0"/>
                </a:gradFill>
              </a:rPr>
              <a:pPr defTabSz="912115"/>
              <a:t>‹#›</a:t>
            </a:fld>
            <a:endParaRPr lang="en-US" dirty="0">
              <a:gradFill>
                <a:gsLst>
                  <a:gs pos="100000">
                    <a:srgbClr val="797A7D"/>
                  </a:gs>
                  <a:gs pos="0">
                    <a:srgbClr val="797A7D"/>
                  </a:gs>
                </a:gsLst>
                <a:lin ang="5400000" scaled="0"/>
              </a:gradFill>
            </a:endParaRPr>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9888252" y="6100346"/>
            <a:ext cx="2164584" cy="749808"/>
          </a:xfrm>
          <a:prstGeom prst="rect">
            <a:avLst/>
          </a:prstGeom>
        </p:spPr>
      </p:pic>
    </p:spTree>
    <p:extLst>
      <p:ext uri="{BB962C8B-B14F-4D97-AF65-F5344CB8AC3E}">
        <p14:creationId xmlns:p14="http://schemas.microsoft.com/office/powerpoint/2010/main" val="3909236459"/>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3" y="1447799"/>
            <a:ext cx="11149013" cy="1975926"/>
          </a:xfrm>
          <a:prstGeom prst="rect">
            <a:avLst/>
          </a:prstGeom>
        </p:spPr>
        <p:txBody>
          <a:bodyPr/>
          <a:lstStyle>
            <a:lvl1pPr marL="0" indent="0">
              <a:spcBef>
                <a:spcPts val="2394"/>
              </a:spcBef>
              <a:buNone/>
              <a:defRPr sz="3990">
                <a:gradFill>
                  <a:gsLst>
                    <a:gs pos="100000">
                      <a:schemeClr val="bg2"/>
                    </a:gs>
                    <a:gs pos="0">
                      <a:schemeClr val="bg2"/>
                    </a:gs>
                  </a:gsLst>
                  <a:lin ang="5400000" scaled="0"/>
                </a:gradFill>
                <a:latin typeface="+mj-lt"/>
              </a:defRPr>
            </a:lvl1pPr>
            <a:lvl2pPr marL="0" indent="0">
              <a:buNone/>
              <a:defRPr sz="1995">
                <a:gradFill>
                  <a:gsLst>
                    <a:gs pos="100000">
                      <a:schemeClr val="bg2"/>
                    </a:gs>
                    <a:gs pos="0">
                      <a:schemeClr val="bg2"/>
                    </a:gs>
                  </a:gsLst>
                  <a:lin ang="5400000" scaled="0"/>
                </a:gradFill>
              </a:defRPr>
            </a:lvl2pPr>
            <a:lvl3pPr marL="231195" indent="0">
              <a:buNone/>
              <a:defRPr sz="1995">
                <a:gradFill>
                  <a:gsLst>
                    <a:gs pos="100000">
                      <a:schemeClr val="bg2"/>
                    </a:gs>
                    <a:gs pos="0">
                      <a:schemeClr val="bg2"/>
                    </a:gs>
                  </a:gsLst>
                  <a:lin ang="5400000" scaled="0"/>
                </a:gradFill>
              </a:defRPr>
            </a:lvl3pPr>
            <a:lvl4pPr marL="456057" indent="0">
              <a:buNone/>
              <a:defRPr sz="1995">
                <a:gradFill>
                  <a:gsLst>
                    <a:gs pos="100000">
                      <a:schemeClr val="bg2"/>
                    </a:gs>
                    <a:gs pos="0">
                      <a:schemeClr val="bg2"/>
                    </a:gs>
                  </a:gsLst>
                  <a:lin ang="5400000" scaled="0"/>
                </a:gradFill>
              </a:defRPr>
            </a:lvl4pPr>
            <a:lvl5pPr marL="692004" indent="0">
              <a:buNone/>
              <a:defRPr sz="1995">
                <a:gradFill>
                  <a:gsLst>
                    <a:gs pos="100000">
                      <a:schemeClr val="bg2"/>
                    </a:gs>
                    <a:gs pos="0">
                      <a:schemeClr val="bg2"/>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6" name="Slide Number Placeholder 9"/>
          <p:cNvSpPr>
            <a:spLocks noGrp="1"/>
          </p:cNvSpPr>
          <p:nvPr>
            <p:ph type="sldNum" sz="quarter" idx="12"/>
          </p:nvPr>
        </p:nvSpPr>
        <p:spPr>
          <a:xfrm>
            <a:off x="520701" y="6399557"/>
            <a:ext cx="560686" cy="219456"/>
          </a:xfrm>
          <a:prstGeom prst="rect">
            <a:avLst/>
          </a:prstGeom>
        </p:spPr>
        <p:txBody>
          <a:bodyPr lIns="121899" tIns="60949" rIns="121899" bIns="60949" anchor="ctr"/>
          <a:lstStyle>
            <a:lvl1pPr algn="l">
              <a:defRPr sz="1596">
                <a:gradFill>
                  <a:gsLst>
                    <a:gs pos="100000">
                      <a:schemeClr val="bg2"/>
                    </a:gs>
                    <a:gs pos="0">
                      <a:schemeClr val="bg2"/>
                    </a:gs>
                  </a:gsLst>
                  <a:lin ang="5400000" scaled="0"/>
                </a:gradFill>
              </a:defRPr>
            </a:lvl1pPr>
          </a:lstStyle>
          <a:p>
            <a:pPr defTabSz="912115"/>
            <a:fld id="{727B4C2D-45E2-4621-8491-2995EB46A674}" type="slidenum">
              <a:rPr lang="en-US" smtClean="0">
                <a:gradFill>
                  <a:gsLst>
                    <a:gs pos="100000">
                      <a:srgbClr val="797A7D"/>
                    </a:gs>
                    <a:gs pos="0">
                      <a:srgbClr val="797A7D"/>
                    </a:gs>
                  </a:gsLst>
                  <a:lin ang="5400000" scaled="0"/>
                </a:gradFill>
              </a:rPr>
              <a:pPr defTabSz="912115"/>
              <a:t>‹#›</a:t>
            </a:fld>
            <a:endParaRPr lang="en-US" dirty="0">
              <a:gradFill>
                <a:gsLst>
                  <a:gs pos="100000">
                    <a:srgbClr val="797A7D"/>
                  </a:gs>
                  <a:gs pos="0">
                    <a:srgbClr val="797A7D"/>
                  </a:gs>
                </a:gsLst>
                <a:lin ang="5400000" scaled="0"/>
              </a:gradFill>
            </a:endParaRP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9888252" y="6100346"/>
            <a:ext cx="2164584" cy="749808"/>
          </a:xfrm>
          <a:prstGeom prst="rect">
            <a:avLst/>
          </a:prstGeom>
        </p:spPr>
      </p:pic>
    </p:spTree>
    <p:extLst>
      <p:ext uri="{BB962C8B-B14F-4D97-AF65-F5344CB8AC3E}">
        <p14:creationId xmlns:p14="http://schemas.microsoft.com/office/powerpoint/2010/main" val="2879944505"/>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4"/>
            <a:ext cx="11149013" cy="747897"/>
          </a:xfrm>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43636"/>
          </a:xfrm>
          <a:prstGeom prst="rect">
            <a:avLst/>
          </a:prstGeom>
        </p:spPr>
        <p:txBody>
          <a:bodyPr/>
          <a:lstStyle>
            <a:lvl1pPr marL="283453" indent="-283453">
              <a:buFont typeface="Wingdings" pitchFamily="2" charset="2"/>
              <a:buChar char=""/>
              <a:defRPr sz="3990"/>
            </a:lvl1pPr>
            <a:lvl2pPr marL="516232" indent="-232780">
              <a:buFont typeface="Wingdings" pitchFamily="2" charset="2"/>
              <a:buChar char=""/>
              <a:defRPr>
                <a:latin typeface="+mn-lt"/>
              </a:defRPr>
            </a:lvl2pPr>
            <a:lvl3pPr marL="739510" indent="-223279">
              <a:buFont typeface="Wingdings" pitchFamily="2" charset="2"/>
              <a:buChar char=""/>
              <a:tabLst/>
              <a:defRPr>
                <a:latin typeface="+mn-lt"/>
              </a:defRPr>
            </a:lvl3pPr>
            <a:lvl4pPr marL="912115" indent="-172605">
              <a:buFont typeface="Wingdings" pitchFamily="2" charset="2"/>
              <a:buChar char=""/>
              <a:defRPr>
                <a:latin typeface="+mn-lt"/>
              </a:defRPr>
            </a:lvl4pPr>
            <a:lvl5pPr marL="1084720" indent="-172605">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9"/>
          <p:cNvSpPr>
            <a:spLocks noGrp="1"/>
          </p:cNvSpPr>
          <p:nvPr>
            <p:ph type="sldNum" sz="quarter" idx="12"/>
          </p:nvPr>
        </p:nvSpPr>
        <p:spPr>
          <a:xfrm>
            <a:off x="520701" y="6399557"/>
            <a:ext cx="560686" cy="219456"/>
          </a:xfrm>
          <a:prstGeom prst="rect">
            <a:avLst/>
          </a:prstGeom>
        </p:spPr>
        <p:txBody>
          <a:bodyPr lIns="121899" tIns="60949" rIns="121899" bIns="60949" anchor="ctr"/>
          <a:lstStyle>
            <a:lvl1pPr algn="l">
              <a:defRPr sz="1596">
                <a:gradFill>
                  <a:gsLst>
                    <a:gs pos="100000">
                      <a:schemeClr val="bg2"/>
                    </a:gs>
                    <a:gs pos="0">
                      <a:schemeClr val="bg2"/>
                    </a:gs>
                  </a:gsLst>
                  <a:lin ang="5400000" scaled="0"/>
                </a:gradFill>
              </a:defRPr>
            </a:lvl1pPr>
          </a:lstStyle>
          <a:p>
            <a:pPr defTabSz="912115"/>
            <a:fld id="{727B4C2D-45E2-4621-8491-2995EB46A674}" type="slidenum">
              <a:rPr lang="en-US" smtClean="0">
                <a:gradFill>
                  <a:gsLst>
                    <a:gs pos="100000">
                      <a:srgbClr val="797A7D"/>
                    </a:gs>
                    <a:gs pos="0">
                      <a:srgbClr val="797A7D"/>
                    </a:gs>
                  </a:gsLst>
                  <a:lin ang="5400000" scaled="0"/>
                </a:gradFill>
              </a:rPr>
              <a:pPr defTabSz="912115"/>
              <a:t>‹#›</a:t>
            </a:fld>
            <a:endParaRPr lang="en-US" dirty="0">
              <a:gradFill>
                <a:gsLst>
                  <a:gs pos="100000">
                    <a:srgbClr val="797A7D"/>
                  </a:gs>
                  <a:gs pos="0">
                    <a:srgbClr val="797A7D"/>
                  </a:gs>
                </a:gsLst>
                <a:lin ang="5400000" scaled="0"/>
              </a:gradFill>
            </a:endParaRP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9888252" y="6100346"/>
            <a:ext cx="2164584" cy="749808"/>
          </a:xfrm>
          <a:prstGeom prst="rect">
            <a:avLst/>
          </a:prstGeom>
        </p:spPr>
      </p:pic>
    </p:spTree>
    <p:extLst>
      <p:ext uri="{BB962C8B-B14F-4D97-AF65-F5344CB8AC3E}">
        <p14:creationId xmlns:p14="http://schemas.microsoft.com/office/powerpoint/2010/main" val="2459818395"/>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701" y="1447804"/>
            <a:ext cx="5394960" cy="2462213"/>
          </a:xfrm>
        </p:spPr>
        <p:txBody>
          <a:bodyPr/>
          <a:lstStyle>
            <a:lvl1pPr marL="0" indent="0">
              <a:spcBef>
                <a:spcPts val="1197"/>
              </a:spcBef>
              <a:buNone/>
              <a:defRPr sz="3990">
                <a:gradFill>
                  <a:gsLst>
                    <a:gs pos="100000">
                      <a:schemeClr val="tx2"/>
                    </a:gs>
                    <a:gs pos="0">
                      <a:schemeClr val="tx2"/>
                    </a:gs>
                  </a:gsLst>
                  <a:lin ang="5400000" scaled="0"/>
                </a:gradFill>
                <a:latin typeface="+mj-lt"/>
              </a:defRPr>
            </a:lvl1pPr>
            <a:lvl2pPr marL="0" indent="0">
              <a:buNone/>
              <a:defRPr sz="1995"/>
            </a:lvl2pPr>
            <a:lvl3pPr marL="232780" indent="0">
              <a:buNone/>
              <a:defRPr sz="1995"/>
            </a:lvl3pPr>
            <a:lvl4pPr marL="456057" indent="0">
              <a:buNone/>
              <a:defRPr sz="1995"/>
            </a:lvl4pPr>
            <a:lvl5pPr marL="692004" indent="0">
              <a:buNone/>
              <a:defRPr sz="199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6277928" y="1447804"/>
            <a:ext cx="5394960" cy="2462213"/>
          </a:xfrm>
        </p:spPr>
        <p:txBody>
          <a:bodyPr/>
          <a:lstStyle>
            <a:lvl1pPr marL="0" indent="0">
              <a:spcBef>
                <a:spcPts val="1197"/>
              </a:spcBef>
              <a:buNone/>
              <a:defRPr lang="en-US" sz="3990" kern="1200" spc="-70" baseline="0" dirty="0" smtClean="0">
                <a:gradFill>
                  <a:gsLst>
                    <a:gs pos="100000">
                      <a:schemeClr val="tx2"/>
                    </a:gs>
                    <a:gs pos="0">
                      <a:schemeClr val="tx2"/>
                    </a:gs>
                  </a:gsLst>
                  <a:lin ang="5400000" scaled="0"/>
                </a:gradFill>
                <a:latin typeface="+mj-lt"/>
                <a:ea typeface="+mn-ea"/>
                <a:cs typeface="+mn-cs"/>
              </a:defRPr>
            </a:lvl1pPr>
            <a:lvl2pPr marL="3167" marR="0" indent="0" algn="l" defTabSz="912078" rtl="0" eaLnBrk="1" fontAlgn="auto" latinLnBrk="0" hangingPunct="1">
              <a:lnSpc>
                <a:spcPct val="90000"/>
              </a:lnSpc>
              <a:spcBef>
                <a:spcPct val="20000"/>
              </a:spcBef>
              <a:spcAft>
                <a:spcPts val="0"/>
              </a:spcAft>
              <a:buClrTx/>
              <a:buSzPct val="90000"/>
              <a:buFont typeface="Arial" pitchFamily="34" charset="0"/>
              <a:buNone/>
              <a:tabLst/>
              <a:defRPr lang="en-US" sz="1995" kern="1200" spc="-70" baseline="0" dirty="0" smtClean="0">
                <a:gradFill>
                  <a:gsLst>
                    <a:gs pos="1250">
                      <a:schemeClr val="bg2"/>
                    </a:gs>
                    <a:gs pos="100000">
                      <a:schemeClr val="bg2"/>
                    </a:gs>
                  </a:gsLst>
                  <a:lin ang="5400000" scaled="0"/>
                </a:gradFill>
                <a:latin typeface="+mn-lt"/>
                <a:ea typeface="+mn-ea"/>
                <a:cs typeface="+mn-cs"/>
              </a:defRPr>
            </a:lvl2pPr>
            <a:lvl3pPr marL="232780" marR="0" indent="0" algn="l" defTabSz="912078" rtl="0" eaLnBrk="1" fontAlgn="auto" latinLnBrk="0" hangingPunct="1">
              <a:lnSpc>
                <a:spcPct val="90000"/>
              </a:lnSpc>
              <a:spcBef>
                <a:spcPct val="20000"/>
              </a:spcBef>
              <a:spcAft>
                <a:spcPts val="0"/>
              </a:spcAft>
              <a:buClrTx/>
              <a:buSzPct val="90000"/>
              <a:buFont typeface="Arial" pitchFamily="34" charset="0"/>
              <a:buNone/>
              <a:tabLst/>
              <a:defRPr lang="en-US" sz="1995" kern="1200" spc="-70" baseline="0" dirty="0" smtClean="0">
                <a:gradFill>
                  <a:gsLst>
                    <a:gs pos="1250">
                      <a:schemeClr val="bg2"/>
                    </a:gs>
                    <a:gs pos="100000">
                      <a:schemeClr val="bg2"/>
                    </a:gs>
                  </a:gsLst>
                  <a:lin ang="5400000" scaled="0"/>
                </a:gradFill>
                <a:latin typeface="+mn-lt"/>
                <a:ea typeface="+mn-ea"/>
                <a:cs typeface="+mn-cs"/>
              </a:defRPr>
            </a:lvl3pPr>
            <a:lvl4pPr marL="459224" marR="0" indent="0" algn="l" defTabSz="912078" rtl="0" eaLnBrk="1" fontAlgn="auto" latinLnBrk="0" hangingPunct="1">
              <a:lnSpc>
                <a:spcPct val="90000"/>
              </a:lnSpc>
              <a:spcBef>
                <a:spcPct val="20000"/>
              </a:spcBef>
              <a:spcAft>
                <a:spcPts val="0"/>
              </a:spcAft>
              <a:buClrTx/>
              <a:buSzPct val="90000"/>
              <a:buFont typeface="Arial" pitchFamily="34" charset="0"/>
              <a:buNone/>
              <a:tabLst/>
              <a:defRPr lang="en-US" sz="1995" kern="1200" spc="-70" baseline="0" dirty="0" smtClean="0">
                <a:gradFill>
                  <a:gsLst>
                    <a:gs pos="1250">
                      <a:schemeClr val="bg2"/>
                    </a:gs>
                    <a:gs pos="100000">
                      <a:schemeClr val="bg2"/>
                    </a:gs>
                  </a:gsLst>
                  <a:lin ang="5400000" scaled="0"/>
                </a:gradFill>
                <a:latin typeface="+mn-lt"/>
                <a:ea typeface="+mn-ea"/>
                <a:cs typeface="+mn-cs"/>
              </a:defRPr>
            </a:lvl4pPr>
            <a:lvl5pPr marL="685670" marR="0" indent="0" algn="l" defTabSz="912078" rtl="0" eaLnBrk="1" fontAlgn="auto" latinLnBrk="0" hangingPunct="1">
              <a:lnSpc>
                <a:spcPct val="90000"/>
              </a:lnSpc>
              <a:spcBef>
                <a:spcPct val="20000"/>
              </a:spcBef>
              <a:spcAft>
                <a:spcPts val="0"/>
              </a:spcAft>
              <a:buClrTx/>
              <a:buSzPct val="90000"/>
              <a:buFont typeface="Arial" pitchFamily="34" charset="0"/>
              <a:buNone/>
              <a:tabLst/>
              <a:defRPr lang="en-US" sz="1995" kern="1200" spc="-70" baseline="0" dirty="0">
                <a:gradFill>
                  <a:gsLst>
                    <a:gs pos="1250">
                      <a:schemeClr val="bg2"/>
                    </a:gs>
                    <a:gs pos="100000">
                      <a:schemeClr val="bg2"/>
                    </a:gs>
                  </a:gsLst>
                  <a:lin ang="5400000" scaled="0"/>
                </a:gradFill>
                <a:latin typeface="+mn-lt"/>
                <a:ea typeface="+mn-ea"/>
                <a:cs typeface="+mn-cs"/>
              </a:defRPr>
            </a:lvl5pPr>
          </a:lstStyle>
          <a:p>
            <a:pPr marL="0" marR="0" lvl="0" indent="0" algn="l" defTabSz="912078"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12078"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12078"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12078"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12078"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
        <p:nvSpPr>
          <p:cNvPr id="7" name="Slide Number Placeholder 9"/>
          <p:cNvSpPr>
            <a:spLocks noGrp="1"/>
          </p:cNvSpPr>
          <p:nvPr>
            <p:ph type="sldNum" sz="quarter" idx="13"/>
          </p:nvPr>
        </p:nvSpPr>
        <p:spPr>
          <a:xfrm>
            <a:off x="520701" y="6399557"/>
            <a:ext cx="560686" cy="219456"/>
          </a:xfrm>
          <a:prstGeom prst="rect">
            <a:avLst/>
          </a:prstGeom>
        </p:spPr>
        <p:txBody>
          <a:bodyPr lIns="121899" tIns="60949" rIns="121899" bIns="60949" anchor="ctr"/>
          <a:lstStyle>
            <a:lvl1pPr algn="l">
              <a:defRPr sz="1596">
                <a:gradFill>
                  <a:gsLst>
                    <a:gs pos="100000">
                      <a:schemeClr val="bg2"/>
                    </a:gs>
                    <a:gs pos="0">
                      <a:schemeClr val="bg2"/>
                    </a:gs>
                  </a:gsLst>
                  <a:lin ang="5400000" scaled="0"/>
                </a:gradFill>
              </a:defRPr>
            </a:lvl1pPr>
          </a:lstStyle>
          <a:p>
            <a:pPr defTabSz="912115"/>
            <a:fld id="{727B4C2D-45E2-4621-8491-2995EB46A674}" type="slidenum">
              <a:rPr lang="en-US" smtClean="0">
                <a:gradFill>
                  <a:gsLst>
                    <a:gs pos="100000">
                      <a:srgbClr val="797A7D"/>
                    </a:gs>
                    <a:gs pos="0">
                      <a:srgbClr val="797A7D"/>
                    </a:gs>
                  </a:gsLst>
                  <a:lin ang="5400000" scaled="0"/>
                </a:gradFill>
              </a:rPr>
              <a:pPr defTabSz="912115"/>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4057818077"/>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520701" y="1447804"/>
            <a:ext cx="5394960" cy="2462213"/>
          </a:xfrm>
        </p:spPr>
        <p:txBody>
          <a:bodyPr/>
          <a:lstStyle>
            <a:lvl1pPr marL="0" indent="0">
              <a:spcBef>
                <a:spcPts val="1197"/>
              </a:spcBef>
              <a:buNone/>
              <a:defRPr sz="3990">
                <a:gradFill>
                  <a:gsLst>
                    <a:gs pos="1000">
                      <a:schemeClr val="bg2"/>
                    </a:gs>
                    <a:gs pos="98000">
                      <a:schemeClr val="bg2"/>
                    </a:gs>
                  </a:gsLst>
                  <a:lin ang="5400000" scaled="0"/>
                </a:gradFill>
                <a:latin typeface="+mj-lt"/>
              </a:defRPr>
            </a:lvl1pPr>
            <a:lvl2pPr marL="0" indent="0">
              <a:buNone/>
              <a:defRPr sz="1995">
                <a:gradFill>
                  <a:gsLst>
                    <a:gs pos="1000">
                      <a:schemeClr val="bg2"/>
                    </a:gs>
                    <a:gs pos="98000">
                      <a:schemeClr val="bg2"/>
                    </a:gs>
                  </a:gsLst>
                  <a:lin ang="5400000" scaled="0"/>
                </a:gradFill>
              </a:defRPr>
            </a:lvl2pPr>
            <a:lvl3pPr marL="232780" indent="0">
              <a:buNone/>
              <a:defRPr sz="1995">
                <a:gradFill>
                  <a:gsLst>
                    <a:gs pos="1000">
                      <a:schemeClr val="bg2"/>
                    </a:gs>
                    <a:gs pos="98000">
                      <a:schemeClr val="bg2"/>
                    </a:gs>
                  </a:gsLst>
                  <a:lin ang="5400000" scaled="0"/>
                </a:gradFill>
              </a:defRPr>
            </a:lvl3pPr>
            <a:lvl4pPr marL="456057" indent="0">
              <a:buNone/>
              <a:defRPr sz="1995">
                <a:gradFill>
                  <a:gsLst>
                    <a:gs pos="1000">
                      <a:schemeClr val="bg2"/>
                    </a:gs>
                    <a:gs pos="98000">
                      <a:schemeClr val="bg2"/>
                    </a:gs>
                  </a:gsLst>
                  <a:lin ang="5400000" scaled="0"/>
                </a:gradFill>
              </a:defRPr>
            </a:lvl4pPr>
            <a:lvl5pPr marL="692004" indent="0">
              <a:buNone/>
              <a:defRPr sz="1995">
                <a:gradFill>
                  <a:gsLst>
                    <a:gs pos="1000">
                      <a:schemeClr val="bg2"/>
                    </a:gs>
                    <a:gs pos="98000">
                      <a:schemeClr val="bg2"/>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6277928" y="1447804"/>
            <a:ext cx="5394960" cy="2462213"/>
          </a:xfrm>
        </p:spPr>
        <p:txBody>
          <a:bodyPr/>
          <a:lstStyle>
            <a:lvl1pPr marL="0" indent="0">
              <a:spcBef>
                <a:spcPts val="1197"/>
              </a:spcBef>
              <a:buNone/>
              <a:defRPr lang="en-US" sz="3990" kern="1200" spc="-70" baseline="0" dirty="0" smtClean="0">
                <a:gradFill>
                  <a:gsLst>
                    <a:gs pos="1000">
                      <a:schemeClr val="bg2"/>
                    </a:gs>
                    <a:gs pos="98000">
                      <a:schemeClr val="bg2"/>
                    </a:gs>
                  </a:gsLst>
                  <a:lin ang="5400000" scaled="0"/>
                </a:gradFill>
                <a:latin typeface="+mj-lt"/>
                <a:ea typeface="+mn-ea"/>
                <a:cs typeface="+mn-cs"/>
              </a:defRPr>
            </a:lvl1pPr>
            <a:lvl2pPr marL="3167" marR="0" indent="0" algn="l" defTabSz="912078" rtl="0" eaLnBrk="1" fontAlgn="auto" latinLnBrk="0" hangingPunct="1">
              <a:lnSpc>
                <a:spcPct val="90000"/>
              </a:lnSpc>
              <a:spcBef>
                <a:spcPct val="20000"/>
              </a:spcBef>
              <a:spcAft>
                <a:spcPts val="0"/>
              </a:spcAft>
              <a:buClrTx/>
              <a:buSzPct val="90000"/>
              <a:buFont typeface="Arial" pitchFamily="34" charset="0"/>
              <a:buNone/>
              <a:tabLst/>
              <a:defRPr lang="en-US" sz="1995" kern="1200" spc="-70" baseline="0" dirty="0" smtClean="0">
                <a:gradFill>
                  <a:gsLst>
                    <a:gs pos="1000">
                      <a:schemeClr val="bg2"/>
                    </a:gs>
                    <a:gs pos="98000">
                      <a:schemeClr val="bg2"/>
                    </a:gs>
                  </a:gsLst>
                  <a:lin ang="5400000" scaled="0"/>
                </a:gradFill>
                <a:latin typeface="+mn-lt"/>
                <a:ea typeface="+mn-ea"/>
                <a:cs typeface="+mn-cs"/>
              </a:defRPr>
            </a:lvl2pPr>
            <a:lvl3pPr marL="232780" marR="0" indent="0" algn="l" defTabSz="912078" rtl="0" eaLnBrk="1" fontAlgn="auto" latinLnBrk="0" hangingPunct="1">
              <a:lnSpc>
                <a:spcPct val="90000"/>
              </a:lnSpc>
              <a:spcBef>
                <a:spcPct val="20000"/>
              </a:spcBef>
              <a:spcAft>
                <a:spcPts val="0"/>
              </a:spcAft>
              <a:buClrTx/>
              <a:buSzPct val="90000"/>
              <a:buFont typeface="Arial" pitchFamily="34" charset="0"/>
              <a:buNone/>
              <a:tabLst/>
              <a:defRPr lang="en-US" sz="1995" kern="1200" spc="-70" baseline="0" dirty="0" smtClean="0">
                <a:gradFill>
                  <a:gsLst>
                    <a:gs pos="1000">
                      <a:schemeClr val="bg2"/>
                    </a:gs>
                    <a:gs pos="98000">
                      <a:schemeClr val="bg2"/>
                    </a:gs>
                  </a:gsLst>
                  <a:lin ang="5400000" scaled="0"/>
                </a:gradFill>
                <a:latin typeface="+mn-lt"/>
                <a:ea typeface="+mn-ea"/>
                <a:cs typeface="+mn-cs"/>
              </a:defRPr>
            </a:lvl3pPr>
            <a:lvl4pPr marL="459224" marR="0" indent="0" algn="l" defTabSz="912078" rtl="0" eaLnBrk="1" fontAlgn="auto" latinLnBrk="0" hangingPunct="1">
              <a:lnSpc>
                <a:spcPct val="90000"/>
              </a:lnSpc>
              <a:spcBef>
                <a:spcPct val="20000"/>
              </a:spcBef>
              <a:spcAft>
                <a:spcPts val="0"/>
              </a:spcAft>
              <a:buClrTx/>
              <a:buSzPct val="90000"/>
              <a:buFont typeface="Arial" pitchFamily="34" charset="0"/>
              <a:buNone/>
              <a:tabLst/>
              <a:defRPr lang="en-US" sz="1995" kern="1200" spc="-70" baseline="0" dirty="0" smtClean="0">
                <a:gradFill>
                  <a:gsLst>
                    <a:gs pos="1000">
                      <a:schemeClr val="bg2"/>
                    </a:gs>
                    <a:gs pos="98000">
                      <a:schemeClr val="bg2"/>
                    </a:gs>
                  </a:gsLst>
                  <a:lin ang="5400000" scaled="0"/>
                </a:gradFill>
                <a:latin typeface="+mn-lt"/>
                <a:ea typeface="+mn-ea"/>
                <a:cs typeface="+mn-cs"/>
              </a:defRPr>
            </a:lvl4pPr>
            <a:lvl5pPr marL="685670" marR="0" indent="0" algn="l" defTabSz="912078" rtl="0" eaLnBrk="1" fontAlgn="auto" latinLnBrk="0" hangingPunct="1">
              <a:lnSpc>
                <a:spcPct val="90000"/>
              </a:lnSpc>
              <a:spcBef>
                <a:spcPct val="20000"/>
              </a:spcBef>
              <a:spcAft>
                <a:spcPts val="0"/>
              </a:spcAft>
              <a:buClrTx/>
              <a:buSzPct val="90000"/>
              <a:buFont typeface="Arial" pitchFamily="34" charset="0"/>
              <a:buNone/>
              <a:tabLst/>
              <a:defRPr lang="en-US" sz="1995" kern="1200" spc="-70" baseline="0" dirty="0">
                <a:gradFill>
                  <a:gsLst>
                    <a:gs pos="1000">
                      <a:schemeClr val="bg2"/>
                    </a:gs>
                    <a:gs pos="98000">
                      <a:schemeClr val="bg2"/>
                    </a:gs>
                  </a:gsLst>
                  <a:lin ang="5400000" scaled="0"/>
                </a:gradFill>
                <a:latin typeface="+mn-lt"/>
                <a:ea typeface="+mn-ea"/>
                <a:cs typeface="+mn-cs"/>
              </a:defRPr>
            </a:lvl5pPr>
          </a:lstStyle>
          <a:p>
            <a:pPr marL="0" marR="0" lvl="0" indent="0" algn="l" defTabSz="912078"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12078"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12078"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12078"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12078"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
        <p:nvSpPr>
          <p:cNvPr id="7" name="Slide Number Placeholder 9"/>
          <p:cNvSpPr>
            <a:spLocks noGrp="1"/>
          </p:cNvSpPr>
          <p:nvPr>
            <p:ph type="sldNum" sz="quarter" idx="13"/>
          </p:nvPr>
        </p:nvSpPr>
        <p:spPr>
          <a:xfrm>
            <a:off x="520701" y="6399557"/>
            <a:ext cx="560686" cy="219456"/>
          </a:xfrm>
          <a:prstGeom prst="rect">
            <a:avLst/>
          </a:prstGeom>
        </p:spPr>
        <p:txBody>
          <a:bodyPr lIns="121899" tIns="60949" rIns="121899" bIns="60949" anchor="ctr"/>
          <a:lstStyle>
            <a:lvl1pPr algn="l">
              <a:defRPr sz="1596">
                <a:gradFill>
                  <a:gsLst>
                    <a:gs pos="100000">
                      <a:schemeClr val="bg2"/>
                    </a:gs>
                    <a:gs pos="0">
                      <a:schemeClr val="bg2"/>
                    </a:gs>
                  </a:gsLst>
                  <a:lin ang="5400000" scaled="0"/>
                </a:gradFill>
              </a:defRPr>
            </a:lvl1pPr>
          </a:lstStyle>
          <a:p>
            <a:pPr defTabSz="912115"/>
            <a:fld id="{727B4C2D-45E2-4621-8491-2995EB46A674}" type="slidenum">
              <a:rPr lang="en-US" smtClean="0">
                <a:gradFill>
                  <a:gsLst>
                    <a:gs pos="100000">
                      <a:srgbClr val="797A7D"/>
                    </a:gs>
                    <a:gs pos="0">
                      <a:srgbClr val="797A7D"/>
                    </a:gs>
                  </a:gsLst>
                  <a:lin ang="5400000" scaled="0"/>
                </a:gradFill>
              </a:rPr>
              <a:pPr defTabSz="912115"/>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356959129"/>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6.xml"/><Relationship Id="rId3" Type="http://schemas.openxmlformats.org/officeDocument/2006/relationships/slideLayout" Target="../slideLayouts/slideLayout41.xml"/><Relationship Id="rId7" Type="http://schemas.openxmlformats.org/officeDocument/2006/relationships/slideLayout" Target="../slideLayouts/slideLayout45.xml"/><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slideLayout" Target="../slideLayouts/slideLayout44.xml"/><Relationship Id="rId5" Type="http://schemas.openxmlformats.org/officeDocument/2006/relationships/slideLayout" Target="../slideLayouts/slideLayout43.xml"/><Relationship Id="rId10" Type="http://schemas.openxmlformats.org/officeDocument/2006/relationships/theme" Target="../theme/theme2.xml"/><Relationship Id="rId4" Type="http://schemas.openxmlformats.org/officeDocument/2006/relationships/slideLayout" Target="../slideLayouts/slideLayout42.xml"/><Relationship Id="rId9" Type="http://schemas.openxmlformats.org/officeDocument/2006/relationships/slideLayout" Target="../slideLayouts/slideLayout4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5.xml"/><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theme" Target="../theme/theme3.xml"/><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0" Type="http://schemas.openxmlformats.org/officeDocument/2006/relationships/slideLayout" Target="../slideLayouts/slideLayout57.xml"/><Relationship Id="rId4" Type="http://schemas.openxmlformats.org/officeDocument/2006/relationships/slideLayout" Target="../slideLayouts/slideLayout51.xml"/><Relationship Id="rId9" Type="http://schemas.openxmlformats.org/officeDocument/2006/relationships/slideLayout" Target="../slideLayouts/slideLayout5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slideLayout" Target="../slideLayouts/slideLayout71.xml"/><Relationship Id="rId18" Type="http://schemas.openxmlformats.org/officeDocument/2006/relationships/slideLayout" Target="../slideLayouts/slideLayout76.xml"/><Relationship Id="rId26" Type="http://schemas.openxmlformats.org/officeDocument/2006/relationships/slideLayout" Target="../slideLayouts/slideLayout84.xml"/><Relationship Id="rId3" Type="http://schemas.openxmlformats.org/officeDocument/2006/relationships/slideLayout" Target="../slideLayouts/slideLayout61.xml"/><Relationship Id="rId21" Type="http://schemas.openxmlformats.org/officeDocument/2006/relationships/slideLayout" Target="../slideLayouts/slideLayout79.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17" Type="http://schemas.openxmlformats.org/officeDocument/2006/relationships/slideLayout" Target="../slideLayouts/slideLayout75.xml"/><Relationship Id="rId25" Type="http://schemas.openxmlformats.org/officeDocument/2006/relationships/slideLayout" Target="../slideLayouts/slideLayout83.xml"/><Relationship Id="rId2" Type="http://schemas.openxmlformats.org/officeDocument/2006/relationships/slideLayout" Target="../slideLayouts/slideLayout60.xml"/><Relationship Id="rId16" Type="http://schemas.openxmlformats.org/officeDocument/2006/relationships/slideLayout" Target="../slideLayouts/slideLayout74.xml"/><Relationship Id="rId20" Type="http://schemas.openxmlformats.org/officeDocument/2006/relationships/slideLayout" Target="../slideLayouts/slideLayout78.xml"/><Relationship Id="rId29" Type="http://schemas.openxmlformats.org/officeDocument/2006/relationships/slideLayout" Target="../slideLayouts/slideLayout87.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24" Type="http://schemas.openxmlformats.org/officeDocument/2006/relationships/slideLayout" Target="../slideLayouts/slideLayout82.xml"/><Relationship Id="rId32" Type="http://schemas.openxmlformats.org/officeDocument/2006/relationships/theme" Target="../theme/theme4.xml"/><Relationship Id="rId5" Type="http://schemas.openxmlformats.org/officeDocument/2006/relationships/slideLayout" Target="../slideLayouts/slideLayout63.xml"/><Relationship Id="rId15" Type="http://schemas.openxmlformats.org/officeDocument/2006/relationships/slideLayout" Target="../slideLayouts/slideLayout73.xml"/><Relationship Id="rId23" Type="http://schemas.openxmlformats.org/officeDocument/2006/relationships/slideLayout" Target="../slideLayouts/slideLayout81.xml"/><Relationship Id="rId28" Type="http://schemas.openxmlformats.org/officeDocument/2006/relationships/slideLayout" Target="../slideLayouts/slideLayout86.xml"/><Relationship Id="rId10" Type="http://schemas.openxmlformats.org/officeDocument/2006/relationships/slideLayout" Target="../slideLayouts/slideLayout68.xml"/><Relationship Id="rId19" Type="http://schemas.openxmlformats.org/officeDocument/2006/relationships/slideLayout" Target="../slideLayouts/slideLayout77.xml"/><Relationship Id="rId31" Type="http://schemas.openxmlformats.org/officeDocument/2006/relationships/slideLayout" Target="../slideLayouts/slideLayout89.xml"/><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slideLayout" Target="../slideLayouts/slideLayout72.xml"/><Relationship Id="rId22" Type="http://schemas.openxmlformats.org/officeDocument/2006/relationships/slideLayout" Target="../slideLayouts/slideLayout80.xml"/><Relationship Id="rId27" Type="http://schemas.openxmlformats.org/officeDocument/2006/relationships/slideLayout" Target="../slideLayouts/slideLayout85.xml"/><Relationship Id="rId30" Type="http://schemas.openxmlformats.org/officeDocument/2006/relationships/slideLayout" Target="../slideLayouts/slideLayout8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slideLayout" Target="../slideLayouts/slideLayout102.xml"/><Relationship Id="rId18" Type="http://schemas.openxmlformats.org/officeDocument/2006/relationships/slideLayout" Target="../slideLayouts/slideLayout107.xml"/><Relationship Id="rId26" Type="http://schemas.openxmlformats.org/officeDocument/2006/relationships/slideLayout" Target="../slideLayouts/slideLayout115.xml"/><Relationship Id="rId3" Type="http://schemas.openxmlformats.org/officeDocument/2006/relationships/slideLayout" Target="../slideLayouts/slideLayout92.xml"/><Relationship Id="rId21" Type="http://schemas.openxmlformats.org/officeDocument/2006/relationships/slideLayout" Target="../slideLayouts/slideLayout110.xml"/><Relationship Id="rId7" Type="http://schemas.openxmlformats.org/officeDocument/2006/relationships/slideLayout" Target="../slideLayouts/slideLayout96.xml"/><Relationship Id="rId12" Type="http://schemas.openxmlformats.org/officeDocument/2006/relationships/slideLayout" Target="../slideLayouts/slideLayout101.xml"/><Relationship Id="rId17" Type="http://schemas.openxmlformats.org/officeDocument/2006/relationships/slideLayout" Target="../slideLayouts/slideLayout106.xml"/><Relationship Id="rId25" Type="http://schemas.openxmlformats.org/officeDocument/2006/relationships/slideLayout" Target="../slideLayouts/slideLayout114.xml"/><Relationship Id="rId2" Type="http://schemas.openxmlformats.org/officeDocument/2006/relationships/slideLayout" Target="../slideLayouts/slideLayout91.xml"/><Relationship Id="rId16" Type="http://schemas.openxmlformats.org/officeDocument/2006/relationships/slideLayout" Target="../slideLayouts/slideLayout105.xml"/><Relationship Id="rId20" Type="http://schemas.openxmlformats.org/officeDocument/2006/relationships/slideLayout" Target="../slideLayouts/slideLayout109.xml"/><Relationship Id="rId29" Type="http://schemas.openxmlformats.org/officeDocument/2006/relationships/slideLayout" Target="../slideLayouts/slideLayout118.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24" Type="http://schemas.openxmlformats.org/officeDocument/2006/relationships/slideLayout" Target="../slideLayouts/slideLayout113.xml"/><Relationship Id="rId32" Type="http://schemas.openxmlformats.org/officeDocument/2006/relationships/theme" Target="../theme/theme5.xml"/><Relationship Id="rId5" Type="http://schemas.openxmlformats.org/officeDocument/2006/relationships/slideLayout" Target="../slideLayouts/slideLayout94.xml"/><Relationship Id="rId15" Type="http://schemas.openxmlformats.org/officeDocument/2006/relationships/slideLayout" Target="../slideLayouts/slideLayout104.xml"/><Relationship Id="rId23" Type="http://schemas.openxmlformats.org/officeDocument/2006/relationships/slideLayout" Target="../slideLayouts/slideLayout112.xml"/><Relationship Id="rId28" Type="http://schemas.openxmlformats.org/officeDocument/2006/relationships/slideLayout" Target="../slideLayouts/slideLayout117.xml"/><Relationship Id="rId10" Type="http://schemas.openxmlformats.org/officeDocument/2006/relationships/slideLayout" Target="../slideLayouts/slideLayout99.xml"/><Relationship Id="rId19" Type="http://schemas.openxmlformats.org/officeDocument/2006/relationships/slideLayout" Target="../slideLayouts/slideLayout108.xml"/><Relationship Id="rId31" Type="http://schemas.openxmlformats.org/officeDocument/2006/relationships/slideLayout" Target="../slideLayouts/slideLayout120.xml"/><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slideLayout" Target="../slideLayouts/slideLayout103.xml"/><Relationship Id="rId22" Type="http://schemas.openxmlformats.org/officeDocument/2006/relationships/slideLayout" Target="../slideLayouts/slideLayout111.xml"/><Relationship Id="rId27" Type="http://schemas.openxmlformats.org/officeDocument/2006/relationships/slideLayout" Target="../slideLayouts/slideLayout116.xml"/><Relationship Id="rId30" Type="http://schemas.openxmlformats.org/officeDocument/2006/relationships/slideLayout" Target="../slideLayouts/slideLayout1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4"/>
            <a:ext cx="11149013" cy="747897"/>
          </a:xfrm>
          <a:prstGeom prst="rect">
            <a:avLst/>
          </a:prstGeom>
        </p:spPr>
        <p:txBody>
          <a:bodyPr vert="horz" wrap="square" lIns="0" tIns="0" rIns="0" bIns="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520701" y="1447804"/>
            <a:ext cx="11152188" cy="2055947"/>
          </a:xfrm>
          <a:prstGeom prst="rect">
            <a:avLst/>
          </a:prstGeom>
        </p:spPr>
        <p:txBody>
          <a:bodyPr vert="horz" lIns="0" tIns="0" rIns="0" bIns="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24722921"/>
      </p:ext>
    </p:extLst>
  </p:cSld>
  <p:clrMap bg1="lt1" tx1="dk1" bg2="lt2" tx2="dk2" accent1="accent1" accent2="accent2" accent3="accent3" accent4="accent4" accent5="accent5" accent6="accent6" hlink="hlink" folHlink="folHlink"/>
  <p:sldLayoutIdLst>
    <p:sldLayoutId id="2147484253" r:id="rId1"/>
    <p:sldLayoutId id="2147484254" r:id="rId2"/>
    <p:sldLayoutId id="2147484268" r:id="rId3"/>
    <p:sldLayoutId id="2147484379" r:id="rId4"/>
    <p:sldLayoutId id="2147484380" r:id="rId5"/>
    <p:sldLayoutId id="2147484381" r:id="rId6"/>
    <p:sldLayoutId id="2147484255" r:id="rId7"/>
    <p:sldLayoutId id="2147484256" r:id="rId8"/>
    <p:sldLayoutId id="2147484257" r:id="rId9"/>
    <p:sldLayoutId id="2147484258" r:id="rId10"/>
    <p:sldLayoutId id="2147484259" r:id="rId11"/>
    <p:sldLayoutId id="2147484260" r:id="rId12"/>
    <p:sldLayoutId id="2147484261" r:id="rId13"/>
    <p:sldLayoutId id="2147484262" r:id="rId14"/>
    <p:sldLayoutId id="2147484263" r:id="rId15"/>
    <p:sldLayoutId id="2147484264" r:id="rId16"/>
    <p:sldLayoutId id="2147484265" r:id="rId17"/>
    <p:sldLayoutId id="2147484266" r:id="rId18"/>
    <p:sldLayoutId id="2147484267" r:id="rId19"/>
    <p:sldLayoutId id="2147484382" r:id="rId20"/>
    <p:sldLayoutId id="2147484269" r:id="rId21"/>
    <p:sldLayoutId id="2147484383" r:id="rId22"/>
    <p:sldLayoutId id="2147484270" r:id="rId23"/>
    <p:sldLayoutId id="2147484271" r:id="rId24"/>
    <p:sldLayoutId id="2147484272" r:id="rId25"/>
    <p:sldLayoutId id="2147484273" r:id="rId26"/>
    <p:sldLayoutId id="2147484274" r:id="rId27"/>
    <p:sldLayoutId id="2147484275" r:id="rId28"/>
    <p:sldLayoutId id="2147484276" r:id="rId29"/>
    <p:sldLayoutId id="2147484277" r:id="rId30"/>
    <p:sldLayoutId id="2147484279" r:id="rId31"/>
    <p:sldLayoutId id="2147484281" r:id="rId32"/>
    <p:sldLayoutId id="2147484285" r:id="rId33"/>
    <p:sldLayoutId id="2147484284" r:id="rId34"/>
    <p:sldLayoutId id="2147484288" r:id="rId35"/>
    <p:sldLayoutId id="2147484377" r:id="rId36"/>
    <p:sldLayoutId id="2147484384" r:id="rId37"/>
    <p:sldLayoutId id="2147484386" r:id="rId38"/>
  </p:sldLayoutIdLst>
  <p:transition>
    <p:fade/>
  </p:transition>
  <p:timing>
    <p:tnLst>
      <p:par>
        <p:cTn id="1" dur="indefinite" restart="never" nodeType="tmRoot"/>
      </p:par>
    </p:tnLst>
  </p:timing>
  <p:txStyles>
    <p:titleStyle>
      <a:lvl1pPr algn="l" defTabSz="912078" rtl="0" eaLnBrk="1" latinLnBrk="0" hangingPunct="1">
        <a:lnSpc>
          <a:spcPct val="90000"/>
        </a:lnSpc>
        <a:spcBef>
          <a:spcPct val="0"/>
        </a:spcBef>
        <a:buNone/>
        <a:defRPr lang="en-US" sz="5386"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38876" marR="0" indent="-338876" algn="l" defTabSz="912078" rtl="0" eaLnBrk="1" fontAlgn="auto" latinLnBrk="0" hangingPunct="1">
        <a:lnSpc>
          <a:spcPct val="90000"/>
        </a:lnSpc>
        <a:spcBef>
          <a:spcPct val="20000"/>
        </a:spcBef>
        <a:spcAft>
          <a:spcPts val="0"/>
        </a:spcAft>
        <a:buClrTx/>
        <a:buSzPct val="80000"/>
        <a:buFont typeface="Arial" pitchFamily="34" charset="0"/>
        <a:buChar char="•"/>
        <a:tabLst/>
        <a:defRPr sz="3591" kern="1200" spc="-70" baseline="0">
          <a:gradFill>
            <a:gsLst>
              <a:gs pos="1250">
                <a:schemeClr val="bg2"/>
              </a:gs>
              <a:gs pos="100000">
                <a:schemeClr val="bg2"/>
              </a:gs>
            </a:gsLst>
            <a:lin ang="5400000" scaled="0"/>
          </a:gradFill>
          <a:latin typeface="+mj-lt"/>
          <a:ea typeface="+mn-ea"/>
          <a:cs typeface="+mn-cs"/>
        </a:defRPr>
      </a:lvl1pPr>
      <a:lvl2pPr marL="571656" marR="0" indent="-232780" algn="l" defTabSz="912078" rtl="0" eaLnBrk="1" fontAlgn="auto" latinLnBrk="0" hangingPunct="1">
        <a:lnSpc>
          <a:spcPct val="90000"/>
        </a:lnSpc>
        <a:spcBef>
          <a:spcPct val="20000"/>
        </a:spcBef>
        <a:spcAft>
          <a:spcPts val="0"/>
        </a:spcAft>
        <a:buClrTx/>
        <a:buSzPct val="90000"/>
        <a:buFont typeface="Wingdings" pitchFamily="2" charset="2"/>
        <a:buChar char=""/>
        <a:tabLst/>
        <a:defRPr sz="2394" kern="1200" spc="0" baseline="0">
          <a:gradFill>
            <a:gsLst>
              <a:gs pos="1250">
                <a:schemeClr val="bg2"/>
              </a:gs>
              <a:gs pos="100000">
                <a:schemeClr val="bg2"/>
              </a:gs>
            </a:gsLst>
            <a:lin ang="5400000" scaled="0"/>
          </a:gradFill>
          <a:latin typeface="+mn-lt"/>
          <a:ea typeface="+mn-ea"/>
          <a:cs typeface="+mn-cs"/>
        </a:defRPr>
      </a:lvl2pPr>
      <a:lvl3pPr marL="796517" marR="0" indent="-224861" algn="l" defTabSz="912078" rtl="0" eaLnBrk="1" fontAlgn="auto" latinLnBrk="0" hangingPunct="1">
        <a:lnSpc>
          <a:spcPct val="90000"/>
        </a:lnSpc>
        <a:spcBef>
          <a:spcPct val="20000"/>
        </a:spcBef>
        <a:spcAft>
          <a:spcPts val="0"/>
        </a:spcAft>
        <a:buClrTx/>
        <a:buSzPct val="90000"/>
        <a:buFont typeface="Wingdings" pitchFamily="2" charset="2"/>
        <a:buChar char=""/>
        <a:tabLst>
          <a:tab pos="796517" algn="l"/>
        </a:tabLst>
        <a:defRPr sz="2394" kern="1200" spc="0" baseline="0">
          <a:gradFill>
            <a:gsLst>
              <a:gs pos="1250">
                <a:schemeClr val="bg2"/>
              </a:gs>
              <a:gs pos="100000">
                <a:schemeClr val="bg2"/>
              </a:gs>
            </a:gsLst>
            <a:lin ang="5400000" scaled="0"/>
          </a:gradFill>
          <a:latin typeface="+mn-lt"/>
          <a:ea typeface="+mn-ea"/>
          <a:cs typeface="+mn-cs"/>
        </a:defRPr>
      </a:lvl3pPr>
      <a:lvl4pPr marL="1027713" marR="0" indent="-231195" algn="l" defTabSz="912078" rtl="0" eaLnBrk="1" fontAlgn="auto" latinLnBrk="0" hangingPunct="1">
        <a:lnSpc>
          <a:spcPct val="90000"/>
        </a:lnSpc>
        <a:spcBef>
          <a:spcPct val="20000"/>
        </a:spcBef>
        <a:spcAft>
          <a:spcPts val="0"/>
        </a:spcAft>
        <a:buClrTx/>
        <a:buSzPct val="90000"/>
        <a:buFont typeface="Wingdings" pitchFamily="2" charset="2"/>
        <a:buChar char=""/>
        <a:tabLst/>
        <a:defRPr sz="1995" kern="1200" spc="0" baseline="0">
          <a:gradFill>
            <a:gsLst>
              <a:gs pos="1250">
                <a:schemeClr val="bg2"/>
              </a:gs>
              <a:gs pos="100000">
                <a:schemeClr val="bg2"/>
              </a:gs>
            </a:gsLst>
            <a:lin ang="5400000" scaled="0"/>
          </a:gradFill>
          <a:latin typeface="+mn-lt"/>
          <a:ea typeface="+mn-ea"/>
          <a:cs typeface="+mn-cs"/>
        </a:defRPr>
      </a:lvl4pPr>
      <a:lvl5pPr marL="1252574" marR="0" indent="-224861" algn="l" defTabSz="912078" rtl="0" eaLnBrk="1" fontAlgn="auto" latinLnBrk="0" hangingPunct="1">
        <a:lnSpc>
          <a:spcPct val="90000"/>
        </a:lnSpc>
        <a:spcBef>
          <a:spcPct val="20000"/>
        </a:spcBef>
        <a:spcAft>
          <a:spcPts val="0"/>
        </a:spcAft>
        <a:buClrTx/>
        <a:buSzPct val="90000"/>
        <a:buFont typeface="Wingdings" pitchFamily="2" charset="2"/>
        <a:buChar char=""/>
        <a:tabLst>
          <a:tab pos="1252574" algn="l"/>
        </a:tabLst>
        <a:defRPr sz="1995" kern="1200" spc="0" baseline="0">
          <a:gradFill>
            <a:gsLst>
              <a:gs pos="1250">
                <a:schemeClr val="bg2"/>
              </a:gs>
              <a:gs pos="100000">
                <a:schemeClr val="bg2"/>
              </a:gs>
            </a:gsLst>
            <a:lin ang="5400000" scaled="0"/>
          </a:gradFill>
          <a:latin typeface="+mn-lt"/>
          <a:ea typeface="+mn-ea"/>
          <a:cs typeface="+mn-cs"/>
        </a:defRPr>
      </a:lvl5pPr>
      <a:lvl6pPr marL="2508215" indent="-228019" algn="l" defTabSz="912078" rtl="0" eaLnBrk="1" latinLnBrk="0" hangingPunct="1">
        <a:spcBef>
          <a:spcPct val="20000"/>
        </a:spcBef>
        <a:buFont typeface="Arial" pitchFamily="34" charset="0"/>
        <a:buChar char="•"/>
        <a:defRPr sz="1995" kern="1200">
          <a:solidFill>
            <a:schemeClr val="tx1"/>
          </a:solidFill>
          <a:latin typeface="+mn-lt"/>
          <a:ea typeface="+mn-ea"/>
          <a:cs typeface="+mn-cs"/>
        </a:defRPr>
      </a:lvl6pPr>
      <a:lvl7pPr marL="2964253" indent="-228019" algn="l" defTabSz="912078" rtl="0" eaLnBrk="1" latinLnBrk="0" hangingPunct="1">
        <a:spcBef>
          <a:spcPct val="20000"/>
        </a:spcBef>
        <a:buFont typeface="Arial" pitchFamily="34" charset="0"/>
        <a:buChar char="•"/>
        <a:defRPr sz="1995" kern="1200">
          <a:solidFill>
            <a:schemeClr val="tx1"/>
          </a:solidFill>
          <a:latin typeface="+mn-lt"/>
          <a:ea typeface="+mn-ea"/>
          <a:cs typeface="+mn-cs"/>
        </a:defRPr>
      </a:lvl7pPr>
      <a:lvl8pPr marL="3420293" indent="-228019" algn="l" defTabSz="912078" rtl="0" eaLnBrk="1" latinLnBrk="0" hangingPunct="1">
        <a:spcBef>
          <a:spcPct val="20000"/>
        </a:spcBef>
        <a:buFont typeface="Arial" pitchFamily="34" charset="0"/>
        <a:buChar char="•"/>
        <a:defRPr sz="1995" kern="1200">
          <a:solidFill>
            <a:schemeClr val="tx1"/>
          </a:solidFill>
          <a:latin typeface="+mn-lt"/>
          <a:ea typeface="+mn-ea"/>
          <a:cs typeface="+mn-cs"/>
        </a:defRPr>
      </a:lvl8pPr>
      <a:lvl9pPr marL="3876332" indent="-228019" algn="l" defTabSz="912078" rtl="0" eaLnBrk="1" latinLnBrk="0" hangingPunct="1">
        <a:spcBef>
          <a:spcPct val="20000"/>
        </a:spcBef>
        <a:buFont typeface="Arial" pitchFamily="34" charset="0"/>
        <a:buChar char="•"/>
        <a:defRPr sz="1995" kern="1200">
          <a:solidFill>
            <a:schemeClr val="tx1"/>
          </a:solidFill>
          <a:latin typeface="+mn-lt"/>
          <a:ea typeface="+mn-ea"/>
          <a:cs typeface="+mn-cs"/>
        </a:defRPr>
      </a:lvl9pPr>
    </p:bodyStyle>
    <p:otherStyle>
      <a:defPPr>
        <a:defRPr lang="en-US"/>
      </a:defPPr>
      <a:lvl1pPr marL="0" algn="l" defTabSz="912078" rtl="0" eaLnBrk="1" latinLnBrk="0" hangingPunct="1">
        <a:defRPr sz="1795" kern="1200">
          <a:solidFill>
            <a:schemeClr val="tx1"/>
          </a:solidFill>
          <a:latin typeface="+mn-lt"/>
          <a:ea typeface="+mn-ea"/>
          <a:cs typeface="+mn-cs"/>
        </a:defRPr>
      </a:lvl1pPr>
      <a:lvl2pPr marL="456040" algn="l" defTabSz="912078" rtl="0" eaLnBrk="1" latinLnBrk="0" hangingPunct="1">
        <a:defRPr sz="1795" kern="1200">
          <a:solidFill>
            <a:schemeClr val="tx1"/>
          </a:solidFill>
          <a:latin typeface="+mn-lt"/>
          <a:ea typeface="+mn-ea"/>
          <a:cs typeface="+mn-cs"/>
        </a:defRPr>
      </a:lvl2pPr>
      <a:lvl3pPr marL="912078" algn="l" defTabSz="912078" rtl="0" eaLnBrk="1" latinLnBrk="0" hangingPunct="1">
        <a:defRPr sz="1795" kern="1200">
          <a:solidFill>
            <a:schemeClr val="tx1"/>
          </a:solidFill>
          <a:latin typeface="+mn-lt"/>
          <a:ea typeface="+mn-ea"/>
          <a:cs typeface="+mn-cs"/>
        </a:defRPr>
      </a:lvl3pPr>
      <a:lvl4pPr marL="1368118" algn="l" defTabSz="912078" rtl="0" eaLnBrk="1" latinLnBrk="0" hangingPunct="1">
        <a:defRPr sz="1795" kern="1200">
          <a:solidFill>
            <a:schemeClr val="tx1"/>
          </a:solidFill>
          <a:latin typeface="+mn-lt"/>
          <a:ea typeface="+mn-ea"/>
          <a:cs typeface="+mn-cs"/>
        </a:defRPr>
      </a:lvl4pPr>
      <a:lvl5pPr marL="1824156" algn="l" defTabSz="912078" rtl="0" eaLnBrk="1" latinLnBrk="0" hangingPunct="1">
        <a:defRPr sz="1795" kern="1200">
          <a:solidFill>
            <a:schemeClr val="tx1"/>
          </a:solidFill>
          <a:latin typeface="+mn-lt"/>
          <a:ea typeface="+mn-ea"/>
          <a:cs typeface="+mn-cs"/>
        </a:defRPr>
      </a:lvl5pPr>
      <a:lvl6pPr marL="2280196" algn="l" defTabSz="912078" rtl="0" eaLnBrk="1" latinLnBrk="0" hangingPunct="1">
        <a:defRPr sz="1795" kern="1200">
          <a:solidFill>
            <a:schemeClr val="tx1"/>
          </a:solidFill>
          <a:latin typeface="+mn-lt"/>
          <a:ea typeface="+mn-ea"/>
          <a:cs typeface="+mn-cs"/>
        </a:defRPr>
      </a:lvl6pPr>
      <a:lvl7pPr marL="2736234" algn="l" defTabSz="912078" rtl="0" eaLnBrk="1" latinLnBrk="0" hangingPunct="1">
        <a:defRPr sz="1795" kern="1200">
          <a:solidFill>
            <a:schemeClr val="tx1"/>
          </a:solidFill>
          <a:latin typeface="+mn-lt"/>
          <a:ea typeface="+mn-ea"/>
          <a:cs typeface="+mn-cs"/>
        </a:defRPr>
      </a:lvl7pPr>
      <a:lvl8pPr marL="3192274" algn="l" defTabSz="912078" rtl="0" eaLnBrk="1" latinLnBrk="0" hangingPunct="1">
        <a:defRPr sz="1795" kern="1200">
          <a:solidFill>
            <a:schemeClr val="tx1"/>
          </a:solidFill>
          <a:latin typeface="+mn-lt"/>
          <a:ea typeface="+mn-ea"/>
          <a:cs typeface="+mn-cs"/>
        </a:defRPr>
      </a:lvl8pPr>
      <a:lvl9pPr marL="3648313" algn="l" defTabSz="912078" rtl="0" eaLnBrk="1" latinLnBrk="0" hangingPunct="1">
        <a:defRPr sz="1795"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BFBFB"/>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51950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1"/>
            <a:ext cx="11149012" cy="1500667"/>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Date Placeholder 3"/>
          <p:cNvSpPr txBox="1">
            <a:spLocks/>
          </p:cNvSpPr>
          <p:nvPr/>
        </p:nvSpPr>
        <p:spPr>
          <a:xfrm>
            <a:off x="8610768" y="6647317"/>
            <a:ext cx="3245524" cy="210251"/>
          </a:xfrm>
          <a:prstGeom prst="rect">
            <a:avLst/>
          </a:prstGeom>
        </p:spPr>
        <p:txBody>
          <a:bodyPr lIns="0" tIns="0" rIns="0" bIns="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600" dirty="0">
                <a:solidFill>
                  <a:srgbClr val="000000">
                    <a:lumMod val="65000"/>
                    <a:lumOff val="35000"/>
                  </a:srgbClr>
                </a:solidFill>
              </a:rPr>
              <a:t>Copyright© </a:t>
            </a:r>
            <a:r>
              <a:rPr lang="en-US" sz="600" dirty="0" smtClean="0">
                <a:solidFill>
                  <a:srgbClr val="000000">
                    <a:lumMod val="65000"/>
                    <a:lumOff val="35000"/>
                  </a:srgbClr>
                </a:solidFill>
              </a:rPr>
              <a:t>2012 </a:t>
            </a:r>
            <a:r>
              <a:rPr lang="en-US" sz="600" dirty="0">
                <a:solidFill>
                  <a:srgbClr val="000000">
                    <a:lumMod val="65000"/>
                    <a:lumOff val="35000"/>
                  </a:srgbClr>
                </a:solidFill>
              </a:rPr>
              <a:t>Microsoft Corporation</a:t>
            </a:r>
          </a:p>
        </p:txBody>
      </p:sp>
    </p:spTree>
    <p:extLst>
      <p:ext uri="{BB962C8B-B14F-4D97-AF65-F5344CB8AC3E}">
        <p14:creationId xmlns:p14="http://schemas.microsoft.com/office/powerpoint/2010/main" val="965106578"/>
      </p:ext>
    </p:extLst>
  </p:cSld>
  <p:clrMap bg1="lt1" tx1="dk1" bg2="lt2" tx2="dk2" accent1="accent1" accent2="accent2" accent3="accent3" accent4="accent4" accent5="accent5" accent6="accent6" hlink="hlink" folHlink="folHlink"/>
  <p:sldLayoutIdLst>
    <p:sldLayoutId id="2147484290" r:id="rId1"/>
    <p:sldLayoutId id="2147484291" r:id="rId2"/>
    <p:sldLayoutId id="2147484292" r:id="rId3"/>
    <p:sldLayoutId id="2147484293" r:id="rId4"/>
    <p:sldLayoutId id="2147484294" r:id="rId5"/>
    <p:sldLayoutId id="2147484295" r:id="rId6"/>
    <p:sldLayoutId id="2147484296" r:id="rId7"/>
    <p:sldLayoutId id="2147484297" r:id="rId8"/>
    <p:sldLayoutId id="2147484298" r:id="rId9"/>
  </p:sldLayoutIdLst>
  <p:transition>
    <p:fade/>
  </p:transition>
  <p:timing>
    <p:tnLst>
      <p:par>
        <p:cTn id="1" dur="indefinite" restart="never" nodeType="tmRoot"/>
      </p:par>
    </p:tnLst>
  </p:timing>
  <p:txStyles>
    <p:titleStyle>
      <a:lvl1pPr algn="l" defTabSz="685955" rtl="0" eaLnBrk="1" latinLnBrk="0" hangingPunct="1">
        <a:lnSpc>
          <a:spcPct val="90000"/>
        </a:lnSpc>
        <a:spcBef>
          <a:spcPct val="0"/>
        </a:spcBef>
        <a:buNone/>
        <a:defRPr lang="en-US" sz="3751" b="0" kern="1200" cap="none" spc="-75"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Pro Light" pitchFamily="34" charset="0"/>
          <a:ea typeface="+mn-ea"/>
          <a:cs typeface="Arial" charset="0"/>
        </a:defRPr>
      </a:lvl1pPr>
    </p:titleStyle>
    <p:bodyStyle>
      <a:lvl1pPr marL="259625" indent="-259625" algn="l" defTabSz="685955" rtl="0" eaLnBrk="1" latinLnBrk="0" hangingPunct="1">
        <a:lnSpc>
          <a:spcPct val="90000"/>
        </a:lnSpc>
        <a:spcBef>
          <a:spcPct val="20000"/>
        </a:spcBef>
        <a:buSzPct val="90000"/>
        <a:buFont typeface="Arial" pitchFamily="34" charset="0"/>
        <a:buChar char="•"/>
        <a:defRPr sz="2401"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472805" indent="-213179" algn="l" defTabSz="685955" rtl="0" eaLnBrk="1" latinLnBrk="0" hangingPunct="1">
        <a:lnSpc>
          <a:spcPct val="90000"/>
        </a:lnSpc>
        <a:spcBef>
          <a:spcPct val="20000"/>
        </a:spcBef>
        <a:buSzPct val="90000"/>
        <a:buFont typeface="Arial" pitchFamily="34" charset="0"/>
        <a:buChar char="•"/>
        <a:tabLst>
          <a:tab pos="472805" algn="l"/>
        </a:tabLst>
        <a:defRPr sz="2101"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685983" indent="-213179" algn="l" defTabSz="685955" rtl="0" eaLnBrk="1" latinLnBrk="0" hangingPunct="1">
        <a:lnSpc>
          <a:spcPct val="90000"/>
        </a:lnSpc>
        <a:spcBef>
          <a:spcPct val="20000"/>
        </a:spcBef>
        <a:buSzPct val="90000"/>
        <a:buFont typeface="Arial" pitchFamily="34" charset="0"/>
        <a:buChar char="•"/>
        <a:defRPr sz="1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112340" indent="-167923" algn="l" defTabSz="685955" rtl="0" eaLnBrk="1" latinLnBrk="0" hangingPunct="1">
        <a:lnSpc>
          <a:spcPct val="90000"/>
        </a:lnSpc>
        <a:spcBef>
          <a:spcPct val="20000"/>
        </a:spcBef>
        <a:buSzPct val="90000"/>
        <a:buFont typeface="Arial" pitchFamily="34" charset="0"/>
        <a:buChar char="•"/>
        <a:tabLst>
          <a:tab pos="685983" algn="l"/>
        </a:tabLst>
        <a:defRPr sz="15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285027" indent="-172687" algn="l" defTabSz="685955" rtl="0" eaLnBrk="1" latinLnBrk="0" hangingPunct="1">
        <a:lnSpc>
          <a:spcPct val="90000"/>
        </a:lnSpc>
        <a:spcBef>
          <a:spcPct val="20000"/>
        </a:spcBef>
        <a:buSzPct val="90000"/>
        <a:buFont typeface="Arial" pitchFamily="34" charset="0"/>
        <a:buChar char="•"/>
        <a:defRPr sz="15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1886377"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355"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333"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311"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955" rtl="0" eaLnBrk="1" latinLnBrk="0" hangingPunct="1">
        <a:defRPr sz="1350" kern="1200">
          <a:solidFill>
            <a:schemeClr val="tx1"/>
          </a:solidFill>
          <a:latin typeface="+mn-lt"/>
          <a:ea typeface="+mn-ea"/>
          <a:cs typeface="+mn-cs"/>
        </a:defRPr>
      </a:lvl1pPr>
      <a:lvl2pPr marL="342978" algn="l" defTabSz="685955" rtl="0" eaLnBrk="1" latinLnBrk="0" hangingPunct="1">
        <a:defRPr sz="1350" kern="1200">
          <a:solidFill>
            <a:schemeClr val="tx1"/>
          </a:solidFill>
          <a:latin typeface="+mn-lt"/>
          <a:ea typeface="+mn-ea"/>
          <a:cs typeface="+mn-cs"/>
        </a:defRPr>
      </a:lvl2pPr>
      <a:lvl3pPr marL="685955" algn="l" defTabSz="685955" rtl="0" eaLnBrk="1" latinLnBrk="0" hangingPunct="1">
        <a:defRPr sz="1350" kern="1200">
          <a:solidFill>
            <a:schemeClr val="tx1"/>
          </a:solidFill>
          <a:latin typeface="+mn-lt"/>
          <a:ea typeface="+mn-ea"/>
          <a:cs typeface="+mn-cs"/>
        </a:defRPr>
      </a:lvl3pPr>
      <a:lvl4pPr marL="1028933" algn="l" defTabSz="685955" rtl="0" eaLnBrk="1" latinLnBrk="0" hangingPunct="1">
        <a:defRPr sz="1350" kern="1200">
          <a:solidFill>
            <a:schemeClr val="tx1"/>
          </a:solidFill>
          <a:latin typeface="+mn-lt"/>
          <a:ea typeface="+mn-ea"/>
          <a:cs typeface="+mn-cs"/>
        </a:defRPr>
      </a:lvl4pPr>
      <a:lvl5pPr marL="1371911" algn="l" defTabSz="685955" rtl="0" eaLnBrk="1" latinLnBrk="0" hangingPunct="1">
        <a:defRPr sz="1350" kern="1200">
          <a:solidFill>
            <a:schemeClr val="tx1"/>
          </a:solidFill>
          <a:latin typeface="+mn-lt"/>
          <a:ea typeface="+mn-ea"/>
          <a:cs typeface="+mn-cs"/>
        </a:defRPr>
      </a:lvl5pPr>
      <a:lvl6pPr marL="1714889" algn="l" defTabSz="685955" rtl="0" eaLnBrk="1" latinLnBrk="0" hangingPunct="1">
        <a:defRPr sz="1350" kern="1200">
          <a:solidFill>
            <a:schemeClr val="tx1"/>
          </a:solidFill>
          <a:latin typeface="+mn-lt"/>
          <a:ea typeface="+mn-ea"/>
          <a:cs typeface="+mn-cs"/>
        </a:defRPr>
      </a:lvl6pPr>
      <a:lvl7pPr marL="2057866" algn="l" defTabSz="685955" rtl="0" eaLnBrk="1" latinLnBrk="0" hangingPunct="1">
        <a:defRPr sz="1350" kern="1200">
          <a:solidFill>
            <a:schemeClr val="tx1"/>
          </a:solidFill>
          <a:latin typeface="+mn-lt"/>
          <a:ea typeface="+mn-ea"/>
          <a:cs typeface="+mn-cs"/>
        </a:defRPr>
      </a:lvl7pPr>
      <a:lvl8pPr marL="2400844" algn="l" defTabSz="685955" rtl="0" eaLnBrk="1" latinLnBrk="0" hangingPunct="1">
        <a:defRPr sz="1350" kern="1200">
          <a:solidFill>
            <a:schemeClr val="tx1"/>
          </a:solidFill>
          <a:latin typeface="+mn-lt"/>
          <a:ea typeface="+mn-ea"/>
          <a:cs typeface="+mn-cs"/>
        </a:defRPr>
      </a:lvl8pPr>
      <a:lvl9pPr marL="2743822" algn="l" defTabSz="685955"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4" y="228606"/>
            <a:ext cx="11149013" cy="519501"/>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1380506"/>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60488875"/>
      </p:ext>
    </p:extLst>
  </p:cSld>
  <p:clrMap bg1="lt1" tx1="dk1" bg2="lt2" tx2="dk2" accent1="accent1" accent2="accent2" accent3="accent3" accent4="accent4" accent5="accent5" accent6="accent6" hlink="hlink" folHlink="folHlink"/>
  <p:sldLayoutIdLst>
    <p:sldLayoutId id="2147484301" r:id="rId1"/>
    <p:sldLayoutId id="2147484302" r:id="rId2"/>
    <p:sldLayoutId id="2147484303" r:id="rId3"/>
    <p:sldLayoutId id="2147484304" r:id="rId4"/>
    <p:sldLayoutId id="2147484305" r:id="rId5"/>
    <p:sldLayoutId id="2147484306" r:id="rId6"/>
    <p:sldLayoutId id="2147484307" r:id="rId7"/>
    <p:sldLayoutId id="2147484308" r:id="rId8"/>
    <p:sldLayoutId id="2147484309" r:id="rId9"/>
    <p:sldLayoutId id="2147484310" r:id="rId10"/>
    <p:sldLayoutId id="2147484311" r:id="rId11"/>
  </p:sldLayoutIdLst>
  <p:transition>
    <p:fade/>
  </p:transition>
  <p:timing>
    <p:tnLst>
      <p:par>
        <p:cTn id="1" dur="indefinite" restart="never" nodeType="tmRoot"/>
      </p:par>
    </p:tnLst>
  </p:timing>
  <p:txStyles>
    <p:titleStyle>
      <a:lvl1pPr algn="l" defTabSz="685955" rtl="0" eaLnBrk="1" latinLnBrk="0" hangingPunct="1">
        <a:lnSpc>
          <a:spcPct val="90000"/>
        </a:lnSpc>
        <a:spcBef>
          <a:spcPct val="0"/>
        </a:spcBef>
        <a:buNone/>
        <a:defRPr lang="en-US" sz="3751" b="0" kern="1200" cap="none" spc="-75" baseline="0" dirty="0" smtClean="0">
          <a:ln w="3175">
            <a:noFill/>
          </a:ln>
          <a:solidFill>
            <a:schemeClr val="tx2"/>
          </a:solidFill>
          <a:effectLst/>
          <a:latin typeface="Segoe Pro Light" pitchFamily="34" charset="0"/>
          <a:ea typeface="+mn-ea"/>
          <a:cs typeface="Arial" charset="0"/>
        </a:defRPr>
      </a:lvl1pPr>
    </p:titleStyle>
    <p:bodyStyle>
      <a:lvl1pPr marL="0" indent="0" algn="l" defTabSz="685955" rtl="0" eaLnBrk="1" latinLnBrk="0" hangingPunct="1">
        <a:lnSpc>
          <a:spcPct val="90000"/>
        </a:lnSpc>
        <a:spcBef>
          <a:spcPct val="20000"/>
        </a:spcBef>
        <a:buSzPct val="90000"/>
        <a:buFont typeface="Arial" pitchFamily="34" charset="0"/>
        <a:buNone/>
        <a:defRPr sz="3001" kern="1200" spc="-75" baseline="0">
          <a:solidFill>
            <a:schemeClr val="tx2"/>
          </a:solidFill>
          <a:latin typeface="Segoe Pro Light" pitchFamily="34" charset="0"/>
          <a:ea typeface="+mn-ea"/>
          <a:cs typeface="+mn-cs"/>
        </a:defRPr>
      </a:lvl1pPr>
      <a:lvl2pPr marL="0" indent="0" algn="l" defTabSz="685955" rtl="0" eaLnBrk="1" latinLnBrk="0" hangingPunct="1">
        <a:lnSpc>
          <a:spcPct val="90000"/>
        </a:lnSpc>
        <a:spcBef>
          <a:spcPct val="20000"/>
        </a:spcBef>
        <a:buSzPct val="90000"/>
        <a:buFont typeface="Arial" pitchFamily="34" charset="0"/>
        <a:buNone/>
        <a:tabLst>
          <a:tab pos="472805" algn="l"/>
        </a:tabLst>
        <a:defRPr sz="1500" kern="1200" spc="-53" baseline="0">
          <a:solidFill>
            <a:schemeClr val="tx2"/>
          </a:solidFill>
          <a:latin typeface="Segoe Pro" pitchFamily="34" charset="0"/>
          <a:ea typeface="+mn-ea"/>
          <a:cs typeface="+mn-cs"/>
        </a:defRPr>
      </a:lvl2pPr>
      <a:lvl3pPr marL="0" indent="0" algn="l" defTabSz="685955" rtl="0" eaLnBrk="1" latinLnBrk="0" hangingPunct="1">
        <a:lnSpc>
          <a:spcPct val="90000"/>
        </a:lnSpc>
        <a:spcBef>
          <a:spcPct val="20000"/>
        </a:spcBef>
        <a:buSzPct val="90000"/>
        <a:buFont typeface="Arial" pitchFamily="34" charset="0"/>
        <a:buNone/>
        <a:tabLst/>
        <a:defRPr sz="1200" kern="1200" spc="-53" baseline="0">
          <a:solidFill>
            <a:schemeClr val="tx2"/>
          </a:solidFill>
          <a:latin typeface="Segoe Pro" pitchFamily="34" charset="0"/>
          <a:ea typeface="+mn-ea"/>
          <a:cs typeface="+mn-cs"/>
        </a:defRPr>
      </a:lvl3pPr>
      <a:lvl4pPr marL="944417" indent="0" algn="l" defTabSz="685955" rtl="0" eaLnBrk="1" latinLnBrk="0" hangingPunct="1">
        <a:lnSpc>
          <a:spcPct val="90000"/>
        </a:lnSpc>
        <a:spcBef>
          <a:spcPct val="20000"/>
        </a:spcBef>
        <a:buSzPct val="90000"/>
        <a:buFont typeface="Arial" pitchFamily="34" charset="0"/>
        <a:buNone/>
        <a:tabLst>
          <a:tab pos="685983" algn="l"/>
        </a:tabLst>
        <a:defRPr sz="1500" kern="1200">
          <a:solidFill>
            <a:schemeClr val="tx2"/>
          </a:solidFill>
          <a:latin typeface="Segoe Pro" pitchFamily="34" charset="0"/>
          <a:ea typeface="+mn-ea"/>
          <a:cs typeface="+mn-cs"/>
        </a:defRPr>
      </a:lvl4pPr>
      <a:lvl5pPr marL="1112340" indent="0" algn="l" defTabSz="685955" rtl="0" eaLnBrk="1" latinLnBrk="0" hangingPunct="1">
        <a:lnSpc>
          <a:spcPct val="90000"/>
        </a:lnSpc>
        <a:spcBef>
          <a:spcPct val="20000"/>
        </a:spcBef>
        <a:buSzPct val="90000"/>
        <a:buFont typeface="Arial" pitchFamily="34" charset="0"/>
        <a:buNone/>
        <a:defRPr sz="1500" kern="1200">
          <a:solidFill>
            <a:schemeClr val="tx2"/>
          </a:solidFill>
          <a:latin typeface="Segoe Pro" pitchFamily="34" charset="0"/>
          <a:ea typeface="+mn-ea"/>
          <a:cs typeface="+mn-cs"/>
        </a:defRPr>
      </a:lvl5pPr>
      <a:lvl6pPr marL="1886377"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355"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333"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311" indent="-171489" algn="l" defTabSz="685955"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955" rtl="0" eaLnBrk="1" latinLnBrk="0" hangingPunct="1">
        <a:defRPr sz="1350" kern="1200">
          <a:solidFill>
            <a:schemeClr val="tx1"/>
          </a:solidFill>
          <a:latin typeface="+mn-lt"/>
          <a:ea typeface="+mn-ea"/>
          <a:cs typeface="+mn-cs"/>
        </a:defRPr>
      </a:lvl1pPr>
      <a:lvl2pPr marL="342978" algn="l" defTabSz="685955" rtl="0" eaLnBrk="1" latinLnBrk="0" hangingPunct="1">
        <a:defRPr sz="1350" kern="1200">
          <a:solidFill>
            <a:schemeClr val="tx1"/>
          </a:solidFill>
          <a:latin typeface="+mn-lt"/>
          <a:ea typeface="+mn-ea"/>
          <a:cs typeface="+mn-cs"/>
        </a:defRPr>
      </a:lvl2pPr>
      <a:lvl3pPr marL="685955" algn="l" defTabSz="685955" rtl="0" eaLnBrk="1" latinLnBrk="0" hangingPunct="1">
        <a:defRPr sz="1350" kern="1200">
          <a:solidFill>
            <a:schemeClr val="tx1"/>
          </a:solidFill>
          <a:latin typeface="+mn-lt"/>
          <a:ea typeface="+mn-ea"/>
          <a:cs typeface="+mn-cs"/>
        </a:defRPr>
      </a:lvl3pPr>
      <a:lvl4pPr marL="1028933" algn="l" defTabSz="685955" rtl="0" eaLnBrk="1" latinLnBrk="0" hangingPunct="1">
        <a:defRPr sz="1350" kern="1200">
          <a:solidFill>
            <a:schemeClr val="tx1"/>
          </a:solidFill>
          <a:latin typeface="+mn-lt"/>
          <a:ea typeface="+mn-ea"/>
          <a:cs typeface="+mn-cs"/>
        </a:defRPr>
      </a:lvl4pPr>
      <a:lvl5pPr marL="1371911" algn="l" defTabSz="685955" rtl="0" eaLnBrk="1" latinLnBrk="0" hangingPunct="1">
        <a:defRPr sz="1350" kern="1200">
          <a:solidFill>
            <a:schemeClr val="tx1"/>
          </a:solidFill>
          <a:latin typeface="+mn-lt"/>
          <a:ea typeface="+mn-ea"/>
          <a:cs typeface="+mn-cs"/>
        </a:defRPr>
      </a:lvl5pPr>
      <a:lvl6pPr marL="1714889" algn="l" defTabSz="685955" rtl="0" eaLnBrk="1" latinLnBrk="0" hangingPunct="1">
        <a:defRPr sz="1350" kern="1200">
          <a:solidFill>
            <a:schemeClr val="tx1"/>
          </a:solidFill>
          <a:latin typeface="+mn-lt"/>
          <a:ea typeface="+mn-ea"/>
          <a:cs typeface="+mn-cs"/>
        </a:defRPr>
      </a:lvl6pPr>
      <a:lvl7pPr marL="2057866" algn="l" defTabSz="685955" rtl="0" eaLnBrk="1" latinLnBrk="0" hangingPunct="1">
        <a:defRPr sz="1350" kern="1200">
          <a:solidFill>
            <a:schemeClr val="tx1"/>
          </a:solidFill>
          <a:latin typeface="+mn-lt"/>
          <a:ea typeface="+mn-ea"/>
          <a:cs typeface="+mn-cs"/>
        </a:defRPr>
      </a:lvl7pPr>
      <a:lvl8pPr marL="2400844" algn="l" defTabSz="685955" rtl="0" eaLnBrk="1" latinLnBrk="0" hangingPunct="1">
        <a:defRPr sz="1350" kern="1200">
          <a:solidFill>
            <a:schemeClr val="tx1"/>
          </a:solidFill>
          <a:latin typeface="+mn-lt"/>
          <a:ea typeface="+mn-ea"/>
          <a:cs typeface="+mn-cs"/>
        </a:defRPr>
      </a:lvl8pPr>
      <a:lvl9pPr marL="2743822" algn="l" defTabSz="685955"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4"/>
            <a:ext cx="11149013" cy="747897"/>
          </a:xfrm>
          <a:prstGeom prst="rect">
            <a:avLst/>
          </a:prstGeom>
        </p:spPr>
        <p:txBody>
          <a:bodyPr vert="horz" wrap="square" lIns="0" tIns="0" rIns="0" bIns="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520701" y="1447804"/>
            <a:ext cx="11152188" cy="2055947"/>
          </a:xfrm>
          <a:prstGeom prst="rect">
            <a:avLst/>
          </a:prstGeom>
        </p:spPr>
        <p:txBody>
          <a:bodyPr vert="horz" lIns="0" tIns="0" rIns="0" bIns="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76007487"/>
      </p:ext>
    </p:extLst>
  </p:cSld>
  <p:clrMap bg1="lt1" tx1="dk1" bg2="lt2" tx2="dk2" accent1="accent1" accent2="accent2" accent3="accent3" accent4="accent4" accent5="accent5" accent6="accent6" hlink="hlink" folHlink="folHlink"/>
  <p:sldLayoutIdLst>
    <p:sldLayoutId id="2147484313" r:id="rId1"/>
    <p:sldLayoutId id="2147484314" r:id="rId2"/>
    <p:sldLayoutId id="2147484315" r:id="rId3"/>
    <p:sldLayoutId id="2147484316" r:id="rId4"/>
    <p:sldLayoutId id="2147484317" r:id="rId5"/>
    <p:sldLayoutId id="2147484318" r:id="rId6"/>
    <p:sldLayoutId id="2147484319" r:id="rId7"/>
    <p:sldLayoutId id="2147484320" r:id="rId8"/>
    <p:sldLayoutId id="2147484321" r:id="rId9"/>
    <p:sldLayoutId id="2147484322" r:id="rId10"/>
    <p:sldLayoutId id="2147484323" r:id="rId11"/>
    <p:sldLayoutId id="2147484324" r:id="rId12"/>
    <p:sldLayoutId id="2147484325" r:id="rId13"/>
    <p:sldLayoutId id="2147484326" r:id="rId14"/>
    <p:sldLayoutId id="2147484327" r:id="rId15"/>
    <p:sldLayoutId id="2147484328" r:id="rId16"/>
    <p:sldLayoutId id="2147484329" r:id="rId17"/>
    <p:sldLayoutId id="2147484330" r:id="rId18"/>
    <p:sldLayoutId id="2147484331" r:id="rId19"/>
    <p:sldLayoutId id="2147484332" r:id="rId20"/>
    <p:sldLayoutId id="2147484333" r:id="rId21"/>
    <p:sldLayoutId id="2147484334" r:id="rId22"/>
    <p:sldLayoutId id="2147484335" r:id="rId23"/>
    <p:sldLayoutId id="2147484336" r:id="rId24"/>
    <p:sldLayoutId id="2147484337" r:id="rId25"/>
    <p:sldLayoutId id="2147484338" r:id="rId26"/>
    <p:sldLayoutId id="2147484339" r:id="rId27"/>
    <p:sldLayoutId id="2147484340" r:id="rId28"/>
    <p:sldLayoutId id="2147484341" r:id="rId29"/>
    <p:sldLayoutId id="2147484342" r:id="rId30"/>
    <p:sldLayoutId id="2147484343" r:id="rId31"/>
  </p:sldLayoutIdLst>
  <p:transition>
    <p:fade/>
  </p:transition>
  <p:timing>
    <p:tnLst>
      <p:par>
        <p:cTn id="1" dur="indefinite" restart="never" nodeType="tmRoot"/>
      </p:par>
    </p:tnLst>
  </p:timing>
  <p:txStyles>
    <p:titleStyle>
      <a:lvl1pPr algn="l" defTabSz="912078" rtl="0" eaLnBrk="1" latinLnBrk="0" hangingPunct="1">
        <a:lnSpc>
          <a:spcPct val="90000"/>
        </a:lnSpc>
        <a:spcBef>
          <a:spcPct val="0"/>
        </a:spcBef>
        <a:buNone/>
        <a:defRPr lang="en-US" sz="5386"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38876" marR="0" indent="-338876" algn="l" defTabSz="912078" rtl="0" eaLnBrk="1" fontAlgn="auto" latinLnBrk="0" hangingPunct="1">
        <a:lnSpc>
          <a:spcPct val="90000"/>
        </a:lnSpc>
        <a:spcBef>
          <a:spcPct val="20000"/>
        </a:spcBef>
        <a:spcAft>
          <a:spcPts val="0"/>
        </a:spcAft>
        <a:buClrTx/>
        <a:buSzPct val="80000"/>
        <a:buFont typeface="Arial" pitchFamily="34" charset="0"/>
        <a:buChar char="•"/>
        <a:tabLst/>
        <a:defRPr sz="3591" kern="1200" spc="-70" baseline="0">
          <a:gradFill>
            <a:gsLst>
              <a:gs pos="1250">
                <a:schemeClr val="bg2"/>
              </a:gs>
              <a:gs pos="100000">
                <a:schemeClr val="bg2"/>
              </a:gs>
            </a:gsLst>
            <a:lin ang="5400000" scaled="0"/>
          </a:gradFill>
          <a:latin typeface="+mj-lt"/>
          <a:ea typeface="+mn-ea"/>
          <a:cs typeface="+mn-cs"/>
        </a:defRPr>
      </a:lvl1pPr>
      <a:lvl2pPr marL="571656" marR="0" indent="-232780" algn="l" defTabSz="912078" rtl="0" eaLnBrk="1" fontAlgn="auto" latinLnBrk="0" hangingPunct="1">
        <a:lnSpc>
          <a:spcPct val="90000"/>
        </a:lnSpc>
        <a:spcBef>
          <a:spcPct val="20000"/>
        </a:spcBef>
        <a:spcAft>
          <a:spcPts val="0"/>
        </a:spcAft>
        <a:buClrTx/>
        <a:buSzPct val="90000"/>
        <a:buFont typeface="Wingdings" pitchFamily="2" charset="2"/>
        <a:buChar char=""/>
        <a:tabLst/>
        <a:defRPr sz="2394" kern="1200" spc="0" baseline="0">
          <a:gradFill>
            <a:gsLst>
              <a:gs pos="1250">
                <a:schemeClr val="bg2"/>
              </a:gs>
              <a:gs pos="100000">
                <a:schemeClr val="bg2"/>
              </a:gs>
            </a:gsLst>
            <a:lin ang="5400000" scaled="0"/>
          </a:gradFill>
          <a:latin typeface="+mn-lt"/>
          <a:ea typeface="+mn-ea"/>
          <a:cs typeface="+mn-cs"/>
        </a:defRPr>
      </a:lvl2pPr>
      <a:lvl3pPr marL="796517" marR="0" indent="-224861" algn="l" defTabSz="912078" rtl="0" eaLnBrk="1" fontAlgn="auto" latinLnBrk="0" hangingPunct="1">
        <a:lnSpc>
          <a:spcPct val="90000"/>
        </a:lnSpc>
        <a:spcBef>
          <a:spcPct val="20000"/>
        </a:spcBef>
        <a:spcAft>
          <a:spcPts val="0"/>
        </a:spcAft>
        <a:buClrTx/>
        <a:buSzPct val="90000"/>
        <a:buFont typeface="Wingdings" pitchFamily="2" charset="2"/>
        <a:buChar char=""/>
        <a:tabLst>
          <a:tab pos="796517" algn="l"/>
        </a:tabLst>
        <a:defRPr sz="2394" kern="1200" spc="0" baseline="0">
          <a:gradFill>
            <a:gsLst>
              <a:gs pos="1250">
                <a:schemeClr val="bg2"/>
              </a:gs>
              <a:gs pos="100000">
                <a:schemeClr val="bg2"/>
              </a:gs>
            </a:gsLst>
            <a:lin ang="5400000" scaled="0"/>
          </a:gradFill>
          <a:latin typeface="+mn-lt"/>
          <a:ea typeface="+mn-ea"/>
          <a:cs typeface="+mn-cs"/>
        </a:defRPr>
      </a:lvl3pPr>
      <a:lvl4pPr marL="1027713" marR="0" indent="-231195" algn="l" defTabSz="912078" rtl="0" eaLnBrk="1" fontAlgn="auto" latinLnBrk="0" hangingPunct="1">
        <a:lnSpc>
          <a:spcPct val="90000"/>
        </a:lnSpc>
        <a:spcBef>
          <a:spcPct val="20000"/>
        </a:spcBef>
        <a:spcAft>
          <a:spcPts val="0"/>
        </a:spcAft>
        <a:buClrTx/>
        <a:buSzPct val="90000"/>
        <a:buFont typeface="Wingdings" pitchFamily="2" charset="2"/>
        <a:buChar char=""/>
        <a:tabLst/>
        <a:defRPr sz="1995" kern="1200" spc="0" baseline="0">
          <a:gradFill>
            <a:gsLst>
              <a:gs pos="1250">
                <a:schemeClr val="bg2"/>
              </a:gs>
              <a:gs pos="100000">
                <a:schemeClr val="bg2"/>
              </a:gs>
            </a:gsLst>
            <a:lin ang="5400000" scaled="0"/>
          </a:gradFill>
          <a:latin typeface="+mn-lt"/>
          <a:ea typeface="+mn-ea"/>
          <a:cs typeface="+mn-cs"/>
        </a:defRPr>
      </a:lvl4pPr>
      <a:lvl5pPr marL="1252574" marR="0" indent="-224861" algn="l" defTabSz="912078" rtl="0" eaLnBrk="1" fontAlgn="auto" latinLnBrk="0" hangingPunct="1">
        <a:lnSpc>
          <a:spcPct val="90000"/>
        </a:lnSpc>
        <a:spcBef>
          <a:spcPct val="20000"/>
        </a:spcBef>
        <a:spcAft>
          <a:spcPts val="0"/>
        </a:spcAft>
        <a:buClrTx/>
        <a:buSzPct val="90000"/>
        <a:buFont typeface="Wingdings" pitchFamily="2" charset="2"/>
        <a:buChar char=""/>
        <a:tabLst>
          <a:tab pos="1252574" algn="l"/>
        </a:tabLst>
        <a:defRPr sz="1995" kern="1200" spc="0" baseline="0">
          <a:gradFill>
            <a:gsLst>
              <a:gs pos="1250">
                <a:schemeClr val="bg2"/>
              </a:gs>
              <a:gs pos="100000">
                <a:schemeClr val="bg2"/>
              </a:gs>
            </a:gsLst>
            <a:lin ang="5400000" scaled="0"/>
          </a:gradFill>
          <a:latin typeface="+mn-lt"/>
          <a:ea typeface="+mn-ea"/>
          <a:cs typeface="+mn-cs"/>
        </a:defRPr>
      </a:lvl5pPr>
      <a:lvl6pPr marL="2508215" indent="-228019" algn="l" defTabSz="912078" rtl="0" eaLnBrk="1" latinLnBrk="0" hangingPunct="1">
        <a:spcBef>
          <a:spcPct val="20000"/>
        </a:spcBef>
        <a:buFont typeface="Arial" pitchFamily="34" charset="0"/>
        <a:buChar char="•"/>
        <a:defRPr sz="1995" kern="1200">
          <a:solidFill>
            <a:schemeClr val="tx1"/>
          </a:solidFill>
          <a:latin typeface="+mn-lt"/>
          <a:ea typeface="+mn-ea"/>
          <a:cs typeface="+mn-cs"/>
        </a:defRPr>
      </a:lvl6pPr>
      <a:lvl7pPr marL="2964253" indent="-228019" algn="l" defTabSz="912078" rtl="0" eaLnBrk="1" latinLnBrk="0" hangingPunct="1">
        <a:spcBef>
          <a:spcPct val="20000"/>
        </a:spcBef>
        <a:buFont typeface="Arial" pitchFamily="34" charset="0"/>
        <a:buChar char="•"/>
        <a:defRPr sz="1995" kern="1200">
          <a:solidFill>
            <a:schemeClr val="tx1"/>
          </a:solidFill>
          <a:latin typeface="+mn-lt"/>
          <a:ea typeface="+mn-ea"/>
          <a:cs typeface="+mn-cs"/>
        </a:defRPr>
      </a:lvl7pPr>
      <a:lvl8pPr marL="3420293" indent="-228019" algn="l" defTabSz="912078" rtl="0" eaLnBrk="1" latinLnBrk="0" hangingPunct="1">
        <a:spcBef>
          <a:spcPct val="20000"/>
        </a:spcBef>
        <a:buFont typeface="Arial" pitchFamily="34" charset="0"/>
        <a:buChar char="•"/>
        <a:defRPr sz="1995" kern="1200">
          <a:solidFill>
            <a:schemeClr val="tx1"/>
          </a:solidFill>
          <a:latin typeface="+mn-lt"/>
          <a:ea typeface="+mn-ea"/>
          <a:cs typeface="+mn-cs"/>
        </a:defRPr>
      </a:lvl8pPr>
      <a:lvl9pPr marL="3876332" indent="-228019" algn="l" defTabSz="912078" rtl="0" eaLnBrk="1" latinLnBrk="0" hangingPunct="1">
        <a:spcBef>
          <a:spcPct val="20000"/>
        </a:spcBef>
        <a:buFont typeface="Arial" pitchFamily="34" charset="0"/>
        <a:buChar char="•"/>
        <a:defRPr sz="1995" kern="1200">
          <a:solidFill>
            <a:schemeClr val="tx1"/>
          </a:solidFill>
          <a:latin typeface="+mn-lt"/>
          <a:ea typeface="+mn-ea"/>
          <a:cs typeface="+mn-cs"/>
        </a:defRPr>
      </a:lvl9pPr>
    </p:bodyStyle>
    <p:otherStyle>
      <a:defPPr>
        <a:defRPr lang="en-US"/>
      </a:defPPr>
      <a:lvl1pPr marL="0" algn="l" defTabSz="912078" rtl="0" eaLnBrk="1" latinLnBrk="0" hangingPunct="1">
        <a:defRPr sz="1795" kern="1200">
          <a:solidFill>
            <a:schemeClr val="tx1"/>
          </a:solidFill>
          <a:latin typeface="+mn-lt"/>
          <a:ea typeface="+mn-ea"/>
          <a:cs typeface="+mn-cs"/>
        </a:defRPr>
      </a:lvl1pPr>
      <a:lvl2pPr marL="456040" algn="l" defTabSz="912078" rtl="0" eaLnBrk="1" latinLnBrk="0" hangingPunct="1">
        <a:defRPr sz="1795" kern="1200">
          <a:solidFill>
            <a:schemeClr val="tx1"/>
          </a:solidFill>
          <a:latin typeface="+mn-lt"/>
          <a:ea typeface="+mn-ea"/>
          <a:cs typeface="+mn-cs"/>
        </a:defRPr>
      </a:lvl2pPr>
      <a:lvl3pPr marL="912078" algn="l" defTabSz="912078" rtl="0" eaLnBrk="1" latinLnBrk="0" hangingPunct="1">
        <a:defRPr sz="1795" kern="1200">
          <a:solidFill>
            <a:schemeClr val="tx1"/>
          </a:solidFill>
          <a:latin typeface="+mn-lt"/>
          <a:ea typeface="+mn-ea"/>
          <a:cs typeface="+mn-cs"/>
        </a:defRPr>
      </a:lvl3pPr>
      <a:lvl4pPr marL="1368118" algn="l" defTabSz="912078" rtl="0" eaLnBrk="1" latinLnBrk="0" hangingPunct="1">
        <a:defRPr sz="1795" kern="1200">
          <a:solidFill>
            <a:schemeClr val="tx1"/>
          </a:solidFill>
          <a:latin typeface="+mn-lt"/>
          <a:ea typeface="+mn-ea"/>
          <a:cs typeface="+mn-cs"/>
        </a:defRPr>
      </a:lvl4pPr>
      <a:lvl5pPr marL="1824156" algn="l" defTabSz="912078" rtl="0" eaLnBrk="1" latinLnBrk="0" hangingPunct="1">
        <a:defRPr sz="1795" kern="1200">
          <a:solidFill>
            <a:schemeClr val="tx1"/>
          </a:solidFill>
          <a:latin typeface="+mn-lt"/>
          <a:ea typeface="+mn-ea"/>
          <a:cs typeface="+mn-cs"/>
        </a:defRPr>
      </a:lvl5pPr>
      <a:lvl6pPr marL="2280196" algn="l" defTabSz="912078" rtl="0" eaLnBrk="1" latinLnBrk="0" hangingPunct="1">
        <a:defRPr sz="1795" kern="1200">
          <a:solidFill>
            <a:schemeClr val="tx1"/>
          </a:solidFill>
          <a:latin typeface="+mn-lt"/>
          <a:ea typeface="+mn-ea"/>
          <a:cs typeface="+mn-cs"/>
        </a:defRPr>
      </a:lvl6pPr>
      <a:lvl7pPr marL="2736234" algn="l" defTabSz="912078" rtl="0" eaLnBrk="1" latinLnBrk="0" hangingPunct="1">
        <a:defRPr sz="1795" kern="1200">
          <a:solidFill>
            <a:schemeClr val="tx1"/>
          </a:solidFill>
          <a:latin typeface="+mn-lt"/>
          <a:ea typeface="+mn-ea"/>
          <a:cs typeface="+mn-cs"/>
        </a:defRPr>
      </a:lvl7pPr>
      <a:lvl8pPr marL="3192274" algn="l" defTabSz="912078" rtl="0" eaLnBrk="1" latinLnBrk="0" hangingPunct="1">
        <a:defRPr sz="1795" kern="1200">
          <a:solidFill>
            <a:schemeClr val="tx1"/>
          </a:solidFill>
          <a:latin typeface="+mn-lt"/>
          <a:ea typeface="+mn-ea"/>
          <a:cs typeface="+mn-cs"/>
        </a:defRPr>
      </a:lvl8pPr>
      <a:lvl9pPr marL="3648313" algn="l" defTabSz="912078" rtl="0" eaLnBrk="1" latinLnBrk="0" hangingPunct="1">
        <a:defRPr sz="1795"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4"/>
            <a:ext cx="11149013" cy="747897"/>
          </a:xfrm>
          <a:prstGeom prst="rect">
            <a:avLst/>
          </a:prstGeom>
        </p:spPr>
        <p:txBody>
          <a:bodyPr vert="horz" wrap="square" lIns="0" tIns="0" rIns="0" bIns="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520701" y="1447804"/>
            <a:ext cx="11152188" cy="2055947"/>
          </a:xfrm>
          <a:prstGeom prst="rect">
            <a:avLst/>
          </a:prstGeom>
        </p:spPr>
        <p:txBody>
          <a:bodyPr vert="horz" lIns="0" tIns="0" rIns="0" bIns="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41235091"/>
      </p:ext>
    </p:extLst>
  </p:cSld>
  <p:clrMap bg1="lt1" tx1="dk1" bg2="lt2" tx2="dk2" accent1="accent1" accent2="accent2" accent3="accent3" accent4="accent4" accent5="accent5" accent6="accent6" hlink="hlink" folHlink="folHlink"/>
  <p:sldLayoutIdLst>
    <p:sldLayoutId id="2147484345" r:id="rId1"/>
    <p:sldLayoutId id="2147484346" r:id="rId2"/>
    <p:sldLayoutId id="2147484347" r:id="rId3"/>
    <p:sldLayoutId id="2147484348" r:id="rId4"/>
    <p:sldLayoutId id="2147484349" r:id="rId5"/>
    <p:sldLayoutId id="2147484350" r:id="rId6"/>
    <p:sldLayoutId id="2147484351" r:id="rId7"/>
    <p:sldLayoutId id="2147484352" r:id="rId8"/>
    <p:sldLayoutId id="2147484353" r:id="rId9"/>
    <p:sldLayoutId id="2147484354" r:id="rId10"/>
    <p:sldLayoutId id="2147484355" r:id="rId11"/>
    <p:sldLayoutId id="2147484356" r:id="rId12"/>
    <p:sldLayoutId id="2147484357" r:id="rId13"/>
    <p:sldLayoutId id="2147484358" r:id="rId14"/>
    <p:sldLayoutId id="2147484359" r:id="rId15"/>
    <p:sldLayoutId id="2147484360" r:id="rId16"/>
    <p:sldLayoutId id="2147484361" r:id="rId17"/>
    <p:sldLayoutId id="2147484362" r:id="rId18"/>
    <p:sldLayoutId id="2147484363" r:id="rId19"/>
    <p:sldLayoutId id="2147484364" r:id="rId20"/>
    <p:sldLayoutId id="2147484365" r:id="rId21"/>
    <p:sldLayoutId id="2147484366" r:id="rId22"/>
    <p:sldLayoutId id="2147484367" r:id="rId23"/>
    <p:sldLayoutId id="2147484368" r:id="rId24"/>
    <p:sldLayoutId id="2147484369" r:id="rId25"/>
    <p:sldLayoutId id="2147484370" r:id="rId26"/>
    <p:sldLayoutId id="2147484371" r:id="rId27"/>
    <p:sldLayoutId id="2147484372" r:id="rId28"/>
    <p:sldLayoutId id="2147484373" r:id="rId29"/>
    <p:sldLayoutId id="2147484374" r:id="rId30"/>
    <p:sldLayoutId id="2147484385" r:id="rId31"/>
  </p:sldLayoutIdLst>
  <p:transition>
    <p:fade/>
  </p:transition>
  <p:timing>
    <p:tnLst>
      <p:par>
        <p:cTn id="1" dur="indefinite" restart="never" nodeType="tmRoot"/>
      </p:par>
    </p:tnLst>
  </p:timing>
  <p:txStyles>
    <p:titleStyle>
      <a:lvl1pPr algn="l" defTabSz="912078" rtl="0" eaLnBrk="1" latinLnBrk="0" hangingPunct="1">
        <a:lnSpc>
          <a:spcPct val="90000"/>
        </a:lnSpc>
        <a:spcBef>
          <a:spcPct val="0"/>
        </a:spcBef>
        <a:buNone/>
        <a:defRPr lang="en-US" sz="5386"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38876" marR="0" indent="-338876" algn="l" defTabSz="912078" rtl="0" eaLnBrk="1" fontAlgn="auto" latinLnBrk="0" hangingPunct="1">
        <a:lnSpc>
          <a:spcPct val="90000"/>
        </a:lnSpc>
        <a:spcBef>
          <a:spcPct val="20000"/>
        </a:spcBef>
        <a:spcAft>
          <a:spcPts val="0"/>
        </a:spcAft>
        <a:buClrTx/>
        <a:buSzPct val="80000"/>
        <a:buFont typeface="Arial" pitchFamily="34" charset="0"/>
        <a:buChar char="•"/>
        <a:tabLst/>
        <a:defRPr sz="3591" kern="1200" spc="-70" baseline="0">
          <a:gradFill>
            <a:gsLst>
              <a:gs pos="1250">
                <a:schemeClr val="bg2"/>
              </a:gs>
              <a:gs pos="100000">
                <a:schemeClr val="bg2"/>
              </a:gs>
            </a:gsLst>
            <a:lin ang="5400000" scaled="0"/>
          </a:gradFill>
          <a:latin typeface="+mj-lt"/>
          <a:ea typeface="+mn-ea"/>
          <a:cs typeface="+mn-cs"/>
        </a:defRPr>
      </a:lvl1pPr>
      <a:lvl2pPr marL="571656" marR="0" indent="-232780" algn="l" defTabSz="912078" rtl="0" eaLnBrk="1" fontAlgn="auto" latinLnBrk="0" hangingPunct="1">
        <a:lnSpc>
          <a:spcPct val="90000"/>
        </a:lnSpc>
        <a:spcBef>
          <a:spcPct val="20000"/>
        </a:spcBef>
        <a:spcAft>
          <a:spcPts val="0"/>
        </a:spcAft>
        <a:buClrTx/>
        <a:buSzPct val="90000"/>
        <a:buFont typeface="Wingdings" pitchFamily="2" charset="2"/>
        <a:buChar char=""/>
        <a:tabLst/>
        <a:defRPr sz="2394" kern="1200" spc="0" baseline="0">
          <a:gradFill>
            <a:gsLst>
              <a:gs pos="1250">
                <a:schemeClr val="bg2"/>
              </a:gs>
              <a:gs pos="100000">
                <a:schemeClr val="bg2"/>
              </a:gs>
            </a:gsLst>
            <a:lin ang="5400000" scaled="0"/>
          </a:gradFill>
          <a:latin typeface="+mn-lt"/>
          <a:ea typeface="+mn-ea"/>
          <a:cs typeface="+mn-cs"/>
        </a:defRPr>
      </a:lvl2pPr>
      <a:lvl3pPr marL="796517" marR="0" indent="-224861" algn="l" defTabSz="912078" rtl="0" eaLnBrk="1" fontAlgn="auto" latinLnBrk="0" hangingPunct="1">
        <a:lnSpc>
          <a:spcPct val="90000"/>
        </a:lnSpc>
        <a:spcBef>
          <a:spcPct val="20000"/>
        </a:spcBef>
        <a:spcAft>
          <a:spcPts val="0"/>
        </a:spcAft>
        <a:buClrTx/>
        <a:buSzPct val="90000"/>
        <a:buFont typeface="Wingdings" pitchFamily="2" charset="2"/>
        <a:buChar char=""/>
        <a:tabLst>
          <a:tab pos="796517" algn="l"/>
        </a:tabLst>
        <a:defRPr sz="2394" kern="1200" spc="0" baseline="0">
          <a:gradFill>
            <a:gsLst>
              <a:gs pos="1250">
                <a:schemeClr val="bg2"/>
              </a:gs>
              <a:gs pos="100000">
                <a:schemeClr val="bg2"/>
              </a:gs>
            </a:gsLst>
            <a:lin ang="5400000" scaled="0"/>
          </a:gradFill>
          <a:latin typeface="+mn-lt"/>
          <a:ea typeface="+mn-ea"/>
          <a:cs typeface="+mn-cs"/>
        </a:defRPr>
      </a:lvl3pPr>
      <a:lvl4pPr marL="1027713" marR="0" indent="-231195" algn="l" defTabSz="912078" rtl="0" eaLnBrk="1" fontAlgn="auto" latinLnBrk="0" hangingPunct="1">
        <a:lnSpc>
          <a:spcPct val="90000"/>
        </a:lnSpc>
        <a:spcBef>
          <a:spcPct val="20000"/>
        </a:spcBef>
        <a:spcAft>
          <a:spcPts val="0"/>
        </a:spcAft>
        <a:buClrTx/>
        <a:buSzPct val="90000"/>
        <a:buFont typeface="Wingdings" pitchFamily="2" charset="2"/>
        <a:buChar char=""/>
        <a:tabLst/>
        <a:defRPr sz="1995" kern="1200" spc="0" baseline="0">
          <a:gradFill>
            <a:gsLst>
              <a:gs pos="1250">
                <a:schemeClr val="bg2"/>
              </a:gs>
              <a:gs pos="100000">
                <a:schemeClr val="bg2"/>
              </a:gs>
            </a:gsLst>
            <a:lin ang="5400000" scaled="0"/>
          </a:gradFill>
          <a:latin typeface="+mn-lt"/>
          <a:ea typeface="+mn-ea"/>
          <a:cs typeface="+mn-cs"/>
        </a:defRPr>
      </a:lvl4pPr>
      <a:lvl5pPr marL="1252574" marR="0" indent="-224861" algn="l" defTabSz="912078" rtl="0" eaLnBrk="1" fontAlgn="auto" latinLnBrk="0" hangingPunct="1">
        <a:lnSpc>
          <a:spcPct val="90000"/>
        </a:lnSpc>
        <a:spcBef>
          <a:spcPct val="20000"/>
        </a:spcBef>
        <a:spcAft>
          <a:spcPts val="0"/>
        </a:spcAft>
        <a:buClrTx/>
        <a:buSzPct val="90000"/>
        <a:buFont typeface="Wingdings" pitchFamily="2" charset="2"/>
        <a:buChar char=""/>
        <a:tabLst>
          <a:tab pos="1252574" algn="l"/>
        </a:tabLst>
        <a:defRPr sz="1995" kern="1200" spc="0" baseline="0">
          <a:gradFill>
            <a:gsLst>
              <a:gs pos="1250">
                <a:schemeClr val="bg2"/>
              </a:gs>
              <a:gs pos="100000">
                <a:schemeClr val="bg2"/>
              </a:gs>
            </a:gsLst>
            <a:lin ang="5400000" scaled="0"/>
          </a:gradFill>
          <a:latin typeface="+mn-lt"/>
          <a:ea typeface="+mn-ea"/>
          <a:cs typeface="+mn-cs"/>
        </a:defRPr>
      </a:lvl5pPr>
      <a:lvl6pPr marL="2508215" indent="-228019" algn="l" defTabSz="912078" rtl="0" eaLnBrk="1" latinLnBrk="0" hangingPunct="1">
        <a:spcBef>
          <a:spcPct val="20000"/>
        </a:spcBef>
        <a:buFont typeface="Arial" pitchFamily="34" charset="0"/>
        <a:buChar char="•"/>
        <a:defRPr sz="1995" kern="1200">
          <a:solidFill>
            <a:schemeClr val="tx1"/>
          </a:solidFill>
          <a:latin typeface="+mn-lt"/>
          <a:ea typeface="+mn-ea"/>
          <a:cs typeface="+mn-cs"/>
        </a:defRPr>
      </a:lvl6pPr>
      <a:lvl7pPr marL="2964253" indent="-228019" algn="l" defTabSz="912078" rtl="0" eaLnBrk="1" latinLnBrk="0" hangingPunct="1">
        <a:spcBef>
          <a:spcPct val="20000"/>
        </a:spcBef>
        <a:buFont typeface="Arial" pitchFamily="34" charset="0"/>
        <a:buChar char="•"/>
        <a:defRPr sz="1995" kern="1200">
          <a:solidFill>
            <a:schemeClr val="tx1"/>
          </a:solidFill>
          <a:latin typeface="+mn-lt"/>
          <a:ea typeface="+mn-ea"/>
          <a:cs typeface="+mn-cs"/>
        </a:defRPr>
      </a:lvl7pPr>
      <a:lvl8pPr marL="3420293" indent="-228019" algn="l" defTabSz="912078" rtl="0" eaLnBrk="1" latinLnBrk="0" hangingPunct="1">
        <a:spcBef>
          <a:spcPct val="20000"/>
        </a:spcBef>
        <a:buFont typeface="Arial" pitchFamily="34" charset="0"/>
        <a:buChar char="•"/>
        <a:defRPr sz="1995" kern="1200">
          <a:solidFill>
            <a:schemeClr val="tx1"/>
          </a:solidFill>
          <a:latin typeface="+mn-lt"/>
          <a:ea typeface="+mn-ea"/>
          <a:cs typeface="+mn-cs"/>
        </a:defRPr>
      </a:lvl8pPr>
      <a:lvl9pPr marL="3876332" indent="-228019" algn="l" defTabSz="912078" rtl="0" eaLnBrk="1" latinLnBrk="0" hangingPunct="1">
        <a:spcBef>
          <a:spcPct val="20000"/>
        </a:spcBef>
        <a:buFont typeface="Arial" pitchFamily="34" charset="0"/>
        <a:buChar char="•"/>
        <a:defRPr sz="1995" kern="1200">
          <a:solidFill>
            <a:schemeClr val="tx1"/>
          </a:solidFill>
          <a:latin typeface="+mn-lt"/>
          <a:ea typeface="+mn-ea"/>
          <a:cs typeface="+mn-cs"/>
        </a:defRPr>
      </a:lvl9pPr>
    </p:bodyStyle>
    <p:otherStyle>
      <a:defPPr>
        <a:defRPr lang="en-US"/>
      </a:defPPr>
      <a:lvl1pPr marL="0" algn="l" defTabSz="912078" rtl="0" eaLnBrk="1" latinLnBrk="0" hangingPunct="1">
        <a:defRPr sz="1795" kern="1200">
          <a:solidFill>
            <a:schemeClr val="tx1"/>
          </a:solidFill>
          <a:latin typeface="+mn-lt"/>
          <a:ea typeface="+mn-ea"/>
          <a:cs typeface="+mn-cs"/>
        </a:defRPr>
      </a:lvl1pPr>
      <a:lvl2pPr marL="456040" algn="l" defTabSz="912078" rtl="0" eaLnBrk="1" latinLnBrk="0" hangingPunct="1">
        <a:defRPr sz="1795" kern="1200">
          <a:solidFill>
            <a:schemeClr val="tx1"/>
          </a:solidFill>
          <a:latin typeface="+mn-lt"/>
          <a:ea typeface="+mn-ea"/>
          <a:cs typeface="+mn-cs"/>
        </a:defRPr>
      </a:lvl2pPr>
      <a:lvl3pPr marL="912078" algn="l" defTabSz="912078" rtl="0" eaLnBrk="1" latinLnBrk="0" hangingPunct="1">
        <a:defRPr sz="1795" kern="1200">
          <a:solidFill>
            <a:schemeClr val="tx1"/>
          </a:solidFill>
          <a:latin typeface="+mn-lt"/>
          <a:ea typeface="+mn-ea"/>
          <a:cs typeface="+mn-cs"/>
        </a:defRPr>
      </a:lvl3pPr>
      <a:lvl4pPr marL="1368118" algn="l" defTabSz="912078" rtl="0" eaLnBrk="1" latinLnBrk="0" hangingPunct="1">
        <a:defRPr sz="1795" kern="1200">
          <a:solidFill>
            <a:schemeClr val="tx1"/>
          </a:solidFill>
          <a:latin typeface="+mn-lt"/>
          <a:ea typeface="+mn-ea"/>
          <a:cs typeface="+mn-cs"/>
        </a:defRPr>
      </a:lvl4pPr>
      <a:lvl5pPr marL="1824156" algn="l" defTabSz="912078" rtl="0" eaLnBrk="1" latinLnBrk="0" hangingPunct="1">
        <a:defRPr sz="1795" kern="1200">
          <a:solidFill>
            <a:schemeClr val="tx1"/>
          </a:solidFill>
          <a:latin typeface="+mn-lt"/>
          <a:ea typeface="+mn-ea"/>
          <a:cs typeface="+mn-cs"/>
        </a:defRPr>
      </a:lvl5pPr>
      <a:lvl6pPr marL="2280196" algn="l" defTabSz="912078" rtl="0" eaLnBrk="1" latinLnBrk="0" hangingPunct="1">
        <a:defRPr sz="1795" kern="1200">
          <a:solidFill>
            <a:schemeClr val="tx1"/>
          </a:solidFill>
          <a:latin typeface="+mn-lt"/>
          <a:ea typeface="+mn-ea"/>
          <a:cs typeface="+mn-cs"/>
        </a:defRPr>
      </a:lvl6pPr>
      <a:lvl7pPr marL="2736234" algn="l" defTabSz="912078" rtl="0" eaLnBrk="1" latinLnBrk="0" hangingPunct="1">
        <a:defRPr sz="1795" kern="1200">
          <a:solidFill>
            <a:schemeClr val="tx1"/>
          </a:solidFill>
          <a:latin typeface="+mn-lt"/>
          <a:ea typeface="+mn-ea"/>
          <a:cs typeface="+mn-cs"/>
        </a:defRPr>
      </a:lvl7pPr>
      <a:lvl8pPr marL="3192274" algn="l" defTabSz="912078" rtl="0" eaLnBrk="1" latinLnBrk="0" hangingPunct="1">
        <a:defRPr sz="1795" kern="1200">
          <a:solidFill>
            <a:schemeClr val="tx1"/>
          </a:solidFill>
          <a:latin typeface="+mn-lt"/>
          <a:ea typeface="+mn-ea"/>
          <a:cs typeface="+mn-cs"/>
        </a:defRPr>
      </a:lvl8pPr>
      <a:lvl9pPr marL="3648313" algn="l" defTabSz="912078" rtl="0" eaLnBrk="1" latinLnBrk="0" hangingPunct="1">
        <a:defRPr sz="1795"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120.xml"/><Relationship Id="rId5" Type="http://schemas.openxmlformats.org/officeDocument/2006/relationships/image" Target="../media/image12.emf"/><Relationship Id="rId4" Type="http://schemas.openxmlformats.org/officeDocument/2006/relationships/image" Target="../media/image11.png"/></Relationships>
</file>

<file path=ppt/slides/_rels/slide1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4.xml"/><Relationship Id="rId1" Type="http://schemas.openxmlformats.org/officeDocument/2006/relationships/slideLayout" Target="../slideLayouts/slideLayout5.xml"/><Relationship Id="rId4" Type="http://schemas.openxmlformats.org/officeDocument/2006/relationships/image" Target="../media/image28.png"/></Relationships>
</file>

<file path=ppt/slides/_rels/slide1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16.xml"/><Relationship Id="rId1" Type="http://schemas.openxmlformats.org/officeDocument/2006/relationships/slideLayout" Target="../slideLayouts/slideLayout5.xml"/><Relationship Id="rId5" Type="http://schemas.openxmlformats.org/officeDocument/2006/relationships/image" Target="../media/image31.png"/><Relationship Id="rId4" Type="http://schemas.openxmlformats.org/officeDocument/2006/relationships/image" Target="../media/image30.png"/></Relationships>
</file>

<file path=ppt/slides/_rels/slide17.xml.rels><?xml version="1.0" encoding="UTF-8" standalone="yes"?>
<Relationships xmlns="http://schemas.openxmlformats.org/package/2006/relationships"><Relationship Id="rId3" Type="http://schemas.openxmlformats.org/officeDocument/2006/relationships/image" Target="../media/image32.jpg"/><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18.xml"/><Relationship Id="rId1" Type="http://schemas.openxmlformats.org/officeDocument/2006/relationships/slideLayout" Target="../slideLayouts/slideLayout95.xml"/><Relationship Id="rId6" Type="http://schemas.openxmlformats.org/officeDocument/2006/relationships/image" Target="../media/image16.emf"/><Relationship Id="rId5" Type="http://schemas.openxmlformats.org/officeDocument/2006/relationships/image" Target="../media/image15.emf"/><Relationship Id="rId4" Type="http://schemas.openxmlformats.org/officeDocument/2006/relationships/image" Target="../media/image14.emf"/></Relationships>
</file>

<file path=ppt/slides/_rels/slide19.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notesSlide" Target="../notesSlides/notesSlide19.xml"/><Relationship Id="rId1" Type="http://schemas.openxmlformats.org/officeDocument/2006/relationships/slideLayout" Target="../slideLayouts/slideLayout37.xml"/><Relationship Id="rId4" Type="http://schemas.openxmlformats.org/officeDocument/2006/relationships/image" Target="../media/image34.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8.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8.xml"/></Relationships>
</file>

<file path=ppt/slides/_rels/slide23.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image" Target="../media/image35.png"/><Relationship Id="rId7" Type="http://schemas.openxmlformats.org/officeDocument/2006/relationships/image" Target="../media/image39.png"/><Relationship Id="rId2" Type="http://schemas.openxmlformats.org/officeDocument/2006/relationships/notesSlide" Target="../notesSlides/notesSlide22.xml"/><Relationship Id="rId1" Type="http://schemas.openxmlformats.org/officeDocument/2006/relationships/slideLayout" Target="../slideLayouts/slideLayout26.xml"/><Relationship Id="rId6" Type="http://schemas.openxmlformats.org/officeDocument/2006/relationships/image" Target="../media/image38.png"/><Relationship Id="rId11" Type="http://schemas.openxmlformats.org/officeDocument/2006/relationships/image" Target="../media/image43.png"/><Relationship Id="rId5" Type="http://schemas.openxmlformats.org/officeDocument/2006/relationships/image" Target="../media/image37.png"/><Relationship Id="rId10" Type="http://schemas.openxmlformats.org/officeDocument/2006/relationships/image" Target="../media/image42.png"/><Relationship Id="rId4" Type="http://schemas.openxmlformats.org/officeDocument/2006/relationships/image" Target="../media/image36.png"/><Relationship Id="rId9" Type="http://schemas.openxmlformats.org/officeDocument/2006/relationships/image" Target="../media/image41.png"/></Relationships>
</file>

<file path=ppt/slides/_rels/slide24.xml.rels><?xml version="1.0" encoding="UTF-8" standalone="yes"?>
<Relationships xmlns="http://schemas.openxmlformats.org/package/2006/relationships"><Relationship Id="rId3" Type="http://schemas.openxmlformats.org/officeDocument/2006/relationships/image" Target="../media/image44.png"/><Relationship Id="rId7" Type="http://schemas.openxmlformats.org/officeDocument/2006/relationships/image" Target="../media/image48.png"/><Relationship Id="rId2" Type="http://schemas.openxmlformats.org/officeDocument/2006/relationships/notesSlide" Target="../notesSlides/notesSlide23.xml"/><Relationship Id="rId1" Type="http://schemas.openxmlformats.org/officeDocument/2006/relationships/slideLayout" Target="../slideLayouts/slideLayout4.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image" Target="../media/image45.png"/></Relationships>
</file>

<file path=ppt/slides/_rels/slide3.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3.xml"/><Relationship Id="rId1" Type="http://schemas.openxmlformats.org/officeDocument/2006/relationships/slideLayout" Target="../slideLayouts/slideLayout95.xml"/><Relationship Id="rId6" Type="http://schemas.openxmlformats.org/officeDocument/2006/relationships/image" Target="../media/image16.emf"/><Relationship Id="rId5" Type="http://schemas.openxmlformats.org/officeDocument/2006/relationships/image" Target="../media/image15.emf"/><Relationship Id="rId4" Type="http://schemas.openxmlformats.org/officeDocument/2006/relationships/image" Target="../media/image14.emf"/></Relationships>
</file>

<file path=ppt/slides/_rels/slide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4.xml"/><Relationship Id="rId1" Type="http://schemas.openxmlformats.org/officeDocument/2006/relationships/slideLayout" Target="../slideLayouts/slideLayout98.xml"/><Relationship Id="rId5" Type="http://schemas.microsoft.com/office/2007/relationships/hdphoto" Target="../media/hdphoto3.wdp"/><Relationship Id="rId4" Type="http://schemas.openxmlformats.org/officeDocument/2006/relationships/image" Target="../media/image18.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6.xml"/><Relationship Id="rId1" Type="http://schemas.openxmlformats.org/officeDocument/2006/relationships/slideLayout" Target="../slideLayouts/slideLayout3.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s/_rels/slide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notesSlide" Target="../notesSlides/notesSlide8.xml"/><Relationship Id="rId1" Type="http://schemas.openxmlformats.org/officeDocument/2006/relationships/slideLayout" Target="../slideLayouts/slideLayout3.xml"/><Relationship Id="rId4" Type="http://schemas.openxmlformats.org/officeDocument/2006/relationships/image" Target="../media/image25.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0" y="0"/>
            <a:ext cx="12188825" cy="6858000"/>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Picture 3"/>
          <p:cNvPicPr>
            <a:picLocks noChangeAspect="1"/>
          </p:cNvPicPr>
          <p:nvPr/>
        </p:nvPicPr>
        <p:blipFill rotWithShape="1">
          <a:blip r:embed="rId3" cstate="screen">
            <a:extLst>
              <a:ext uri="{28A0092B-C50C-407E-A947-70E740481C1C}">
                <a14:useLocalDpi xmlns:a14="http://schemas.microsoft.com/office/drawing/2010/main" val="0"/>
              </a:ext>
            </a:extLst>
          </a:blip>
          <a:srcRect l="31603"/>
          <a:stretch/>
        </p:blipFill>
        <p:spPr>
          <a:xfrm>
            <a:off x="448386" y="6022666"/>
            <a:ext cx="1091343" cy="586930"/>
          </a:xfrm>
          <a:prstGeom prst="rect">
            <a:avLst/>
          </a:prstGeom>
          <a:noFill/>
        </p:spPr>
      </p:pic>
      <p:sp>
        <p:nvSpPr>
          <p:cNvPr id="5" name="TextBox 4"/>
          <p:cNvSpPr txBox="1"/>
          <p:nvPr/>
        </p:nvSpPr>
        <p:spPr>
          <a:xfrm>
            <a:off x="300007" y="1988225"/>
            <a:ext cx="11891721" cy="2169825"/>
          </a:xfrm>
          <a:prstGeom prst="rect">
            <a:avLst/>
          </a:prstGeom>
          <a:noFill/>
        </p:spPr>
        <p:txBody>
          <a:bodyPr wrap="square" bIns="0" rtlCol="0">
            <a:spAutoFit/>
          </a:bodyPr>
          <a:lstStyle/>
          <a:p>
            <a:pPr>
              <a:lnSpc>
                <a:spcPct val="80000"/>
              </a:lnSpc>
            </a:pPr>
            <a:r>
              <a:rPr lang="en-US" sz="8625" spc="-157" dirty="0" smtClean="0">
                <a:solidFill>
                  <a:schemeClr val="bg1"/>
                </a:solidFill>
                <a:latin typeface="Segoe UI Bold"/>
                <a:cs typeface="Segoe UI Bold"/>
              </a:rPr>
              <a:t>Office 365 Business</a:t>
            </a:r>
          </a:p>
          <a:p>
            <a:pPr>
              <a:lnSpc>
                <a:spcPct val="80000"/>
              </a:lnSpc>
            </a:pPr>
            <a:r>
              <a:rPr lang="en-US" sz="8625" spc="-157" dirty="0">
                <a:solidFill>
                  <a:schemeClr val="bg1"/>
                </a:solidFill>
                <a:latin typeface="Segoe UI Bold"/>
                <a:cs typeface="Segoe UI Bold"/>
              </a:rPr>
              <a:t>i</a:t>
            </a:r>
            <a:r>
              <a:rPr lang="en-US" sz="8625" spc="-157" dirty="0" smtClean="0">
                <a:solidFill>
                  <a:schemeClr val="bg1"/>
                </a:solidFill>
                <a:latin typeface="Segoe UI Bold"/>
                <a:cs typeface="Segoe UI Bold"/>
              </a:rPr>
              <a:t>s your modern Office</a:t>
            </a:r>
            <a:endParaRPr lang="en-US" sz="8625" spc="-157" dirty="0">
              <a:solidFill>
                <a:schemeClr val="bg1"/>
              </a:solidFill>
              <a:latin typeface="Segoe UI Bold"/>
              <a:cs typeface="Segoe UI Bold"/>
            </a:endParaRPr>
          </a:p>
        </p:txBody>
      </p:sp>
      <p:sp>
        <p:nvSpPr>
          <p:cNvPr id="6" name="Title 2"/>
          <p:cNvSpPr txBox="1">
            <a:spLocks/>
          </p:cNvSpPr>
          <p:nvPr/>
        </p:nvSpPr>
        <p:spPr>
          <a:xfrm>
            <a:off x="305351" y="4253121"/>
            <a:ext cx="11652805" cy="899303"/>
          </a:xfrm>
          <a:prstGeom prst="rect">
            <a:avLst/>
          </a:prstGeom>
        </p:spPr>
        <p:txBody>
          <a:bodyPr vert="horz" wrap="square" lIns="143391" tIns="89619" rIns="143391" bIns="89619" rtlCol="0" anchor="t">
            <a:noAutofit/>
          </a:bodyPr>
          <a:lstStyle>
            <a:lvl1pPr algn="l" defTabSz="932742" rtl="0" eaLnBrk="1" latinLnBrk="0" hangingPunct="1">
              <a:lnSpc>
                <a:spcPct val="90000"/>
              </a:lnSpc>
              <a:spcBef>
                <a:spcPct val="0"/>
              </a:spcBef>
              <a:buNone/>
              <a:defRPr lang="en-US" sz="7200" b="0" kern="1200" cap="none" spc="-102"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14180">
              <a:spcBef>
                <a:spcPct val="20000"/>
              </a:spcBef>
              <a:buClr>
                <a:srgbClr val="FFFFFF"/>
              </a:buClr>
              <a:buSzPct val="90000"/>
              <a:defRPr/>
            </a:pPr>
            <a:r>
              <a:rPr lang="en-US" sz="3528" spc="-100" dirty="0">
                <a:gradFill>
                  <a:gsLst>
                    <a:gs pos="1250">
                      <a:srgbClr val="FFFFFF"/>
                    </a:gs>
                    <a:gs pos="100000">
                      <a:srgbClr val="FFFFFF"/>
                    </a:gs>
                  </a:gsLst>
                  <a:lin ang="5400000" scaled="0"/>
                </a:gradFill>
                <a:latin typeface="Segoe UI Light"/>
              </a:rPr>
              <a:t>Partner Name</a:t>
            </a:r>
            <a:endParaRPr lang="en-US" sz="5881" spc="-100" dirty="0">
              <a:gradFill>
                <a:gsLst>
                  <a:gs pos="1250">
                    <a:srgbClr val="FFFFFF"/>
                  </a:gs>
                  <a:gs pos="100000">
                    <a:srgbClr val="FFFFFF"/>
                  </a:gs>
                </a:gsLst>
                <a:lin ang="5400000" scaled="0"/>
              </a:gradFill>
              <a:latin typeface="Segoe UI Light"/>
            </a:endParaRPr>
          </a:p>
        </p:txBody>
      </p:sp>
      <p:pic>
        <p:nvPicPr>
          <p:cNvPr id="7" name="Picture 6"/>
          <p:cNvPicPr>
            <a:picLocks noChangeAspect="1"/>
          </p:cNvPicPr>
          <p:nvPr/>
        </p:nvPicPr>
        <p:blipFill rotWithShape="1">
          <a:blip r:embed="rId4" cstate="screen">
            <a:extLst>
              <a:ext uri="{28A0092B-C50C-407E-A947-70E740481C1C}">
                <a14:useLocalDpi xmlns:a14="http://schemas.microsoft.com/office/drawing/2010/main" val="0"/>
              </a:ext>
            </a:extLst>
          </a:blip>
          <a:srcRect/>
          <a:stretch/>
        </p:blipFill>
        <p:spPr>
          <a:xfrm>
            <a:off x="1" y="-1242564"/>
            <a:ext cx="1521058" cy="1077073"/>
          </a:xfrm>
          <a:prstGeom prst="rect">
            <a:avLst/>
          </a:prstGeom>
        </p:spPr>
      </p:pic>
      <p:pic>
        <p:nvPicPr>
          <p:cNvPr id="9" name="Picture 8"/>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421367" y="505556"/>
            <a:ext cx="2521032" cy="555318"/>
          </a:xfrm>
          <a:prstGeom prst="rect">
            <a:avLst/>
          </a:prstGeom>
          <a:noFill/>
        </p:spPr>
      </p:pic>
      <p:grpSp>
        <p:nvGrpSpPr>
          <p:cNvPr id="10" name="Group 9"/>
          <p:cNvGrpSpPr/>
          <p:nvPr/>
        </p:nvGrpSpPr>
        <p:grpSpPr>
          <a:xfrm>
            <a:off x="10005023" y="6022666"/>
            <a:ext cx="1815819" cy="461530"/>
            <a:chOff x="10815932" y="6245571"/>
            <a:chExt cx="1385187" cy="394961"/>
          </a:xfrm>
        </p:grpSpPr>
        <p:sp>
          <p:nvSpPr>
            <p:cNvPr id="2" name="TextBox 1"/>
            <p:cNvSpPr txBox="1"/>
            <p:nvPr/>
          </p:nvSpPr>
          <p:spPr>
            <a:xfrm>
              <a:off x="10948998" y="6288167"/>
              <a:ext cx="1119055" cy="309768"/>
            </a:xfrm>
            <a:prstGeom prst="rect">
              <a:avLst/>
            </a:prstGeom>
            <a:noFill/>
          </p:spPr>
          <p:txBody>
            <a:bodyPr wrap="none" rtlCol="0">
              <a:spAutoFit/>
            </a:bodyPr>
            <a:lstStyle/>
            <a:p>
              <a:pPr algn="ctr"/>
              <a:r>
                <a:rPr lang="en-US" sz="1764" dirty="0">
                  <a:solidFill>
                    <a:schemeClr val="bg1"/>
                  </a:solidFill>
                </a:rPr>
                <a:t>Partner Logo</a:t>
              </a:r>
            </a:p>
          </p:txBody>
        </p:sp>
        <p:sp>
          <p:nvSpPr>
            <p:cNvPr id="3" name="Rectangle 2"/>
            <p:cNvSpPr/>
            <p:nvPr/>
          </p:nvSpPr>
          <p:spPr>
            <a:xfrm>
              <a:off x="10815932" y="6245571"/>
              <a:ext cx="1385187" cy="394961"/>
            </a:xfrm>
            <a:prstGeom prst="rect">
              <a:avLst/>
            </a:prstGeom>
            <a:noFill/>
            <a:ln>
              <a:solidFill>
                <a:schemeClr val="bg1"/>
              </a:solidFill>
              <a:prstDash val="sys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4" dirty="0"/>
            </a:p>
          </p:txBody>
        </p:sp>
      </p:grpSp>
    </p:spTree>
    <p:extLst>
      <p:ext uri="{BB962C8B-B14F-4D97-AF65-F5344CB8AC3E}">
        <p14:creationId xmlns:p14="http://schemas.microsoft.com/office/powerpoint/2010/main" val="3977916650"/>
      </p:ext>
    </p:extLst>
  </p:cSld>
  <p:clrMapOvr>
    <a:masterClrMapping/>
  </p:clrMapOvr>
  <mc:AlternateContent xmlns:mc="http://schemas.openxmlformats.org/markup-compatibility/2006">
    <mc:Choice xmlns:p14="http://schemas.microsoft.com/office/powerpoint/2010/main" Requires="p14">
      <p:transition spd="slow" p14:dur="2000">
        <p14:reveal/>
      </p:transition>
    </mc:Choice>
    <mc:Fallback>
      <p:transition spd="slow">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p:cNvSpPr/>
          <p:nvPr/>
        </p:nvSpPr>
        <p:spPr>
          <a:xfrm>
            <a:off x="4723942" y="-31029"/>
            <a:ext cx="8268511" cy="6994525"/>
          </a:xfrm>
          <a:prstGeom prst="rect">
            <a:avLst/>
          </a:prstGeom>
          <a:solidFill>
            <a:srgbClr val="45ACC8"/>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 name="Text Placeholder 1"/>
          <p:cNvSpPr>
            <a:spLocks noGrp="1"/>
          </p:cNvSpPr>
          <p:nvPr>
            <p:ph type="body" idx="1"/>
          </p:nvPr>
        </p:nvSpPr>
        <p:spPr/>
        <p:txBody>
          <a:bodyPr/>
          <a:lstStyle/>
          <a:p>
            <a:r>
              <a:rPr lang="en-US" dirty="0" smtClean="0"/>
              <a:t>Your familiar Office</a:t>
            </a:r>
            <a:endParaRPr lang="en-US" dirty="0"/>
          </a:p>
        </p:txBody>
      </p:sp>
      <p:sp>
        <p:nvSpPr>
          <p:cNvPr id="3" name="Text Placeholder 2"/>
          <p:cNvSpPr>
            <a:spLocks noGrp="1"/>
          </p:cNvSpPr>
          <p:nvPr>
            <p:ph type="body" sz="quarter" idx="10"/>
          </p:nvPr>
        </p:nvSpPr>
        <p:spPr/>
        <p:txBody>
          <a:bodyPr/>
          <a:lstStyle/>
          <a:p>
            <a:r>
              <a:rPr lang="en-US" sz="1800" dirty="0"/>
              <a:t>Get the familiar, installable Office on your laptop or PC along with the best-in class Office tools on all your devices. </a:t>
            </a:r>
            <a:endParaRPr lang="en-US" sz="1800" dirty="0" smtClean="0"/>
          </a:p>
          <a:p>
            <a:r>
              <a:rPr lang="en-US" sz="1800" dirty="0" smtClean="0"/>
              <a:t>Get all the latest version of the Office features you need </a:t>
            </a:r>
            <a:r>
              <a:rPr lang="en-US" sz="1800" dirty="0" smtClean="0">
                <a:latin typeface="Segoe UI Light" pitchFamily="34" charset="0"/>
              </a:rPr>
              <a:t>automatically </a:t>
            </a:r>
            <a:r>
              <a:rPr lang="en-US" sz="1800" dirty="0">
                <a:latin typeface="Segoe UI Light" pitchFamily="34" charset="0"/>
              </a:rPr>
              <a:t>updated to all your Office </a:t>
            </a:r>
            <a:r>
              <a:rPr lang="en-US" sz="1800" dirty="0" smtClean="0">
                <a:latin typeface="Segoe UI Light" pitchFamily="34" charset="0"/>
              </a:rPr>
              <a:t>apps</a:t>
            </a:r>
          </a:p>
          <a:p>
            <a:r>
              <a:rPr lang="en-US" sz="1800" dirty="0" smtClean="0"/>
              <a:t>Spend </a:t>
            </a:r>
            <a:r>
              <a:rPr lang="en-US" sz="1800" dirty="0"/>
              <a:t>more time building insights and less time managing data in Excel with Flash Fill</a:t>
            </a:r>
          </a:p>
          <a:p>
            <a:pPr lvl="0"/>
            <a:r>
              <a:rPr lang="en-US" sz="1800" dirty="0"/>
              <a:t>Create beautiful presentations in PowerPoint with professional charts and templates </a:t>
            </a:r>
          </a:p>
          <a:p>
            <a:endParaRPr lang="en-US" sz="1800" dirty="0" smtClean="0">
              <a:latin typeface="Segoe UI Light" pitchFamily="34" charset="0"/>
            </a:endParaRPr>
          </a:p>
          <a:p>
            <a:endParaRPr lang="en-US" sz="1800" dirty="0">
              <a:latin typeface="Segoe UI Light" pitchFamily="34" charset="0"/>
            </a:endParaRPr>
          </a:p>
          <a:p>
            <a:pPr lvl="0"/>
            <a:endParaRPr lang="en-US" sz="1800" dirty="0"/>
          </a:p>
        </p:txBody>
      </p:sp>
      <p:sp>
        <p:nvSpPr>
          <p:cNvPr id="31" name="Freeform 277"/>
          <p:cNvSpPr>
            <a:spLocks/>
          </p:cNvSpPr>
          <p:nvPr/>
        </p:nvSpPr>
        <p:spPr bwMode="auto">
          <a:xfrm>
            <a:off x="9617704" y="0"/>
            <a:ext cx="2536986" cy="1407886"/>
          </a:xfrm>
          <a:custGeom>
            <a:avLst/>
            <a:gdLst>
              <a:gd name="T0" fmla="*/ 1466 w 1746"/>
              <a:gd name="T1" fmla="*/ 504 h 1148"/>
              <a:gd name="T2" fmla="*/ 1466 w 1746"/>
              <a:gd name="T3" fmla="*/ 481 h 1148"/>
              <a:gd name="T4" fmla="*/ 985 w 1746"/>
              <a:gd name="T5" fmla="*/ 0 h 1148"/>
              <a:gd name="T6" fmla="*/ 584 w 1746"/>
              <a:gd name="T7" fmla="*/ 215 h 1148"/>
              <a:gd name="T8" fmla="*/ 452 w 1746"/>
              <a:gd name="T9" fmla="*/ 180 h 1148"/>
              <a:gd name="T10" fmla="*/ 297 w 1746"/>
              <a:gd name="T11" fmla="*/ 226 h 1148"/>
              <a:gd name="T12" fmla="*/ 173 w 1746"/>
              <a:gd name="T13" fmla="*/ 452 h 1148"/>
              <a:gd name="T14" fmla="*/ 0 w 1746"/>
              <a:gd name="T15" fmla="*/ 770 h 1148"/>
              <a:gd name="T16" fmla="*/ 337 w 1746"/>
              <a:gd name="T17" fmla="*/ 1148 h 1148"/>
              <a:gd name="T18" fmla="*/ 378 w 1746"/>
              <a:gd name="T19" fmla="*/ 1148 h 1148"/>
              <a:gd name="T20" fmla="*/ 417 w 1746"/>
              <a:gd name="T21" fmla="*/ 1148 h 1148"/>
              <a:gd name="T22" fmla="*/ 1203 w 1746"/>
              <a:gd name="T23" fmla="*/ 1148 h 1148"/>
              <a:gd name="T24" fmla="*/ 1219 w 1746"/>
              <a:gd name="T25" fmla="*/ 1148 h 1148"/>
              <a:gd name="T26" fmla="*/ 1239 w 1746"/>
              <a:gd name="T27" fmla="*/ 1148 h 1148"/>
              <a:gd name="T28" fmla="*/ 1296 w 1746"/>
              <a:gd name="T29" fmla="*/ 1148 h 1148"/>
              <a:gd name="T30" fmla="*/ 1422 w 1746"/>
              <a:gd name="T31" fmla="*/ 1148 h 1148"/>
              <a:gd name="T32" fmla="*/ 1746 w 1746"/>
              <a:gd name="T33" fmla="*/ 824 h 1148"/>
              <a:gd name="T34" fmla="*/ 1466 w 1746"/>
              <a:gd name="T35" fmla="*/ 504 h 1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46" h="1148">
                <a:moveTo>
                  <a:pt x="1466" y="504"/>
                </a:moveTo>
                <a:lnTo>
                  <a:pt x="1466" y="481"/>
                </a:lnTo>
                <a:cubicBezTo>
                  <a:pt x="1466" y="215"/>
                  <a:pt x="1251" y="0"/>
                  <a:pt x="985" y="0"/>
                </a:cubicBezTo>
                <a:cubicBezTo>
                  <a:pt x="818" y="0"/>
                  <a:pt x="671" y="87"/>
                  <a:pt x="584" y="215"/>
                </a:cubicBezTo>
                <a:cubicBezTo>
                  <a:pt x="545" y="193"/>
                  <a:pt x="500" y="180"/>
                  <a:pt x="452" y="180"/>
                </a:cubicBezTo>
                <a:cubicBezTo>
                  <a:pt x="394" y="180"/>
                  <a:pt x="341" y="197"/>
                  <a:pt x="297" y="226"/>
                </a:cubicBezTo>
                <a:cubicBezTo>
                  <a:pt x="223" y="275"/>
                  <a:pt x="175" y="358"/>
                  <a:pt x="173" y="452"/>
                </a:cubicBezTo>
                <a:cubicBezTo>
                  <a:pt x="70" y="520"/>
                  <a:pt x="0" y="638"/>
                  <a:pt x="0" y="770"/>
                </a:cubicBezTo>
                <a:cubicBezTo>
                  <a:pt x="0" y="966"/>
                  <a:pt x="147" y="1126"/>
                  <a:pt x="337" y="1148"/>
                </a:cubicBezTo>
                <a:lnTo>
                  <a:pt x="378" y="1148"/>
                </a:lnTo>
                <a:lnTo>
                  <a:pt x="417" y="1148"/>
                </a:lnTo>
                <a:lnTo>
                  <a:pt x="1203" y="1148"/>
                </a:lnTo>
                <a:lnTo>
                  <a:pt x="1219" y="1148"/>
                </a:lnTo>
                <a:lnTo>
                  <a:pt x="1239" y="1148"/>
                </a:lnTo>
                <a:lnTo>
                  <a:pt x="1296" y="1148"/>
                </a:lnTo>
                <a:lnTo>
                  <a:pt x="1422" y="1148"/>
                </a:lnTo>
                <a:cubicBezTo>
                  <a:pt x="1601" y="1145"/>
                  <a:pt x="1746" y="1001"/>
                  <a:pt x="1746" y="824"/>
                </a:cubicBezTo>
                <a:cubicBezTo>
                  <a:pt x="1746" y="661"/>
                  <a:pt x="1624" y="526"/>
                  <a:pt x="1466" y="504"/>
                </a:cubicBezTo>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3F3F3F"/>
              </a:solidFill>
            </a:endParaRPr>
          </a:p>
        </p:txBody>
      </p:sp>
      <p:sp>
        <p:nvSpPr>
          <p:cNvPr id="32" name="Freeform 31"/>
          <p:cNvSpPr/>
          <p:nvPr/>
        </p:nvSpPr>
        <p:spPr>
          <a:xfrm>
            <a:off x="8835396" y="1345196"/>
            <a:ext cx="635618" cy="612956"/>
          </a:xfrm>
          <a:custGeom>
            <a:avLst/>
            <a:gdLst>
              <a:gd name="connsiteX0" fmla="*/ 147901 w 547492"/>
              <a:gd name="connsiteY0" fmla="*/ 159 h 547027"/>
              <a:gd name="connsiteX1" fmla="*/ 164790 w 547492"/>
              <a:gd name="connsiteY1" fmla="*/ 17385 h 547027"/>
              <a:gd name="connsiteX2" fmla="*/ 257543 w 547492"/>
              <a:gd name="connsiteY2" fmla="*/ 261873 h 547027"/>
              <a:gd name="connsiteX3" fmla="*/ 531263 w 547492"/>
              <a:gd name="connsiteY3" fmla="*/ 383096 h 547027"/>
              <a:gd name="connsiteX4" fmla="*/ 533050 w 547492"/>
              <a:gd name="connsiteY4" fmla="*/ 419093 h 547027"/>
              <a:gd name="connsiteX5" fmla="*/ 234902 w 547492"/>
              <a:gd name="connsiteY5" fmla="*/ 291210 h 547027"/>
              <a:gd name="connsiteX6" fmla="*/ 130118 w 547492"/>
              <a:gd name="connsiteY6" fmla="*/ 16219 h 547027"/>
              <a:gd name="connsiteX7" fmla="*/ 147901 w 547492"/>
              <a:gd name="connsiteY7" fmla="*/ 159 h 547027"/>
              <a:gd name="connsiteX8" fmla="*/ 258593 w 547492"/>
              <a:gd name="connsiteY8" fmla="*/ 83 h 547027"/>
              <a:gd name="connsiteX9" fmla="*/ 276870 w 547492"/>
              <a:gd name="connsiteY9" fmla="*/ 19473 h 547027"/>
              <a:gd name="connsiteX10" fmla="*/ 342477 w 547492"/>
              <a:gd name="connsiteY10" fmla="*/ 185830 h 547027"/>
              <a:gd name="connsiteX11" fmla="*/ 529533 w 547492"/>
              <a:gd name="connsiteY11" fmla="*/ 271534 h 547027"/>
              <a:gd name="connsiteX12" fmla="*/ 529010 w 547492"/>
              <a:gd name="connsiteY12" fmla="*/ 308769 h 547027"/>
              <a:gd name="connsiteX13" fmla="*/ 319908 w 547492"/>
              <a:gd name="connsiteY13" fmla="*/ 218161 h 547027"/>
              <a:gd name="connsiteX14" fmla="*/ 241025 w 547492"/>
              <a:gd name="connsiteY14" fmla="*/ 18615 h 547027"/>
              <a:gd name="connsiteX15" fmla="*/ 258593 w 547492"/>
              <a:gd name="connsiteY15" fmla="*/ 83 h 547027"/>
              <a:gd name="connsiteX16" fmla="*/ 18843 w 547492"/>
              <a:gd name="connsiteY16" fmla="*/ 10 h 547027"/>
              <a:gd name="connsiteX17" fmla="*/ 37685 w 547492"/>
              <a:gd name="connsiteY17" fmla="*/ 16302 h 547027"/>
              <a:gd name="connsiteX18" fmla="*/ 164891 w 547492"/>
              <a:gd name="connsiteY18" fmla="*/ 345340 h 547027"/>
              <a:gd name="connsiteX19" fmla="*/ 531167 w 547492"/>
              <a:gd name="connsiteY19" fmla="*/ 510082 h 547027"/>
              <a:gd name="connsiteX20" fmla="*/ 528039 w 547492"/>
              <a:gd name="connsiteY20" fmla="*/ 547022 h 547027"/>
              <a:gd name="connsiteX21" fmla="*/ 139867 w 547492"/>
              <a:gd name="connsiteY21" fmla="*/ 375130 h 547027"/>
              <a:gd name="connsiteX22" fmla="*/ 0 w 547492"/>
              <a:gd name="connsiteY22" fmla="*/ 15557 h 547027"/>
              <a:gd name="connsiteX23" fmla="*/ 18843 w 547492"/>
              <a:gd name="connsiteY23" fmla="*/ 10 h 547027"/>
              <a:gd name="connsiteX24" fmla="*/ 361357 w 547492"/>
              <a:gd name="connsiteY24" fmla="*/ 3 h 547027"/>
              <a:gd name="connsiteX25" fmla="*/ 379427 w 547492"/>
              <a:gd name="connsiteY25" fmla="*/ 22811 h 547027"/>
              <a:gd name="connsiteX26" fmla="*/ 416799 w 547492"/>
              <a:gd name="connsiteY26" fmla="*/ 121134 h 547027"/>
              <a:gd name="connsiteX27" fmla="*/ 530986 w 547492"/>
              <a:gd name="connsiteY27" fmla="*/ 167238 h 547027"/>
              <a:gd name="connsiteX28" fmla="*/ 528863 w 547492"/>
              <a:gd name="connsiteY28" fmla="*/ 205554 h 547027"/>
              <a:gd name="connsiteX29" fmla="*/ 395749 w 547492"/>
              <a:gd name="connsiteY29" fmla="*/ 150171 h 547027"/>
              <a:gd name="connsiteX30" fmla="*/ 342870 w 547492"/>
              <a:gd name="connsiteY30" fmla="*/ 38961 h 547027"/>
              <a:gd name="connsiteX31" fmla="*/ 343296 w 547492"/>
              <a:gd name="connsiteY31" fmla="*/ 21634 h 547027"/>
              <a:gd name="connsiteX32" fmla="*/ 361357 w 547492"/>
              <a:gd name="connsiteY32" fmla="*/ 3 h 547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547492" h="547027">
                <a:moveTo>
                  <a:pt x="147901" y="159"/>
                </a:moveTo>
                <a:cubicBezTo>
                  <a:pt x="156233" y="1247"/>
                  <a:pt x="164417" y="7883"/>
                  <a:pt x="164790" y="17385"/>
                </a:cubicBezTo>
                <a:cubicBezTo>
                  <a:pt x="163504" y="123250"/>
                  <a:pt x="210481" y="208637"/>
                  <a:pt x="257543" y="261873"/>
                </a:cubicBezTo>
                <a:cubicBezTo>
                  <a:pt x="329801" y="345790"/>
                  <a:pt x="450493" y="385299"/>
                  <a:pt x="531263" y="383096"/>
                </a:cubicBezTo>
                <a:cubicBezTo>
                  <a:pt x="554755" y="384136"/>
                  <a:pt x="550415" y="419245"/>
                  <a:pt x="533050" y="419093"/>
                </a:cubicBezTo>
                <a:cubicBezTo>
                  <a:pt x="450691" y="419472"/>
                  <a:pt x="338455" y="398909"/>
                  <a:pt x="234902" y="291210"/>
                </a:cubicBezTo>
                <a:cubicBezTo>
                  <a:pt x="193363" y="241274"/>
                  <a:pt x="128927" y="167539"/>
                  <a:pt x="130118" y="16219"/>
                </a:cubicBezTo>
                <a:cubicBezTo>
                  <a:pt x="131087" y="3530"/>
                  <a:pt x="139569" y="-930"/>
                  <a:pt x="147901" y="159"/>
                </a:cubicBezTo>
                <a:close/>
                <a:moveTo>
                  <a:pt x="258593" y="83"/>
                </a:moveTo>
                <a:cubicBezTo>
                  <a:pt x="267391" y="-753"/>
                  <a:pt x="276308" y="4730"/>
                  <a:pt x="276870" y="19473"/>
                </a:cubicBezTo>
                <a:cubicBezTo>
                  <a:pt x="277152" y="95057"/>
                  <a:pt x="309784" y="144239"/>
                  <a:pt x="342477" y="185830"/>
                </a:cubicBezTo>
                <a:cubicBezTo>
                  <a:pt x="395970" y="243463"/>
                  <a:pt x="472402" y="273156"/>
                  <a:pt x="529533" y="271534"/>
                </a:cubicBezTo>
                <a:cubicBezTo>
                  <a:pt x="554491" y="271108"/>
                  <a:pt x="552612" y="307689"/>
                  <a:pt x="529010" y="308769"/>
                </a:cubicBezTo>
                <a:cubicBezTo>
                  <a:pt x="463605" y="309049"/>
                  <a:pt x="394346" y="293904"/>
                  <a:pt x="319908" y="218161"/>
                </a:cubicBezTo>
                <a:cubicBezTo>
                  <a:pt x="290526" y="181384"/>
                  <a:pt x="240182" y="130058"/>
                  <a:pt x="241025" y="18615"/>
                </a:cubicBezTo>
                <a:cubicBezTo>
                  <a:pt x="241115" y="8077"/>
                  <a:pt x="249795" y="920"/>
                  <a:pt x="258593" y="83"/>
                </a:cubicBezTo>
                <a:close/>
                <a:moveTo>
                  <a:pt x="18843" y="10"/>
                </a:moveTo>
                <a:cubicBezTo>
                  <a:pt x="28214" y="265"/>
                  <a:pt x="37586" y="5826"/>
                  <a:pt x="37685" y="16302"/>
                </a:cubicBezTo>
                <a:cubicBezTo>
                  <a:pt x="35997" y="154729"/>
                  <a:pt x="103125" y="275729"/>
                  <a:pt x="164891" y="345340"/>
                </a:cubicBezTo>
                <a:cubicBezTo>
                  <a:pt x="259725" y="455069"/>
                  <a:pt x="425162" y="512962"/>
                  <a:pt x="531167" y="510082"/>
                </a:cubicBezTo>
                <a:cubicBezTo>
                  <a:pt x="555744" y="509883"/>
                  <a:pt x="550829" y="547221"/>
                  <a:pt x="528039" y="547022"/>
                </a:cubicBezTo>
                <a:cubicBezTo>
                  <a:pt x="419949" y="547519"/>
                  <a:pt x="273429" y="516735"/>
                  <a:pt x="139867" y="375130"/>
                </a:cubicBezTo>
                <a:cubicBezTo>
                  <a:pt x="85350" y="312173"/>
                  <a:pt x="0" y="200955"/>
                  <a:pt x="0" y="15557"/>
                </a:cubicBezTo>
                <a:cubicBezTo>
                  <a:pt x="99" y="4808"/>
                  <a:pt x="9471" y="-244"/>
                  <a:pt x="18843" y="10"/>
                </a:cubicBezTo>
                <a:close/>
                <a:moveTo>
                  <a:pt x="361357" y="3"/>
                </a:moveTo>
                <a:cubicBezTo>
                  <a:pt x="370360" y="-117"/>
                  <a:pt x="379364" y="7170"/>
                  <a:pt x="379427" y="22811"/>
                </a:cubicBezTo>
                <a:cubicBezTo>
                  <a:pt x="379608" y="73981"/>
                  <a:pt x="395801" y="92977"/>
                  <a:pt x="416799" y="121134"/>
                </a:cubicBezTo>
                <a:cubicBezTo>
                  <a:pt x="452945" y="158363"/>
                  <a:pt x="498462" y="168336"/>
                  <a:pt x="530986" y="167238"/>
                </a:cubicBezTo>
                <a:cubicBezTo>
                  <a:pt x="549400" y="166950"/>
                  <a:pt x="557131" y="203036"/>
                  <a:pt x="528863" y="205554"/>
                </a:cubicBezTo>
                <a:cubicBezTo>
                  <a:pt x="486854" y="205743"/>
                  <a:pt x="443561" y="201449"/>
                  <a:pt x="395749" y="150171"/>
                </a:cubicBezTo>
                <a:cubicBezTo>
                  <a:pt x="351991" y="102452"/>
                  <a:pt x="343809" y="62263"/>
                  <a:pt x="342870" y="38961"/>
                </a:cubicBezTo>
                <a:cubicBezTo>
                  <a:pt x="342557" y="31194"/>
                  <a:pt x="343049" y="25303"/>
                  <a:pt x="343296" y="21634"/>
                </a:cubicBezTo>
                <a:cubicBezTo>
                  <a:pt x="343354" y="7649"/>
                  <a:pt x="352355" y="122"/>
                  <a:pt x="361357" y="3"/>
                </a:cubicBezTo>
                <a:close/>
              </a:path>
            </a:pathLst>
          </a:custGeom>
          <a:solidFill>
            <a:srgbClr val="EB3C00"/>
          </a:solidFill>
          <a:ln w="25400" cap="flat" cmpd="sng" algn="ctr">
            <a:noFill/>
            <a:prstDash val="solid"/>
          </a:ln>
          <a:effectLst/>
        </p:spPr>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defTabSz="932316">
              <a:defRPr/>
            </a:pPr>
            <a:endParaRPr lang="en-US" sz="1200" kern="0" dirty="0" smtClean="0">
              <a:solidFill>
                <a:srgbClr val="FFFFFF"/>
              </a:solidFill>
            </a:endParaRPr>
          </a:p>
        </p:txBody>
      </p:sp>
      <p:sp>
        <p:nvSpPr>
          <p:cNvPr id="42" name="Oval 3"/>
          <p:cNvSpPr/>
          <p:nvPr/>
        </p:nvSpPr>
        <p:spPr>
          <a:xfrm>
            <a:off x="9382540" y="196580"/>
            <a:ext cx="3015205" cy="1498947"/>
          </a:xfrm>
          <a:custGeom>
            <a:avLst/>
            <a:gdLst/>
            <a:ahLst/>
            <a:cxnLst/>
            <a:rect l="l" t="t" r="r" b="b"/>
            <a:pathLst>
              <a:path w="3526262" h="1620949">
                <a:moveTo>
                  <a:pt x="1905000" y="0"/>
                </a:moveTo>
                <a:cubicBezTo>
                  <a:pt x="2160688" y="0"/>
                  <a:pt x="2383694" y="113064"/>
                  <a:pt x="2499237" y="282370"/>
                </a:cubicBezTo>
                <a:cubicBezTo>
                  <a:pt x="2575283" y="213250"/>
                  <a:pt x="2678425" y="171450"/>
                  <a:pt x="2791830" y="171450"/>
                </a:cubicBezTo>
                <a:cubicBezTo>
                  <a:pt x="3026775" y="171450"/>
                  <a:pt x="3217672" y="350859"/>
                  <a:pt x="3220758" y="573537"/>
                </a:cubicBezTo>
                <a:cubicBezTo>
                  <a:pt x="3397786" y="622453"/>
                  <a:pt x="3526262" y="778390"/>
                  <a:pt x="3526262" y="962874"/>
                </a:cubicBezTo>
                <a:cubicBezTo>
                  <a:pt x="3526262" y="1188608"/>
                  <a:pt x="3333910" y="1371601"/>
                  <a:pt x="3096631" y="1371601"/>
                </a:cubicBezTo>
                <a:cubicBezTo>
                  <a:pt x="3059788" y="1371601"/>
                  <a:pt x="3024029" y="1367189"/>
                  <a:pt x="2990261" y="1357433"/>
                </a:cubicBezTo>
                <a:cubicBezTo>
                  <a:pt x="2927759" y="1511709"/>
                  <a:pt x="2766228" y="1620949"/>
                  <a:pt x="2577016" y="1620949"/>
                </a:cubicBezTo>
                <a:cubicBezTo>
                  <a:pt x="2414017" y="1620949"/>
                  <a:pt x="2271559" y="1539879"/>
                  <a:pt x="2196015" y="1418135"/>
                </a:cubicBezTo>
                <a:cubicBezTo>
                  <a:pt x="2120472" y="1539878"/>
                  <a:pt x="1978014" y="1620948"/>
                  <a:pt x="1815015" y="1620948"/>
                </a:cubicBezTo>
                <a:cubicBezTo>
                  <a:pt x="1656048" y="1620948"/>
                  <a:pt x="1516619" y="1543840"/>
                  <a:pt x="1439398" y="1427276"/>
                </a:cubicBezTo>
                <a:cubicBezTo>
                  <a:pt x="1357285" y="1544659"/>
                  <a:pt x="1220952" y="1620948"/>
                  <a:pt x="1066800" y="1620948"/>
                </a:cubicBezTo>
                <a:cubicBezTo>
                  <a:pt x="870242" y="1620948"/>
                  <a:pt x="702654" y="1496911"/>
                  <a:pt x="639503" y="1322297"/>
                </a:cubicBezTo>
                <a:cubicBezTo>
                  <a:pt x="575919" y="1362710"/>
                  <a:pt x="500200" y="1385558"/>
                  <a:pt x="419100" y="1385558"/>
                </a:cubicBezTo>
                <a:cubicBezTo>
                  <a:pt x="187637" y="1385558"/>
                  <a:pt x="0" y="1199441"/>
                  <a:pt x="0" y="969853"/>
                </a:cubicBezTo>
                <a:cubicBezTo>
                  <a:pt x="0" y="740265"/>
                  <a:pt x="187637" y="554148"/>
                  <a:pt x="419100" y="554148"/>
                </a:cubicBezTo>
                <a:cubicBezTo>
                  <a:pt x="466502" y="554148"/>
                  <a:pt x="512065" y="561954"/>
                  <a:pt x="553956" y="578110"/>
                </a:cubicBezTo>
                <a:cubicBezTo>
                  <a:pt x="607567" y="387831"/>
                  <a:pt x="782911" y="249348"/>
                  <a:pt x="990600" y="249348"/>
                </a:cubicBezTo>
                <a:cubicBezTo>
                  <a:pt x="1096279" y="249348"/>
                  <a:pt x="1193583" y="285202"/>
                  <a:pt x="1269841" y="346915"/>
                </a:cubicBezTo>
                <a:cubicBezTo>
                  <a:pt x="1370673" y="143326"/>
                  <a:pt x="1617122" y="0"/>
                  <a:pt x="1905000" y="0"/>
                </a:cubicBezTo>
                <a:close/>
              </a:path>
            </a:pathLst>
          </a:custGeom>
          <a:solidFill>
            <a:srgbClr val="0072C6">
              <a:lumMod val="20000"/>
              <a:lumOff val="80000"/>
            </a:srgbClr>
          </a:solidFill>
          <a:ln w="38100" cap="flat" cmpd="sng" algn="ctr">
            <a:noFill/>
            <a:prstDash val="solid"/>
          </a:ln>
          <a:effectLst/>
        </p:spPr>
        <p:txBody>
          <a:bodyPr rtlCol="0" anchor="ctr"/>
          <a:lstStyle/>
          <a:p>
            <a:pPr marL="0" marR="0" lvl="0" indent="0" algn="ctr" defTabSz="932316"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FFFFFF"/>
              </a:solidFill>
              <a:effectLst/>
              <a:uLnTx/>
              <a:uFillTx/>
              <a:latin typeface="Segoe UI"/>
              <a:ea typeface="+mn-ea"/>
              <a:cs typeface="+mn-cs"/>
            </a:endParaRPr>
          </a:p>
        </p:txBody>
      </p:sp>
      <p:sp>
        <p:nvSpPr>
          <p:cNvPr id="43" name="Freeform 42"/>
          <p:cNvSpPr/>
          <p:nvPr/>
        </p:nvSpPr>
        <p:spPr>
          <a:xfrm>
            <a:off x="10988536" y="381130"/>
            <a:ext cx="1774733" cy="1026756"/>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0072C6"/>
          </a:solidFill>
          <a:ln w="9525"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smtClean="0">
              <a:ln>
                <a:noFill/>
              </a:ln>
              <a:solidFill>
                <a:prstClr val="white"/>
              </a:solidFill>
              <a:effectLst/>
              <a:uLnTx/>
              <a:uFillTx/>
              <a:latin typeface="Segoe UI"/>
              <a:ea typeface="+mn-ea"/>
              <a:cs typeface="+mn-cs"/>
            </a:endParaRPr>
          </a:p>
        </p:txBody>
      </p:sp>
      <p:sp>
        <p:nvSpPr>
          <p:cNvPr id="33" name="Freeform 7"/>
          <p:cNvSpPr>
            <a:spLocks noEditPoints="1"/>
          </p:cNvSpPr>
          <p:nvPr/>
        </p:nvSpPr>
        <p:spPr bwMode="auto">
          <a:xfrm>
            <a:off x="4962828" y="2055321"/>
            <a:ext cx="7334249" cy="4342842"/>
          </a:xfrm>
          <a:custGeom>
            <a:avLst/>
            <a:gdLst>
              <a:gd name="T0" fmla="*/ 412 w 485"/>
              <a:gd name="T1" fmla="*/ 0 h 260"/>
              <a:gd name="T2" fmla="*/ 74 w 485"/>
              <a:gd name="T3" fmla="*/ 0 h 260"/>
              <a:gd name="T4" fmla="*/ 62 w 485"/>
              <a:gd name="T5" fmla="*/ 12 h 260"/>
              <a:gd name="T6" fmla="*/ 62 w 485"/>
              <a:gd name="T7" fmla="*/ 220 h 260"/>
              <a:gd name="T8" fmla="*/ 74 w 485"/>
              <a:gd name="T9" fmla="*/ 232 h 260"/>
              <a:gd name="T10" fmla="*/ 412 w 485"/>
              <a:gd name="T11" fmla="*/ 232 h 260"/>
              <a:gd name="T12" fmla="*/ 424 w 485"/>
              <a:gd name="T13" fmla="*/ 220 h 260"/>
              <a:gd name="T14" fmla="*/ 424 w 485"/>
              <a:gd name="T15" fmla="*/ 12 h 260"/>
              <a:gd name="T16" fmla="*/ 412 w 485"/>
              <a:gd name="T17" fmla="*/ 0 h 260"/>
              <a:gd name="T18" fmla="*/ 408 w 485"/>
              <a:gd name="T19" fmla="*/ 218 h 260"/>
              <a:gd name="T20" fmla="*/ 77 w 485"/>
              <a:gd name="T21" fmla="*/ 218 h 260"/>
              <a:gd name="T22" fmla="*/ 77 w 485"/>
              <a:gd name="T23" fmla="*/ 13 h 260"/>
              <a:gd name="T24" fmla="*/ 408 w 485"/>
              <a:gd name="T25" fmla="*/ 13 h 260"/>
              <a:gd name="T26" fmla="*/ 408 w 485"/>
              <a:gd name="T27" fmla="*/ 218 h 260"/>
              <a:gd name="T28" fmla="*/ 276 w 485"/>
              <a:gd name="T29" fmla="*/ 241 h 260"/>
              <a:gd name="T30" fmla="*/ 276 w 485"/>
              <a:gd name="T31" fmla="*/ 243 h 260"/>
              <a:gd name="T32" fmla="*/ 271 w 485"/>
              <a:gd name="T33" fmla="*/ 247 h 260"/>
              <a:gd name="T34" fmla="*/ 214 w 485"/>
              <a:gd name="T35" fmla="*/ 247 h 260"/>
              <a:gd name="T36" fmla="*/ 210 w 485"/>
              <a:gd name="T37" fmla="*/ 243 h 260"/>
              <a:gd name="T38" fmla="*/ 210 w 485"/>
              <a:gd name="T39" fmla="*/ 241 h 260"/>
              <a:gd name="T40" fmla="*/ 0 w 485"/>
              <a:gd name="T41" fmla="*/ 241 h 260"/>
              <a:gd name="T42" fmla="*/ 0 w 485"/>
              <a:gd name="T43" fmla="*/ 253 h 260"/>
              <a:gd name="T44" fmla="*/ 16 w 485"/>
              <a:gd name="T45" fmla="*/ 260 h 260"/>
              <a:gd name="T46" fmla="*/ 16 w 485"/>
              <a:gd name="T47" fmla="*/ 260 h 260"/>
              <a:gd name="T48" fmla="*/ 469 w 485"/>
              <a:gd name="T49" fmla="*/ 260 h 260"/>
              <a:gd name="T50" fmla="*/ 469 w 485"/>
              <a:gd name="T51" fmla="*/ 260 h 260"/>
              <a:gd name="T52" fmla="*/ 485 w 485"/>
              <a:gd name="T53" fmla="*/ 253 h 260"/>
              <a:gd name="T54" fmla="*/ 485 w 485"/>
              <a:gd name="T55" fmla="*/ 241 h 260"/>
              <a:gd name="T56" fmla="*/ 276 w 485"/>
              <a:gd name="T57" fmla="*/ 241 h 260"/>
              <a:gd name="T58" fmla="*/ 276 w 485"/>
              <a:gd name="T59" fmla="*/ 241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85" h="260">
                <a:moveTo>
                  <a:pt x="412" y="0"/>
                </a:moveTo>
                <a:cubicBezTo>
                  <a:pt x="74" y="0"/>
                  <a:pt x="74" y="0"/>
                  <a:pt x="74" y="0"/>
                </a:cubicBezTo>
                <a:cubicBezTo>
                  <a:pt x="68" y="0"/>
                  <a:pt x="62" y="5"/>
                  <a:pt x="62" y="12"/>
                </a:cubicBezTo>
                <a:cubicBezTo>
                  <a:pt x="62" y="220"/>
                  <a:pt x="62" y="220"/>
                  <a:pt x="62" y="220"/>
                </a:cubicBezTo>
                <a:cubicBezTo>
                  <a:pt x="62" y="227"/>
                  <a:pt x="68" y="232"/>
                  <a:pt x="74" y="232"/>
                </a:cubicBezTo>
                <a:cubicBezTo>
                  <a:pt x="412" y="232"/>
                  <a:pt x="412" y="232"/>
                  <a:pt x="412" y="232"/>
                </a:cubicBezTo>
                <a:cubicBezTo>
                  <a:pt x="419" y="232"/>
                  <a:pt x="424" y="227"/>
                  <a:pt x="424" y="220"/>
                </a:cubicBezTo>
                <a:cubicBezTo>
                  <a:pt x="424" y="12"/>
                  <a:pt x="424" y="12"/>
                  <a:pt x="424" y="12"/>
                </a:cubicBezTo>
                <a:cubicBezTo>
                  <a:pt x="424" y="5"/>
                  <a:pt x="419" y="0"/>
                  <a:pt x="412" y="0"/>
                </a:cubicBezTo>
                <a:close/>
                <a:moveTo>
                  <a:pt x="408" y="218"/>
                </a:moveTo>
                <a:cubicBezTo>
                  <a:pt x="77" y="218"/>
                  <a:pt x="77" y="218"/>
                  <a:pt x="77" y="218"/>
                </a:cubicBezTo>
                <a:cubicBezTo>
                  <a:pt x="77" y="13"/>
                  <a:pt x="77" y="13"/>
                  <a:pt x="77" y="13"/>
                </a:cubicBezTo>
                <a:cubicBezTo>
                  <a:pt x="408" y="13"/>
                  <a:pt x="408" y="13"/>
                  <a:pt x="408" y="13"/>
                </a:cubicBezTo>
                <a:cubicBezTo>
                  <a:pt x="408" y="218"/>
                  <a:pt x="408" y="218"/>
                  <a:pt x="408" y="218"/>
                </a:cubicBezTo>
                <a:close/>
                <a:moveTo>
                  <a:pt x="276" y="241"/>
                </a:moveTo>
                <a:cubicBezTo>
                  <a:pt x="276" y="243"/>
                  <a:pt x="276" y="243"/>
                  <a:pt x="276" y="243"/>
                </a:cubicBezTo>
                <a:cubicBezTo>
                  <a:pt x="276" y="246"/>
                  <a:pt x="274" y="247"/>
                  <a:pt x="271" y="247"/>
                </a:cubicBezTo>
                <a:cubicBezTo>
                  <a:pt x="214" y="247"/>
                  <a:pt x="214" y="247"/>
                  <a:pt x="214" y="247"/>
                </a:cubicBezTo>
                <a:cubicBezTo>
                  <a:pt x="212" y="247"/>
                  <a:pt x="210" y="246"/>
                  <a:pt x="210" y="243"/>
                </a:cubicBezTo>
                <a:cubicBezTo>
                  <a:pt x="210" y="241"/>
                  <a:pt x="210" y="241"/>
                  <a:pt x="210" y="241"/>
                </a:cubicBezTo>
                <a:cubicBezTo>
                  <a:pt x="0" y="241"/>
                  <a:pt x="0" y="241"/>
                  <a:pt x="0" y="241"/>
                </a:cubicBezTo>
                <a:cubicBezTo>
                  <a:pt x="0" y="253"/>
                  <a:pt x="0" y="253"/>
                  <a:pt x="0" y="253"/>
                </a:cubicBezTo>
                <a:cubicBezTo>
                  <a:pt x="0" y="253"/>
                  <a:pt x="11" y="260"/>
                  <a:pt x="16" y="260"/>
                </a:cubicBezTo>
                <a:cubicBezTo>
                  <a:pt x="16" y="260"/>
                  <a:pt x="16" y="260"/>
                  <a:pt x="16" y="260"/>
                </a:cubicBezTo>
                <a:cubicBezTo>
                  <a:pt x="469" y="260"/>
                  <a:pt x="469" y="260"/>
                  <a:pt x="469" y="260"/>
                </a:cubicBezTo>
                <a:cubicBezTo>
                  <a:pt x="469" y="260"/>
                  <a:pt x="469" y="260"/>
                  <a:pt x="469" y="260"/>
                </a:cubicBezTo>
                <a:cubicBezTo>
                  <a:pt x="474" y="260"/>
                  <a:pt x="485" y="253"/>
                  <a:pt x="485" y="253"/>
                </a:cubicBezTo>
                <a:cubicBezTo>
                  <a:pt x="485" y="241"/>
                  <a:pt x="485" y="241"/>
                  <a:pt x="485" y="241"/>
                </a:cubicBezTo>
                <a:cubicBezTo>
                  <a:pt x="276" y="241"/>
                  <a:pt x="276" y="241"/>
                  <a:pt x="276" y="241"/>
                </a:cubicBezTo>
                <a:cubicBezTo>
                  <a:pt x="276" y="241"/>
                  <a:pt x="276" y="241"/>
                  <a:pt x="276" y="241"/>
                </a:cubicBezTo>
                <a:close/>
              </a:path>
            </a:pathLst>
          </a:custGeom>
          <a:solidFill>
            <a:srgbClr val="68217A"/>
          </a:solidFill>
          <a:ln>
            <a:noFill/>
          </a:ln>
        </p:spPr>
        <p:txBody>
          <a:bodyPr vert="horz" wrap="square" lIns="91440" tIns="45720" rIns="91440" bIns="45720" numCol="1" anchor="t" anchorCtr="0" compatLnSpc="1">
            <a:prstTxWarp prst="textNoShape">
              <a:avLst/>
            </a:prstTxWarp>
          </a:bodyPr>
          <a:lstStyle/>
          <a:p>
            <a:pPr marL="0" marR="0" lvl="0" indent="0" defTabSz="932316"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34" name="Rectangle 33"/>
          <p:cNvSpPr/>
          <p:nvPr/>
        </p:nvSpPr>
        <p:spPr bwMode="auto">
          <a:xfrm>
            <a:off x="6075884" y="2229755"/>
            <a:ext cx="5186677" cy="3603088"/>
          </a:xfrm>
          <a:prstGeom prst="rect">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12" name="Picture 11"/>
          <p:cNvPicPr>
            <a:picLocks noChangeAspect="1"/>
          </p:cNvPicPr>
          <p:nvPr/>
        </p:nvPicPr>
        <p:blipFill rotWithShape="1">
          <a:blip r:embed="rId3" cstate="screen">
            <a:extLst>
              <a:ext uri="{28A0092B-C50C-407E-A947-70E740481C1C}">
                <a14:useLocalDpi xmlns:a14="http://schemas.microsoft.com/office/drawing/2010/main" val="0"/>
              </a:ext>
            </a:extLst>
          </a:blip>
          <a:srcRect r="6697"/>
          <a:stretch/>
        </p:blipFill>
        <p:spPr>
          <a:xfrm>
            <a:off x="6075884" y="2447174"/>
            <a:ext cx="5175153" cy="3118455"/>
          </a:xfrm>
          <a:prstGeom prst="rect">
            <a:avLst/>
          </a:prstGeom>
          <a:ln>
            <a:noFill/>
          </a:ln>
          <a:effectLst>
            <a:outerShdw blurRad="63500" sx="101000" sy="101000" algn="ctr" rotWithShape="0">
              <a:prstClr val="black">
                <a:alpha val="20000"/>
              </a:prstClr>
            </a:outerShdw>
          </a:effectLst>
        </p:spPr>
      </p:pic>
    </p:spTree>
    <p:extLst>
      <p:ext uri="{BB962C8B-B14F-4D97-AF65-F5344CB8AC3E}">
        <p14:creationId xmlns:p14="http://schemas.microsoft.com/office/powerpoint/2010/main" val="395218088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p:cNvSpPr/>
          <p:nvPr/>
        </p:nvSpPr>
        <p:spPr>
          <a:xfrm>
            <a:off x="4724400" y="4690841"/>
            <a:ext cx="8294323" cy="2272655"/>
          </a:xfrm>
          <a:prstGeom prst="rect">
            <a:avLst/>
          </a:prstGeom>
          <a:solidFill>
            <a:srgbClr val="FD7425"/>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 name="Text Placeholder 1"/>
          <p:cNvSpPr>
            <a:spLocks noGrp="1"/>
          </p:cNvSpPr>
          <p:nvPr>
            <p:ph type="body" idx="1"/>
          </p:nvPr>
        </p:nvSpPr>
        <p:spPr/>
        <p:txBody>
          <a:bodyPr/>
          <a:lstStyle/>
          <a:p>
            <a:r>
              <a:rPr lang="en-US" dirty="0" smtClean="0"/>
              <a:t>Office is the leading solution for business</a:t>
            </a:r>
            <a:endParaRPr lang="en-US" dirty="0"/>
          </a:p>
        </p:txBody>
      </p:sp>
      <p:sp>
        <p:nvSpPr>
          <p:cNvPr id="3" name="Text Placeholder 2"/>
          <p:cNvSpPr>
            <a:spLocks noGrp="1"/>
          </p:cNvSpPr>
          <p:nvPr>
            <p:ph type="body" sz="quarter" idx="10"/>
          </p:nvPr>
        </p:nvSpPr>
        <p:spPr/>
        <p:txBody>
          <a:bodyPr/>
          <a:lstStyle/>
          <a:p>
            <a:pPr lvl="0"/>
            <a:r>
              <a:rPr lang="en-US" sz="1800" dirty="0"/>
              <a:t>F</a:t>
            </a:r>
            <a:r>
              <a:rPr lang="en-US" sz="1800" dirty="0" smtClean="0"/>
              <a:t>rom Fortune 500 companies to your favorite shops, Office is the productivity solution of choice for millions of businesses around the world</a:t>
            </a:r>
          </a:p>
          <a:p>
            <a:r>
              <a:rPr lang="en-US" sz="1800" dirty="0"/>
              <a:t>With 1.3 billion Office users </a:t>
            </a:r>
            <a:r>
              <a:rPr lang="en-US" sz="1800" dirty="0" smtClean="0"/>
              <a:t>today, work on documents with others inside and outside your organization without losing rich file formatting</a:t>
            </a:r>
          </a:p>
          <a:p>
            <a:pPr lvl="0"/>
            <a:endParaRPr lang="en-US" sz="1800" dirty="0"/>
          </a:p>
        </p:txBody>
      </p:sp>
      <p:grpSp>
        <p:nvGrpSpPr>
          <p:cNvPr id="33" name="Group 32"/>
          <p:cNvGrpSpPr/>
          <p:nvPr/>
        </p:nvGrpSpPr>
        <p:grpSpPr>
          <a:xfrm>
            <a:off x="11052870" y="2013140"/>
            <a:ext cx="1007257" cy="3238575"/>
            <a:chOff x="12734172" y="4308661"/>
            <a:chExt cx="621962" cy="1887302"/>
          </a:xfrm>
        </p:grpSpPr>
        <p:sp>
          <p:nvSpPr>
            <p:cNvPr id="34" name="Rounded Rectangle 33"/>
            <p:cNvSpPr/>
            <p:nvPr/>
          </p:nvSpPr>
          <p:spPr bwMode="auto">
            <a:xfrm>
              <a:off x="13289154" y="5155304"/>
              <a:ext cx="57411" cy="114278"/>
            </a:xfrm>
            <a:prstGeom prst="roundRect">
              <a:avLst>
                <a:gd name="adj" fmla="val 50000"/>
              </a:avLst>
            </a:prstGeom>
            <a:solidFill>
              <a:srgbClr val="FFC0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Freeform 34"/>
            <p:cNvSpPr/>
            <p:nvPr/>
          </p:nvSpPr>
          <p:spPr bwMode="auto">
            <a:xfrm flipH="1">
              <a:off x="12852533" y="5158054"/>
              <a:ext cx="389697" cy="962985"/>
            </a:xfrm>
            <a:custGeom>
              <a:avLst/>
              <a:gdLst>
                <a:gd name="connsiteX0" fmla="*/ 525245 w 525245"/>
                <a:gd name="connsiteY0" fmla="*/ 0 h 1144902"/>
                <a:gd name="connsiteX1" fmla="*/ 312606 w 525245"/>
                <a:gd name="connsiteY1" fmla="*/ 0 h 1144902"/>
                <a:gd name="connsiteX2" fmla="*/ 312606 w 525245"/>
                <a:gd name="connsiteY2" fmla="*/ 33054 h 1144902"/>
                <a:gd name="connsiteX3" fmla="*/ 198983 w 525245"/>
                <a:gd name="connsiteY3" fmla="*/ 33054 h 1144902"/>
                <a:gd name="connsiteX4" fmla="*/ 198983 w 525245"/>
                <a:gd name="connsiteY4" fmla="*/ 0 h 1144902"/>
                <a:gd name="connsiteX5" fmla="*/ 0 w 525245"/>
                <a:gd name="connsiteY5" fmla="*/ 0 h 1144902"/>
                <a:gd name="connsiteX6" fmla="*/ 0 w 525245"/>
                <a:gd name="connsiteY6" fmla="*/ 45719 h 1144902"/>
                <a:gd name="connsiteX7" fmla="*/ 20739 w 525245"/>
                <a:gd name="connsiteY7" fmla="*/ 45719 h 1144902"/>
                <a:gd name="connsiteX8" fmla="*/ 73857 w 525245"/>
                <a:gd name="connsiteY8" fmla="*/ 1144902 h 1144902"/>
                <a:gd name="connsiteX9" fmla="*/ 223876 w 525245"/>
                <a:gd name="connsiteY9" fmla="*/ 1142521 h 1144902"/>
                <a:gd name="connsiteX10" fmla="*/ 263646 w 525245"/>
                <a:gd name="connsiteY10" fmla="*/ 218443 h 1144902"/>
                <a:gd name="connsiteX11" fmla="*/ 267345 w 525245"/>
                <a:gd name="connsiteY11" fmla="*/ 217759 h 1144902"/>
                <a:gd name="connsiteX12" fmla="*/ 302458 w 525245"/>
                <a:gd name="connsiteY12" fmla="*/ 1135377 h 1144902"/>
                <a:gd name="connsiteX13" fmla="*/ 454857 w 525245"/>
                <a:gd name="connsiteY13" fmla="*/ 1132996 h 1144902"/>
                <a:gd name="connsiteX14" fmla="*/ 500546 w 525245"/>
                <a:gd name="connsiteY14" fmla="*/ 45719 h 1144902"/>
                <a:gd name="connsiteX15" fmla="*/ 525245 w 525245"/>
                <a:gd name="connsiteY15" fmla="*/ 45719 h 1144902"/>
                <a:gd name="connsiteX0" fmla="*/ 525245 w 525245"/>
                <a:gd name="connsiteY0" fmla="*/ 0 h 1144902"/>
                <a:gd name="connsiteX1" fmla="*/ 312606 w 525245"/>
                <a:gd name="connsiteY1" fmla="*/ 0 h 1144902"/>
                <a:gd name="connsiteX2" fmla="*/ 312606 w 525245"/>
                <a:gd name="connsiteY2" fmla="*/ 33054 h 1144902"/>
                <a:gd name="connsiteX3" fmla="*/ 198983 w 525245"/>
                <a:gd name="connsiteY3" fmla="*/ 33054 h 1144902"/>
                <a:gd name="connsiteX4" fmla="*/ 198983 w 525245"/>
                <a:gd name="connsiteY4" fmla="*/ 0 h 1144902"/>
                <a:gd name="connsiteX5" fmla="*/ 0 w 525245"/>
                <a:gd name="connsiteY5" fmla="*/ 0 h 1144902"/>
                <a:gd name="connsiteX6" fmla="*/ 0 w 525245"/>
                <a:gd name="connsiteY6" fmla="*/ 45719 h 1144902"/>
                <a:gd name="connsiteX7" fmla="*/ 20739 w 525245"/>
                <a:gd name="connsiteY7" fmla="*/ 45719 h 1144902"/>
                <a:gd name="connsiteX8" fmla="*/ 73857 w 525245"/>
                <a:gd name="connsiteY8" fmla="*/ 1144902 h 1144902"/>
                <a:gd name="connsiteX9" fmla="*/ 223876 w 525245"/>
                <a:gd name="connsiteY9" fmla="*/ 1142521 h 1144902"/>
                <a:gd name="connsiteX10" fmla="*/ 263646 w 525245"/>
                <a:gd name="connsiteY10" fmla="*/ 218443 h 1144902"/>
                <a:gd name="connsiteX11" fmla="*/ 267345 w 525245"/>
                <a:gd name="connsiteY11" fmla="*/ 217759 h 1144902"/>
                <a:gd name="connsiteX12" fmla="*/ 302458 w 525245"/>
                <a:gd name="connsiteY12" fmla="*/ 1135377 h 1144902"/>
                <a:gd name="connsiteX13" fmla="*/ 454857 w 525245"/>
                <a:gd name="connsiteY13" fmla="*/ 1132996 h 1144902"/>
                <a:gd name="connsiteX14" fmla="*/ 504375 w 525245"/>
                <a:gd name="connsiteY14" fmla="*/ 223853 h 1144902"/>
                <a:gd name="connsiteX15" fmla="*/ 500546 w 525245"/>
                <a:gd name="connsiteY15" fmla="*/ 45719 h 1144902"/>
                <a:gd name="connsiteX16" fmla="*/ 525245 w 525245"/>
                <a:gd name="connsiteY16" fmla="*/ 45719 h 1144902"/>
                <a:gd name="connsiteX17" fmla="*/ 525245 w 525245"/>
                <a:gd name="connsiteY17" fmla="*/ 0 h 1144902"/>
                <a:gd name="connsiteX0" fmla="*/ 525245 w 525245"/>
                <a:gd name="connsiteY0" fmla="*/ 0 h 1144902"/>
                <a:gd name="connsiteX1" fmla="*/ 312606 w 525245"/>
                <a:gd name="connsiteY1" fmla="*/ 0 h 1144902"/>
                <a:gd name="connsiteX2" fmla="*/ 312606 w 525245"/>
                <a:gd name="connsiteY2" fmla="*/ 33054 h 1144902"/>
                <a:gd name="connsiteX3" fmla="*/ 198983 w 525245"/>
                <a:gd name="connsiteY3" fmla="*/ 33054 h 1144902"/>
                <a:gd name="connsiteX4" fmla="*/ 198983 w 525245"/>
                <a:gd name="connsiteY4" fmla="*/ 0 h 1144902"/>
                <a:gd name="connsiteX5" fmla="*/ 0 w 525245"/>
                <a:gd name="connsiteY5" fmla="*/ 0 h 1144902"/>
                <a:gd name="connsiteX6" fmla="*/ 0 w 525245"/>
                <a:gd name="connsiteY6" fmla="*/ 45719 h 1144902"/>
                <a:gd name="connsiteX7" fmla="*/ 20739 w 525245"/>
                <a:gd name="connsiteY7" fmla="*/ 45719 h 1144902"/>
                <a:gd name="connsiteX8" fmla="*/ 18408 w 525245"/>
                <a:gd name="connsiteY8" fmla="*/ 218246 h 1144902"/>
                <a:gd name="connsiteX9" fmla="*/ 73857 w 525245"/>
                <a:gd name="connsiteY9" fmla="*/ 1144902 h 1144902"/>
                <a:gd name="connsiteX10" fmla="*/ 223876 w 525245"/>
                <a:gd name="connsiteY10" fmla="*/ 1142521 h 1144902"/>
                <a:gd name="connsiteX11" fmla="*/ 263646 w 525245"/>
                <a:gd name="connsiteY11" fmla="*/ 218443 h 1144902"/>
                <a:gd name="connsiteX12" fmla="*/ 267345 w 525245"/>
                <a:gd name="connsiteY12" fmla="*/ 217759 h 1144902"/>
                <a:gd name="connsiteX13" fmla="*/ 302458 w 525245"/>
                <a:gd name="connsiteY13" fmla="*/ 1135377 h 1144902"/>
                <a:gd name="connsiteX14" fmla="*/ 454857 w 525245"/>
                <a:gd name="connsiteY14" fmla="*/ 1132996 h 1144902"/>
                <a:gd name="connsiteX15" fmla="*/ 504375 w 525245"/>
                <a:gd name="connsiteY15" fmla="*/ 223853 h 1144902"/>
                <a:gd name="connsiteX16" fmla="*/ 500546 w 525245"/>
                <a:gd name="connsiteY16" fmla="*/ 45719 h 1144902"/>
                <a:gd name="connsiteX17" fmla="*/ 525245 w 525245"/>
                <a:gd name="connsiteY17" fmla="*/ 45719 h 1144902"/>
                <a:gd name="connsiteX18" fmla="*/ 525245 w 525245"/>
                <a:gd name="connsiteY18" fmla="*/ 0 h 1144902"/>
                <a:gd name="connsiteX0" fmla="*/ 525245 w 525245"/>
                <a:gd name="connsiteY0" fmla="*/ 0 h 1144902"/>
                <a:gd name="connsiteX1" fmla="*/ 312606 w 525245"/>
                <a:gd name="connsiteY1" fmla="*/ 0 h 1144902"/>
                <a:gd name="connsiteX2" fmla="*/ 312606 w 525245"/>
                <a:gd name="connsiteY2" fmla="*/ 33054 h 1144902"/>
                <a:gd name="connsiteX3" fmla="*/ 198983 w 525245"/>
                <a:gd name="connsiteY3" fmla="*/ 33054 h 1144902"/>
                <a:gd name="connsiteX4" fmla="*/ 198983 w 525245"/>
                <a:gd name="connsiteY4" fmla="*/ 0 h 1144902"/>
                <a:gd name="connsiteX5" fmla="*/ 0 w 525245"/>
                <a:gd name="connsiteY5" fmla="*/ 0 h 1144902"/>
                <a:gd name="connsiteX6" fmla="*/ 0 w 525245"/>
                <a:gd name="connsiteY6" fmla="*/ 45719 h 1144902"/>
                <a:gd name="connsiteX7" fmla="*/ 20739 w 525245"/>
                <a:gd name="connsiteY7" fmla="*/ 45719 h 1144902"/>
                <a:gd name="connsiteX8" fmla="*/ 18408 w 525245"/>
                <a:gd name="connsiteY8" fmla="*/ 218246 h 1144902"/>
                <a:gd name="connsiteX9" fmla="*/ 73857 w 525245"/>
                <a:gd name="connsiteY9" fmla="*/ 1144902 h 1144902"/>
                <a:gd name="connsiteX10" fmla="*/ 223876 w 525245"/>
                <a:gd name="connsiteY10" fmla="*/ 1142521 h 1144902"/>
                <a:gd name="connsiteX11" fmla="*/ 263646 w 525245"/>
                <a:gd name="connsiteY11" fmla="*/ 218443 h 1144902"/>
                <a:gd name="connsiteX12" fmla="*/ 267345 w 525245"/>
                <a:gd name="connsiteY12" fmla="*/ 217759 h 1144902"/>
                <a:gd name="connsiteX13" fmla="*/ 302458 w 525245"/>
                <a:gd name="connsiteY13" fmla="*/ 1135377 h 1144902"/>
                <a:gd name="connsiteX14" fmla="*/ 454857 w 525245"/>
                <a:gd name="connsiteY14" fmla="*/ 1132996 h 1144902"/>
                <a:gd name="connsiteX15" fmla="*/ 504375 w 525245"/>
                <a:gd name="connsiteY15" fmla="*/ 207034 h 1144902"/>
                <a:gd name="connsiteX16" fmla="*/ 500546 w 525245"/>
                <a:gd name="connsiteY16" fmla="*/ 45719 h 1144902"/>
                <a:gd name="connsiteX17" fmla="*/ 525245 w 525245"/>
                <a:gd name="connsiteY17" fmla="*/ 45719 h 1144902"/>
                <a:gd name="connsiteX18" fmla="*/ 525245 w 525245"/>
                <a:gd name="connsiteY18" fmla="*/ 0 h 1144902"/>
                <a:gd name="connsiteX0" fmla="*/ 525245 w 525245"/>
                <a:gd name="connsiteY0" fmla="*/ 0 h 1144902"/>
                <a:gd name="connsiteX1" fmla="*/ 312606 w 525245"/>
                <a:gd name="connsiteY1" fmla="*/ 0 h 1144902"/>
                <a:gd name="connsiteX2" fmla="*/ 312606 w 525245"/>
                <a:gd name="connsiteY2" fmla="*/ 33054 h 1144902"/>
                <a:gd name="connsiteX3" fmla="*/ 198983 w 525245"/>
                <a:gd name="connsiteY3" fmla="*/ 33054 h 1144902"/>
                <a:gd name="connsiteX4" fmla="*/ 198983 w 525245"/>
                <a:gd name="connsiteY4" fmla="*/ 0 h 1144902"/>
                <a:gd name="connsiteX5" fmla="*/ 0 w 525245"/>
                <a:gd name="connsiteY5" fmla="*/ 0 h 1144902"/>
                <a:gd name="connsiteX6" fmla="*/ 0 w 525245"/>
                <a:gd name="connsiteY6" fmla="*/ 45719 h 1144902"/>
                <a:gd name="connsiteX7" fmla="*/ 20739 w 525245"/>
                <a:gd name="connsiteY7" fmla="*/ 45719 h 1144902"/>
                <a:gd name="connsiteX8" fmla="*/ 3455 w 525245"/>
                <a:gd name="connsiteY8" fmla="*/ 218246 h 1144902"/>
                <a:gd name="connsiteX9" fmla="*/ 73857 w 525245"/>
                <a:gd name="connsiteY9" fmla="*/ 1144902 h 1144902"/>
                <a:gd name="connsiteX10" fmla="*/ 223876 w 525245"/>
                <a:gd name="connsiteY10" fmla="*/ 1142521 h 1144902"/>
                <a:gd name="connsiteX11" fmla="*/ 263646 w 525245"/>
                <a:gd name="connsiteY11" fmla="*/ 218443 h 1144902"/>
                <a:gd name="connsiteX12" fmla="*/ 267345 w 525245"/>
                <a:gd name="connsiteY12" fmla="*/ 217759 h 1144902"/>
                <a:gd name="connsiteX13" fmla="*/ 302458 w 525245"/>
                <a:gd name="connsiteY13" fmla="*/ 1135377 h 1144902"/>
                <a:gd name="connsiteX14" fmla="*/ 454857 w 525245"/>
                <a:gd name="connsiteY14" fmla="*/ 1132996 h 1144902"/>
                <a:gd name="connsiteX15" fmla="*/ 504375 w 525245"/>
                <a:gd name="connsiteY15" fmla="*/ 207034 h 1144902"/>
                <a:gd name="connsiteX16" fmla="*/ 500546 w 525245"/>
                <a:gd name="connsiteY16" fmla="*/ 45719 h 1144902"/>
                <a:gd name="connsiteX17" fmla="*/ 525245 w 525245"/>
                <a:gd name="connsiteY17" fmla="*/ 45719 h 1144902"/>
                <a:gd name="connsiteX18" fmla="*/ 525245 w 525245"/>
                <a:gd name="connsiteY18" fmla="*/ 0 h 1144902"/>
                <a:gd name="connsiteX0" fmla="*/ 525245 w 525245"/>
                <a:gd name="connsiteY0" fmla="*/ 0 h 1144902"/>
                <a:gd name="connsiteX1" fmla="*/ 312606 w 525245"/>
                <a:gd name="connsiteY1" fmla="*/ 0 h 1144902"/>
                <a:gd name="connsiteX2" fmla="*/ 312606 w 525245"/>
                <a:gd name="connsiteY2" fmla="*/ 33054 h 1144902"/>
                <a:gd name="connsiteX3" fmla="*/ 198983 w 525245"/>
                <a:gd name="connsiteY3" fmla="*/ 33054 h 1144902"/>
                <a:gd name="connsiteX4" fmla="*/ 198983 w 525245"/>
                <a:gd name="connsiteY4" fmla="*/ 0 h 1144902"/>
                <a:gd name="connsiteX5" fmla="*/ 0 w 525245"/>
                <a:gd name="connsiteY5" fmla="*/ 0 h 1144902"/>
                <a:gd name="connsiteX6" fmla="*/ 0 w 525245"/>
                <a:gd name="connsiteY6" fmla="*/ 45719 h 1144902"/>
                <a:gd name="connsiteX7" fmla="*/ 20739 w 525245"/>
                <a:gd name="connsiteY7" fmla="*/ 45719 h 1144902"/>
                <a:gd name="connsiteX8" fmla="*/ 3455 w 525245"/>
                <a:gd name="connsiteY8" fmla="*/ 218246 h 1144902"/>
                <a:gd name="connsiteX9" fmla="*/ 73857 w 525245"/>
                <a:gd name="connsiteY9" fmla="*/ 1144902 h 1144902"/>
                <a:gd name="connsiteX10" fmla="*/ 223876 w 525245"/>
                <a:gd name="connsiteY10" fmla="*/ 1142521 h 1144902"/>
                <a:gd name="connsiteX11" fmla="*/ 263646 w 525245"/>
                <a:gd name="connsiteY11" fmla="*/ 218443 h 1144902"/>
                <a:gd name="connsiteX12" fmla="*/ 267345 w 525245"/>
                <a:gd name="connsiteY12" fmla="*/ 217759 h 1144902"/>
                <a:gd name="connsiteX13" fmla="*/ 302458 w 525245"/>
                <a:gd name="connsiteY13" fmla="*/ 1135377 h 1144902"/>
                <a:gd name="connsiteX14" fmla="*/ 454857 w 525245"/>
                <a:gd name="connsiteY14" fmla="*/ 1132996 h 1144902"/>
                <a:gd name="connsiteX15" fmla="*/ 519328 w 525245"/>
                <a:gd name="connsiteY15" fmla="*/ 207034 h 1144902"/>
                <a:gd name="connsiteX16" fmla="*/ 500546 w 525245"/>
                <a:gd name="connsiteY16" fmla="*/ 45719 h 1144902"/>
                <a:gd name="connsiteX17" fmla="*/ 525245 w 525245"/>
                <a:gd name="connsiteY17" fmla="*/ 45719 h 1144902"/>
                <a:gd name="connsiteX18" fmla="*/ 525245 w 525245"/>
                <a:gd name="connsiteY18" fmla="*/ 0 h 1144902"/>
                <a:gd name="connsiteX0" fmla="*/ 525245 w 678362"/>
                <a:gd name="connsiteY0" fmla="*/ 0 h 1144902"/>
                <a:gd name="connsiteX1" fmla="*/ 312606 w 678362"/>
                <a:gd name="connsiteY1" fmla="*/ 0 h 1144902"/>
                <a:gd name="connsiteX2" fmla="*/ 312606 w 678362"/>
                <a:gd name="connsiteY2" fmla="*/ 33054 h 1144902"/>
                <a:gd name="connsiteX3" fmla="*/ 198983 w 678362"/>
                <a:gd name="connsiteY3" fmla="*/ 33054 h 1144902"/>
                <a:gd name="connsiteX4" fmla="*/ 198983 w 678362"/>
                <a:gd name="connsiteY4" fmla="*/ 0 h 1144902"/>
                <a:gd name="connsiteX5" fmla="*/ 0 w 678362"/>
                <a:gd name="connsiteY5" fmla="*/ 0 h 1144902"/>
                <a:gd name="connsiteX6" fmla="*/ 0 w 678362"/>
                <a:gd name="connsiteY6" fmla="*/ 45719 h 1144902"/>
                <a:gd name="connsiteX7" fmla="*/ 20739 w 678362"/>
                <a:gd name="connsiteY7" fmla="*/ 45719 h 1144902"/>
                <a:gd name="connsiteX8" fmla="*/ 3455 w 678362"/>
                <a:gd name="connsiteY8" fmla="*/ 218246 h 1144902"/>
                <a:gd name="connsiteX9" fmla="*/ 73857 w 678362"/>
                <a:gd name="connsiteY9" fmla="*/ 1144902 h 1144902"/>
                <a:gd name="connsiteX10" fmla="*/ 223876 w 678362"/>
                <a:gd name="connsiteY10" fmla="*/ 1142521 h 1144902"/>
                <a:gd name="connsiteX11" fmla="*/ 263646 w 678362"/>
                <a:gd name="connsiteY11" fmla="*/ 218443 h 1144902"/>
                <a:gd name="connsiteX12" fmla="*/ 267345 w 678362"/>
                <a:gd name="connsiteY12" fmla="*/ 217759 h 1144902"/>
                <a:gd name="connsiteX13" fmla="*/ 302458 w 678362"/>
                <a:gd name="connsiteY13" fmla="*/ 1135377 h 1144902"/>
                <a:gd name="connsiteX14" fmla="*/ 454857 w 678362"/>
                <a:gd name="connsiteY14" fmla="*/ 1132996 h 1144902"/>
                <a:gd name="connsiteX15" fmla="*/ 519328 w 678362"/>
                <a:gd name="connsiteY15" fmla="*/ 207034 h 1144902"/>
                <a:gd name="connsiteX16" fmla="*/ 500546 w 678362"/>
                <a:gd name="connsiteY16" fmla="*/ 45719 h 1144902"/>
                <a:gd name="connsiteX17" fmla="*/ 678362 w 678362"/>
                <a:gd name="connsiteY17" fmla="*/ 60071 h 1144902"/>
                <a:gd name="connsiteX18" fmla="*/ 525245 w 678362"/>
                <a:gd name="connsiteY18" fmla="*/ 0 h 1144902"/>
                <a:gd name="connsiteX0" fmla="*/ 525245 w 678362"/>
                <a:gd name="connsiteY0" fmla="*/ 0 h 1144902"/>
                <a:gd name="connsiteX1" fmla="*/ 312606 w 678362"/>
                <a:gd name="connsiteY1" fmla="*/ 0 h 1144902"/>
                <a:gd name="connsiteX2" fmla="*/ 312606 w 678362"/>
                <a:gd name="connsiteY2" fmla="*/ 33054 h 1144902"/>
                <a:gd name="connsiteX3" fmla="*/ 198983 w 678362"/>
                <a:gd name="connsiteY3" fmla="*/ 33054 h 1144902"/>
                <a:gd name="connsiteX4" fmla="*/ 198983 w 678362"/>
                <a:gd name="connsiteY4" fmla="*/ 0 h 1144902"/>
                <a:gd name="connsiteX5" fmla="*/ 0 w 678362"/>
                <a:gd name="connsiteY5" fmla="*/ 0 h 1144902"/>
                <a:gd name="connsiteX6" fmla="*/ 0 w 678362"/>
                <a:gd name="connsiteY6" fmla="*/ 45719 h 1144902"/>
                <a:gd name="connsiteX7" fmla="*/ 20739 w 678362"/>
                <a:gd name="connsiteY7" fmla="*/ 45719 h 1144902"/>
                <a:gd name="connsiteX8" fmla="*/ 3455 w 678362"/>
                <a:gd name="connsiteY8" fmla="*/ 218246 h 1144902"/>
                <a:gd name="connsiteX9" fmla="*/ 73857 w 678362"/>
                <a:gd name="connsiteY9" fmla="*/ 1144902 h 1144902"/>
                <a:gd name="connsiteX10" fmla="*/ 223876 w 678362"/>
                <a:gd name="connsiteY10" fmla="*/ 1142521 h 1144902"/>
                <a:gd name="connsiteX11" fmla="*/ 263646 w 678362"/>
                <a:gd name="connsiteY11" fmla="*/ 218443 h 1144902"/>
                <a:gd name="connsiteX12" fmla="*/ 267345 w 678362"/>
                <a:gd name="connsiteY12" fmla="*/ 217759 h 1144902"/>
                <a:gd name="connsiteX13" fmla="*/ 302458 w 678362"/>
                <a:gd name="connsiteY13" fmla="*/ 1135377 h 1144902"/>
                <a:gd name="connsiteX14" fmla="*/ 454857 w 678362"/>
                <a:gd name="connsiteY14" fmla="*/ 1132996 h 1144902"/>
                <a:gd name="connsiteX15" fmla="*/ 519328 w 678362"/>
                <a:gd name="connsiteY15" fmla="*/ 207034 h 1144902"/>
                <a:gd name="connsiteX16" fmla="*/ 538826 w 678362"/>
                <a:gd name="connsiteY16" fmla="*/ 63658 h 1144902"/>
                <a:gd name="connsiteX17" fmla="*/ 678362 w 678362"/>
                <a:gd name="connsiteY17" fmla="*/ 60071 h 1144902"/>
                <a:gd name="connsiteX18" fmla="*/ 525245 w 678362"/>
                <a:gd name="connsiteY18" fmla="*/ 0 h 1144902"/>
                <a:gd name="connsiteX0" fmla="*/ 525245 w 563524"/>
                <a:gd name="connsiteY0" fmla="*/ 0 h 1144902"/>
                <a:gd name="connsiteX1" fmla="*/ 312606 w 563524"/>
                <a:gd name="connsiteY1" fmla="*/ 0 h 1144902"/>
                <a:gd name="connsiteX2" fmla="*/ 312606 w 563524"/>
                <a:gd name="connsiteY2" fmla="*/ 33054 h 1144902"/>
                <a:gd name="connsiteX3" fmla="*/ 198983 w 563524"/>
                <a:gd name="connsiteY3" fmla="*/ 33054 h 1144902"/>
                <a:gd name="connsiteX4" fmla="*/ 198983 w 563524"/>
                <a:gd name="connsiteY4" fmla="*/ 0 h 1144902"/>
                <a:gd name="connsiteX5" fmla="*/ 0 w 563524"/>
                <a:gd name="connsiteY5" fmla="*/ 0 h 1144902"/>
                <a:gd name="connsiteX6" fmla="*/ 0 w 563524"/>
                <a:gd name="connsiteY6" fmla="*/ 45719 h 1144902"/>
                <a:gd name="connsiteX7" fmla="*/ 20739 w 563524"/>
                <a:gd name="connsiteY7" fmla="*/ 45719 h 1144902"/>
                <a:gd name="connsiteX8" fmla="*/ 3455 w 563524"/>
                <a:gd name="connsiteY8" fmla="*/ 218246 h 1144902"/>
                <a:gd name="connsiteX9" fmla="*/ 73857 w 563524"/>
                <a:gd name="connsiteY9" fmla="*/ 1144902 h 1144902"/>
                <a:gd name="connsiteX10" fmla="*/ 223876 w 563524"/>
                <a:gd name="connsiteY10" fmla="*/ 1142521 h 1144902"/>
                <a:gd name="connsiteX11" fmla="*/ 263646 w 563524"/>
                <a:gd name="connsiteY11" fmla="*/ 218443 h 1144902"/>
                <a:gd name="connsiteX12" fmla="*/ 267345 w 563524"/>
                <a:gd name="connsiteY12" fmla="*/ 217759 h 1144902"/>
                <a:gd name="connsiteX13" fmla="*/ 302458 w 563524"/>
                <a:gd name="connsiteY13" fmla="*/ 1135377 h 1144902"/>
                <a:gd name="connsiteX14" fmla="*/ 454857 w 563524"/>
                <a:gd name="connsiteY14" fmla="*/ 1132996 h 1144902"/>
                <a:gd name="connsiteX15" fmla="*/ 519328 w 563524"/>
                <a:gd name="connsiteY15" fmla="*/ 207034 h 1144902"/>
                <a:gd name="connsiteX16" fmla="*/ 538826 w 563524"/>
                <a:gd name="connsiteY16" fmla="*/ 63658 h 1144902"/>
                <a:gd name="connsiteX17" fmla="*/ 563524 w 563524"/>
                <a:gd name="connsiteY17" fmla="*/ 42131 h 1144902"/>
                <a:gd name="connsiteX18" fmla="*/ 525245 w 563524"/>
                <a:gd name="connsiteY18" fmla="*/ 0 h 1144902"/>
                <a:gd name="connsiteX0" fmla="*/ 525245 w 544384"/>
                <a:gd name="connsiteY0" fmla="*/ 0 h 1144902"/>
                <a:gd name="connsiteX1" fmla="*/ 312606 w 544384"/>
                <a:gd name="connsiteY1" fmla="*/ 0 h 1144902"/>
                <a:gd name="connsiteX2" fmla="*/ 312606 w 544384"/>
                <a:gd name="connsiteY2" fmla="*/ 33054 h 1144902"/>
                <a:gd name="connsiteX3" fmla="*/ 198983 w 544384"/>
                <a:gd name="connsiteY3" fmla="*/ 33054 h 1144902"/>
                <a:gd name="connsiteX4" fmla="*/ 198983 w 544384"/>
                <a:gd name="connsiteY4" fmla="*/ 0 h 1144902"/>
                <a:gd name="connsiteX5" fmla="*/ 0 w 544384"/>
                <a:gd name="connsiteY5" fmla="*/ 0 h 1144902"/>
                <a:gd name="connsiteX6" fmla="*/ 0 w 544384"/>
                <a:gd name="connsiteY6" fmla="*/ 45719 h 1144902"/>
                <a:gd name="connsiteX7" fmla="*/ 20739 w 544384"/>
                <a:gd name="connsiteY7" fmla="*/ 45719 h 1144902"/>
                <a:gd name="connsiteX8" fmla="*/ 3455 w 544384"/>
                <a:gd name="connsiteY8" fmla="*/ 218246 h 1144902"/>
                <a:gd name="connsiteX9" fmla="*/ 73857 w 544384"/>
                <a:gd name="connsiteY9" fmla="*/ 1144902 h 1144902"/>
                <a:gd name="connsiteX10" fmla="*/ 223876 w 544384"/>
                <a:gd name="connsiteY10" fmla="*/ 1142521 h 1144902"/>
                <a:gd name="connsiteX11" fmla="*/ 263646 w 544384"/>
                <a:gd name="connsiteY11" fmla="*/ 218443 h 1144902"/>
                <a:gd name="connsiteX12" fmla="*/ 267345 w 544384"/>
                <a:gd name="connsiteY12" fmla="*/ 217759 h 1144902"/>
                <a:gd name="connsiteX13" fmla="*/ 302458 w 544384"/>
                <a:gd name="connsiteY13" fmla="*/ 1135377 h 1144902"/>
                <a:gd name="connsiteX14" fmla="*/ 454857 w 544384"/>
                <a:gd name="connsiteY14" fmla="*/ 1132996 h 1144902"/>
                <a:gd name="connsiteX15" fmla="*/ 519328 w 544384"/>
                <a:gd name="connsiteY15" fmla="*/ 207034 h 1144902"/>
                <a:gd name="connsiteX16" fmla="*/ 538826 w 544384"/>
                <a:gd name="connsiteY16" fmla="*/ 63658 h 1144902"/>
                <a:gd name="connsiteX17" fmla="*/ 544384 w 544384"/>
                <a:gd name="connsiteY17" fmla="*/ 42131 h 1144902"/>
                <a:gd name="connsiteX18" fmla="*/ 525245 w 544384"/>
                <a:gd name="connsiteY18" fmla="*/ 0 h 1144902"/>
                <a:gd name="connsiteX0" fmla="*/ 525245 w 544384"/>
                <a:gd name="connsiteY0" fmla="*/ 0 h 1144902"/>
                <a:gd name="connsiteX1" fmla="*/ 312606 w 544384"/>
                <a:gd name="connsiteY1" fmla="*/ 0 h 1144902"/>
                <a:gd name="connsiteX2" fmla="*/ 312606 w 544384"/>
                <a:gd name="connsiteY2" fmla="*/ 33054 h 1144902"/>
                <a:gd name="connsiteX3" fmla="*/ 198983 w 544384"/>
                <a:gd name="connsiteY3" fmla="*/ 33054 h 1144902"/>
                <a:gd name="connsiteX4" fmla="*/ 198983 w 544384"/>
                <a:gd name="connsiteY4" fmla="*/ 0 h 1144902"/>
                <a:gd name="connsiteX5" fmla="*/ 0 w 544384"/>
                <a:gd name="connsiteY5" fmla="*/ 0 h 1144902"/>
                <a:gd name="connsiteX6" fmla="*/ 0 w 544384"/>
                <a:gd name="connsiteY6" fmla="*/ 45719 h 1144902"/>
                <a:gd name="connsiteX7" fmla="*/ 20739 w 544384"/>
                <a:gd name="connsiteY7" fmla="*/ 45719 h 1144902"/>
                <a:gd name="connsiteX8" fmla="*/ 3455 w 544384"/>
                <a:gd name="connsiteY8" fmla="*/ 218246 h 1144902"/>
                <a:gd name="connsiteX9" fmla="*/ 73857 w 544384"/>
                <a:gd name="connsiteY9" fmla="*/ 1144902 h 1144902"/>
                <a:gd name="connsiteX10" fmla="*/ 223876 w 544384"/>
                <a:gd name="connsiteY10" fmla="*/ 1142521 h 1144902"/>
                <a:gd name="connsiteX11" fmla="*/ 263646 w 544384"/>
                <a:gd name="connsiteY11" fmla="*/ 218443 h 1144902"/>
                <a:gd name="connsiteX12" fmla="*/ 267345 w 544384"/>
                <a:gd name="connsiteY12" fmla="*/ 217759 h 1144902"/>
                <a:gd name="connsiteX13" fmla="*/ 302458 w 544384"/>
                <a:gd name="connsiteY13" fmla="*/ 1135377 h 1144902"/>
                <a:gd name="connsiteX14" fmla="*/ 454857 w 544384"/>
                <a:gd name="connsiteY14" fmla="*/ 1132996 h 1144902"/>
                <a:gd name="connsiteX15" fmla="*/ 519328 w 544384"/>
                <a:gd name="connsiteY15" fmla="*/ 207034 h 1144902"/>
                <a:gd name="connsiteX16" fmla="*/ 538827 w 544384"/>
                <a:gd name="connsiteY16" fmla="*/ 95950 h 1144902"/>
                <a:gd name="connsiteX17" fmla="*/ 544384 w 544384"/>
                <a:gd name="connsiteY17" fmla="*/ 42131 h 1144902"/>
                <a:gd name="connsiteX18" fmla="*/ 525245 w 544384"/>
                <a:gd name="connsiteY18" fmla="*/ 0 h 1144902"/>
                <a:gd name="connsiteX0" fmla="*/ 525245 w 544384"/>
                <a:gd name="connsiteY0" fmla="*/ 0 h 1144902"/>
                <a:gd name="connsiteX1" fmla="*/ 312606 w 544384"/>
                <a:gd name="connsiteY1" fmla="*/ 0 h 1144902"/>
                <a:gd name="connsiteX2" fmla="*/ 312606 w 544384"/>
                <a:gd name="connsiteY2" fmla="*/ 33054 h 1144902"/>
                <a:gd name="connsiteX3" fmla="*/ 198983 w 544384"/>
                <a:gd name="connsiteY3" fmla="*/ 33054 h 1144902"/>
                <a:gd name="connsiteX4" fmla="*/ 198983 w 544384"/>
                <a:gd name="connsiteY4" fmla="*/ 0 h 1144902"/>
                <a:gd name="connsiteX5" fmla="*/ 0 w 544384"/>
                <a:gd name="connsiteY5" fmla="*/ 0 h 1144902"/>
                <a:gd name="connsiteX6" fmla="*/ 0 w 544384"/>
                <a:gd name="connsiteY6" fmla="*/ 45719 h 1144902"/>
                <a:gd name="connsiteX7" fmla="*/ 20739 w 544384"/>
                <a:gd name="connsiteY7" fmla="*/ 45719 h 1144902"/>
                <a:gd name="connsiteX8" fmla="*/ 3455 w 544384"/>
                <a:gd name="connsiteY8" fmla="*/ 218246 h 1144902"/>
                <a:gd name="connsiteX9" fmla="*/ 73857 w 544384"/>
                <a:gd name="connsiteY9" fmla="*/ 1144902 h 1144902"/>
                <a:gd name="connsiteX10" fmla="*/ 223876 w 544384"/>
                <a:gd name="connsiteY10" fmla="*/ 1142521 h 1144902"/>
                <a:gd name="connsiteX11" fmla="*/ 263646 w 544384"/>
                <a:gd name="connsiteY11" fmla="*/ 218443 h 1144902"/>
                <a:gd name="connsiteX12" fmla="*/ 267345 w 544384"/>
                <a:gd name="connsiteY12" fmla="*/ 217759 h 1144902"/>
                <a:gd name="connsiteX13" fmla="*/ 302458 w 544384"/>
                <a:gd name="connsiteY13" fmla="*/ 1135377 h 1144902"/>
                <a:gd name="connsiteX14" fmla="*/ 454857 w 544384"/>
                <a:gd name="connsiteY14" fmla="*/ 1132996 h 1144902"/>
                <a:gd name="connsiteX15" fmla="*/ 533682 w 544384"/>
                <a:gd name="connsiteY15" fmla="*/ 224973 h 1144902"/>
                <a:gd name="connsiteX16" fmla="*/ 538827 w 544384"/>
                <a:gd name="connsiteY16" fmla="*/ 95950 h 1144902"/>
                <a:gd name="connsiteX17" fmla="*/ 544384 w 544384"/>
                <a:gd name="connsiteY17" fmla="*/ 42131 h 1144902"/>
                <a:gd name="connsiteX18" fmla="*/ 525245 w 544384"/>
                <a:gd name="connsiteY18" fmla="*/ 0 h 1144902"/>
                <a:gd name="connsiteX0" fmla="*/ 525245 w 548464"/>
                <a:gd name="connsiteY0" fmla="*/ 0 h 1144902"/>
                <a:gd name="connsiteX1" fmla="*/ 312606 w 548464"/>
                <a:gd name="connsiteY1" fmla="*/ 0 h 1144902"/>
                <a:gd name="connsiteX2" fmla="*/ 312606 w 548464"/>
                <a:gd name="connsiteY2" fmla="*/ 33054 h 1144902"/>
                <a:gd name="connsiteX3" fmla="*/ 198983 w 548464"/>
                <a:gd name="connsiteY3" fmla="*/ 33054 h 1144902"/>
                <a:gd name="connsiteX4" fmla="*/ 198983 w 548464"/>
                <a:gd name="connsiteY4" fmla="*/ 0 h 1144902"/>
                <a:gd name="connsiteX5" fmla="*/ 0 w 548464"/>
                <a:gd name="connsiteY5" fmla="*/ 0 h 1144902"/>
                <a:gd name="connsiteX6" fmla="*/ 0 w 548464"/>
                <a:gd name="connsiteY6" fmla="*/ 45719 h 1144902"/>
                <a:gd name="connsiteX7" fmla="*/ 20739 w 548464"/>
                <a:gd name="connsiteY7" fmla="*/ 45719 h 1144902"/>
                <a:gd name="connsiteX8" fmla="*/ 3455 w 548464"/>
                <a:gd name="connsiteY8" fmla="*/ 218246 h 1144902"/>
                <a:gd name="connsiteX9" fmla="*/ 73857 w 548464"/>
                <a:gd name="connsiteY9" fmla="*/ 1144902 h 1144902"/>
                <a:gd name="connsiteX10" fmla="*/ 223876 w 548464"/>
                <a:gd name="connsiteY10" fmla="*/ 1142521 h 1144902"/>
                <a:gd name="connsiteX11" fmla="*/ 263646 w 548464"/>
                <a:gd name="connsiteY11" fmla="*/ 218443 h 1144902"/>
                <a:gd name="connsiteX12" fmla="*/ 267345 w 548464"/>
                <a:gd name="connsiteY12" fmla="*/ 217759 h 1144902"/>
                <a:gd name="connsiteX13" fmla="*/ 302458 w 548464"/>
                <a:gd name="connsiteY13" fmla="*/ 1135377 h 1144902"/>
                <a:gd name="connsiteX14" fmla="*/ 454857 w 548464"/>
                <a:gd name="connsiteY14" fmla="*/ 1132996 h 1144902"/>
                <a:gd name="connsiteX15" fmla="*/ 533682 w 548464"/>
                <a:gd name="connsiteY15" fmla="*/ 224973 h 1144902"/>
                <a:gd name="connsiteX16" fmla="*/ 548397 w 548464"/>
                <a:gd name="connsiteY16" fmla="*/ 106713 h 1144902"/>
                <a:gd name="connsiteX17" fmla="*/ 544384 w 548464"/>
                <a:gd name="connsiteY17" fmla="*/ 42131 h 1144902"/>
                <a:gd name="connsiteX18" fmla="*/ 525245 w 548464"/>
                <a:gd name="connsiteY18" fmla="*/ 0 h 1144902"/>
                <a:gd name="connsiteX0" fmla="*/ 533215 w 556434"/>
                <a:gd name="connsiteY0" fmla="*/ 0 h 1144902"/>
                <a:gd name="connsiteX1" fmla="*/ 320576 w 556434"/>
                <a:gd name="connsiteY1" fmla="*/ 0 h 1144902"/>
                <a:gd name="connsiteX2" fmla="*/ 320576 w 556434"/>
                <a:gd name="connsiteY2" fmla="*/ 33054 h 1144902"/>
                <a:gd name="connsiteX3" fmla="*/ 206953 w 556434"/>
                <a:gd name="connsiteY3" fmla="*/ 33054 h 1144902"/>
                <a:gd name="connsiteX4" fmla="*/ 206953 w 556434"/>
                <a:gd name="connsiteY4" fmla="*/ 0 h 1144902"/>
                <a:gd name="connsiteX5" fmla="*/ 7970 w 556434"/>
                <a:gd name="connsiteY5" fmla="*/ 0 h 1144902"/>
                <a:gd name="connsiteX6" fmla="*/ 7970 w 556434"/>
                <a:gd name="connsiteY6" fmla="*/ 45719 h 1144902"/>
                <a:gd name="connsiteX7" fmla="*/ 0 w 556434"/>
                <a:gd name="connsiteY7" fmla="*/ 81598 h 1144902"/>
                <a:gd name="connsiteX8" fmla="*/ 11425 w 556434"/>
                <a:gd name="connsiteY8" fmla="*/ 218246 h 1144902"/>
                <a:gd name="connsiteX9" fmla="*/ 81827 w 556434"/>
                <a:gd name="connsiteY9" fmla="*/ 1144902 h 1144902"/>
                <a:gd name="connsiteX10" fmla="*/ 231846 w 556434"/>
                <a:gd name="connsiteY10" fmla="*/ 1142521 h 1144902"/>
                <a:gd name="connsiteX11" fmla="*/ 271616 w 556434"/>
                <a:gd name="connsiteY11" fmla="*/ 218443 h 1144902"/>
                <a:gd name="connsiteX12" fmla="*/ 275315 w 556434"/>
                <a:gd name="connsiteY12" fmla="*/ 217759 h 1144902"/>
                <a:gd name="connsiteX13" fmla="*/ 310428 w 556434"/>
                <a:gd name="connsiteY13" fmla="*/ 1135377 h 1144902"/>
                <a:gd name="connsiteX14" fmla="*/ 462827 w 556434"/>
                <a:gd name="connsiteY14" fmla="*/ 1132996 h 1144902"/>
                <a:gd name="connsiteX15" fmla="*/ 541652 w 556434"/>
                <a:gd name="connsiteY15" fmla="*/ 224973 h 1144902"/>
                <a:gd name="connsiteX16" fmla="*/ 556367 w 556434"/>
                <a:gd name="connsiteY16" fmla="*/ 106713 h 1144902"/>
                <a:gd name="connsiteX17" fmla="*/ 552354 w 556434"/>
                <a:gd name="connsiteY17" fmla="*/ 42131 h 1144902"/>
                <a:gd name="connsiteX18" fmla="*/ 533215 w 556434"/>
                <a:gd name="connsiteY18" fmla="*/ 0 h 1144902"/>
                <a:gd name="connsiteX0" fmla="*/ 536144 w 559363"/>
                <a:gd name="connsiteY0" fmla="*/ 0 h 1144902"/>
                <a:gd name="connsiteX1" fmla="*/ 323505 w 559363"/>
                <a:gd name="connsiteY1" fmla="*/ 0 h 1144902"/>
                <a:gd name="connsiteX2" fmla="*/ 323505 w 559363"/>
                <a:gd name="connsiteY2" fmla="*/ 33054 h 1144902"/>
                <a:gd name="connsiteX3" fmla="*/ 209882 w 559363"/>
                <a:gd name="connsiteY3" fmla="*/ 33054 h 1144902"/>
                <a:gd name="connsiteX4" fmla="*/ 209882 w 559363"/>
                <a:gd name="connsiteY4" fmla="*/ 0 h 1144902"/>
                <a:gd name="connsiteX5" fmla="*/ 10899 w 559363"/>
                <a:gd name="connsiteY5" fmla="*/ 0 h 1144902"/>
                <a:gd name="connsiteX6" fmla="*/ 10899 w 559363"/>
                <a:gd name="connsiteY6" fmla="*/ 45719 h 1144902"/>
                <a:gd name="connsiteX7" fmla="*/ 2929 w 559363"/>
                <a:gd name="connsiteY7" fmla="*/ 81598 h 1144902"/>
                <a:gd name="connsiteX8" fmla="*/ 0 w 559363"/>
                <a:gd name="connsiteY8" fmla="*/ 229010 h 1144902"/>
                <a:gd name="connsiteX9" fmla="*/ 84756 w 559363"/>
                <a:gd name="connsiteY9" fmla="*/ 1144902 h 1144902"/>
                <a:gd name="connsiteX10" fmla="*/ 234775 w 559363"/>
                <a:gd name="connsiteY10" fmla="*/ 1142521 h 1144902"/>
                <a:gd name="connsiteX11" fmla="*/ 274545 w 559363"/>
                <a:gd name="connsiteY11" fmla="*/ 218443 h 1144902"/>
                <a:gd name="connsiteX12" fmla="*/ 278244 w 559363"/>
                <a:gd name="connsiteY12" fmla="*/ 217759 h 1144902"/>
                <a:gd name="connsiteX13" fmla="*/ 313357 w 559363"/>
                <a:gd name="connsiteY13" fmla="*/ 1135377 h 1144902"/>
                <a:gd name="connsiteX14" fmla="*/ 465756 w 559363"/>
                <a:gd name="connsiteY14" fmla="*/ 1132996 h 1144902"/>
                <a:gd name="connsiteX15" fmla="*/ 544581 w 559363"/>
                <a:gd name="connsiteY15" fmla="*/ 224973 h 1144902"/>
                <a:gd name="connsiteX16" fmla="*/ 559296 w 559363"/>
                <a:gd name="connsiteY16" fmla="*/ 106713 h 1144902"/>
                <a:gd name="connsiteX17" fmla="*/ 555283 w 559363"/>
                <a:gd name="connsiteY17" fmla="*/ 42131 h 1144902"/>
                <a:gd name="connsiteX18" fmla="*/ 536144 w 559363"/>
                <a:gd name="connsiteY18" fmla="*/ 0 h 1144902"/>
                <a:gd name="connsiteX0" fmla="*/ 536144 w 568506"/>
                <a:gd name="connsiteY0" fmla="*/ 0 h 1144902"/>
                <a:gd name="connsiteX1" fmla="*/ 323505 w 568506"/>
                <a:gd name="connsiteY1" fmla="*/ 0 h 1144902"/>
                <a:gd name="connsiteX2" fmla="*/ 323505 w 568506"/>
                <a:gd name="connsiteY2" fmla="*/ 33054 h 1144902"/>
                <a:gd name="connsiteX3" fmla="*/ 209882 w 568506"/>
                <a:gd name="connsiteY3" fmla="*/ 33054 h 1144902"/>
                <a:gd name="connsiteX4" fmla="*/ 209882 w 568506"/>
                <a:gd name="connsiteY4" fmla="*/ 0 h 1144902"/>
                <a:gd name="connsiteX5" fmla="*/ 10899 w 568506"/>
                <a:gd name="connsiteY5" fmla="*/ 0 h 1144902"/>
                <a:gd name="connsiteX6" fmla="*/ 10899 w 568506"/>
                <a:gd name="connsiteY6" fmla="*/ 45719 h 1144902"/>
                <a:gd name="connsiteX7" fmla="*/ 2929 w 568506"/>
                <a:gd name="connsiteY7" fmla="*/ 81598 h 1144902"/>
                <a:gd name="connsiteX8" fmla="*/ 0 w 568506"/>
                <a:gd name="connsiteY8" fmla="*/ 229010 h 1144902"/>
                <a:gd name="connsiteX9" fmla="*/ 84756 w 568506"/>
                <a:gd name="connsiteY9" fmla="*/ 1144902 h 1144902"/>
                <a:gd name="connsiteX10" fmla="*/ 234775 w 568506"/>
                <a:gd name="connsiteY10" fmla="*/ 1142521 h 1144902"/>
                <a:gd name="connsiteX11" fmla="*/ 274545 w 568506"/>
                <a:gd name="connsiteY11" fmla="*/ 218443 h 1144902"/>
                <a:gd name="connsiteX12" fmla="*/ 278244 w 568506"/>
                <a:gd name="connsiteY12" fmla="*/ 217759 h 1144902"/>
                <a:gd name="connsiteX13" fmla="*/ 313357 w 568506"/>
                <a:gd name="connsiteY13" fmla="*/ 1135377 h 1144902"/>
                <a:gd name="connsiteX14" fmla="*/ 465756 w 568506"/>
                <a:gd name="connsiteY14" fmla="*/ 1132996 h 1144902"/>
                <a:gd name="connsiteX15" fmla="*/ 568506 w 568506"/>
                <a:gd name="connsiteY15" fmla="*/ 232149 h 1144902"/>
                <a:gd name="connsiteX16" fmla="*/ 559296 w 568506"/>
                <a:gd name="connsiteY16" fmla="*/ 106713 h 1144902"/>
                <a:gd name="connsiteX17" fmla="*/ 555283 w 568506"/>
                <a:gd name="connsiteY17" fmla="*/ 42131 h 1144902"/>
                <a:gd name="connsiteX18" fmla="*/ 536144 w 568506"/>
                <a:gd name="connsiteY18" fmla="*/ 0 h 1144902"/>
                <a:gd name="connsiteX0" fmla="*/ 552390 w 584752"/>
                <a:gd name="connsiteY0" fmla="*/ 0 h 1144902"/>
                <a:gd name="connsiteX1" fmla="*/ 339751 w 584752"/>
                <a:gd name="connsiteY1" fmla="*/ 0 h 1144902"/>
                <a:gd name="connsiteX2" fmla="*/ 339751 w 584752"/>
                <a:gd name="connsiteY2" fmla="*/ 33054 h 1144902"/>
                <a:gd name="connsiteX3" fmla="*/ 226128 w 584752"/>
                <a:gd name="connsiteY3" fmla="*/ 33054 h 1144902"/>
                <a:gd name="connsiteX4" fmla="*/ 226128 w 584752"/>
                <a:gd name="connsiteY4" fmla="*/ 0 h 1144902"/>
                <a:gd name="connsiteX5" fmla="*/ 27145 w 584752"/>
                <a:gd name="connsiteY5" fmla="*/ 0 h 1144902"/>
                <a:gd name="connsiteX6" fmla="*/ 27145 w 584752"/>
                <a:gd name="connsiteY6" fmla="*/ 45719 h 1144902"/>
                <a:gd name="connsiteX7" fmla="*/ 36 w 584752"/>
                <a:gd name="connsiteY7" fmla="*/ 99538 h 1144902"/>
                <a:gd name="connsiteX8" fmla="*/ 16246 w 584752"/>
                <a:gd name="connsiteY8" fmla="*/ 229010 h 1144902"/>
                <a:gd name="connsiteX9" fmla="*/ 101002 w 584752"/>
                <a:gd name="connsiteY9" fmla="*/ 1144902 h 1144902"/>
                <a:gd name="connsiteX10" fmla="*/ 251021 w 584752"/>
                <a:gd name="connsiteY10" fmla="*/ 1142521 h 1144902"/>
                <a:gd name="connsiteX11" fmla="*/ 290791 w 584752"/>
                <a:gd name="connsiteY11" fmla="*/ 218443 h 1144902"/>
                <a:gd name="connsiteX12" fmla="*/ 294490 w 584752"/>
                <a:gd name="connsiteY12" fmla="*/ 217759 h 1144902"/>
                <a:gd name="connsiteX13" fmla="*/ 329603 w 584752"/>
                <a:gd name="connsiteY13" fmla="*/ 1135377 h 1144902"/>
                <a:gd name="connsiteX14" fmla="*/ 482002 w 584752"/>
                <a:gd name="connsiteY14" fmla="*/ 1132996 h 1144902"/>
                <a:gd name="connsiteX15" fmla="*/ 584752 w 584752"/>
                <a:gd name="connsiteY15" fmla="*/ 232149 h 1144902"/>
                <a:gd name="connsiteX16" fmla="*/ 575542 w 584752"/>
                <a:gd name="connsiteY16" fmla="*/ 106713 h 1144902"/>
                <a:gd name="connsiteX17" fmla="*/ 571529 w 584752"/>
                <a:gd name="connsiteY17" fmla="*/ 42131 h 1144902"/>
                <a:gd name="connsiteX18" fmla="*/ 552390 w 584752"/>
                <a:gd name="connsiteY18" fmla="*/ 0 h 1144902"/>
                <a:gd name="connsiteX0" fmla="*/ 552392 w 584754"/>
                <a:gd name="connsiteY0" fmla="*/ 0 h 1144902"/>
                <a:gd name="connsiteX1" fmla="*/ 339753 w 584754"/>
                <a:gd name="connsiteY1" fmla="*/ 0 h 1144902"/>
                <a:gd name="connsiteX2" fmla="*/ 339753 w 584754"/>
                <a:gd name="connsiteY2" fmla="*/ 33054 h 1144902"/>
                <a:gd name="connsiteX3" fmla="*/ 226130 w 584754"/>
                <a:gd name="connsiteY3" fmla="*/ 33054 h 1144902"/>
                <a:gd name="connsiteX4" fmla="*/ 226130 w 584754"/>
                <a:gd name="connsiteY4" fmla="*/ 0 h 1144902"/>
                <a:gd name="connsiteX5" fmla="*/ 27147 w 584754"/>
                <a:gd name="connsiteY5" fmla="*/ 0 h 1144902"/>
                <a:gd name="connsiteX6" fmla="*/ 8007 w 584754"/>
                <a:gd name="connsiteY6" fmla="*/ 42131 h 1144902"/>
                <a:gd name="connsiteX7" fmla="*/ 38 w 584754"/>
                <a:gd name="connsiteY7" fmla="*/ 99538 h 1144902"/>
                <a:gd name="connsiteX8" fmla="*/ 16248 w 584754"/>
                <a:gd name="connsiteY8" fmla="*/ 229010 h 1144902"/>
                <a:gd name="connsiteX9" fmla="*/ 101004 w 584754"/>
                <a:gd name="connsiteY9" fmla="*/ 1144902 h 1144902"/>
                <a:gd name="connsiteX10" fmla="*/ 251023 w 584754"/>
                <a:gd name="connsiteY10" fmla="*/ 1142521 h 1144902"/>
                <a:gd name="connsiteX11" fmla="*/ 290793 w 584754"/>
                <a:gd name="connsiteY11" fmla="*/ 218443 h 1144902"/>
                <a:gd name="connsiteX12" fmla="*/ 294492 w 584754"/>
                <a:gd name="connsiteY12" fmla="*/ 217759 h 1144902"/>
                <a:gd name="connsiteX13" fmla="*/ 329605 w 584754"/>
                <a:gd name="connsiteY13" fmla="*/ 1135377 h 1144902"/>
                <a:gd name="connsiteX14" fmla="*/ 482004 w 584754"/>
                <a:gd name="connsiteY14" fmla="*/ 1132996 h 1144902"/>
                <a:gd name="connsiteX15" fmla="*/ 584754 w 584754"/>
                <a:gd name="connsiteY15" fmla="*/ 232149 h 1144902"/>
                <a:gd name="connsiteX16" fmla="*/ 575544 w 584754"/>
                <a:gd name="connsiteY16" fmla="*/ 106713 h 1144902"/>
                <a:gd name="connsiteX17" fmla="*/ 571531 w 584754"/>
                <a:gd name="connsiteY17" fmla="*/ 42131 h 1144902"/>
                <a:gd name="connsiteX18" fmla="*/ 552392 w 584754"/>
                <a:gd name="connsiteY18" fmla="*/ 0 h 1144902"/>
                <a:gd name="connsiteX0" fmla="*/ 560069 w 592431"/>
                <a:gd name="connsiteY0" fmla="*/ 0 h 1144902"/>
                <a:gd name="connsiteX1" fmla="*/ 347430 w 592431"/>
                <a:gd name="connsiteY1" fmla="*/ 0 h 1144902"/>
                <a:gd name="connsiteX2" fmla="*/ 347430 w 592431"/>
                <a:gd name="connsiteY2" fmla="*/ 33054 h 1144902"/>
                <a:gd name="connsiteX3" fmla="*/ 233807 w 592431"/>
                <a:gd name="connsiteY3" fmla="*/ 33054 h 1144902"/>
                <a:gd name="connsiteX4" fmla="*/ 233807 w 592431"/>
                <a:gd name="connsiteY4" fmla="*/ 0 h 1144902"/>
                <a:gd name="connsiteX5" fmla="*/ 34824 w 592431"/>
                <a:gd name="connsiteY5" fmla="*/ 0 h 1144902"/>
                <a:gd name="connsiteX6" fmla="*/ 15684 w 592431"/>
                <a:gd name="connsiteY6" fmla="*/ 42131 h 1144902"/>
                <a:gd name="connsiteX7" fmla="*/ 7715 w 592431"/>
                <a:gd name="connsiteY7" fmla="*/ 99538 h 1144902"/>
                <a:gd name="connsiteX8" fmla="*/ 0 w 592431"/>
                <a:gd name="connsiteY8" fmla="*/ 239774 h 1144902"/>
                <a:gd name="connsiteX9" fmla="*/ 108681 w 592431"/>
                <a:gd name="connsiteY9" fmla="*/ 1144902 h 1144902"/>
                <a:gd name="connsiteX10" fmla="*/ 258700 w 592431"/>
                <a:gd name="connsiteY10" fmla="*/ 1142521 h 1144902"/>
                <a:gd name="connsiteX11" fmla="*/ 298470 w 592431"/>
                <a:gd name="connsiteY11" fmla="*/ 218443 h 1144902"/>
                <a:gd name="connsiteX12" fmla="*/ 302169 w 592431"/>
                <a:gd name="connsiteY12" fmla="*/ 217759 h 1144902"/>
                <a:gd name="connsiteX13" fmla="*/ 337282 w 592431"/>
                <a:gd name="connsiteY13" fmla="*/ 1135377 h 1144902"/>
                <a:gd name="connsiteX14" fmla="*/ 489681 w 592431"/>
                <a:gd name="connsiteY14" fmla="*/ 1132996 h 1144902"/>
                <a:gd name="connsiteX15" fmla="*/ 592431 w 592431"/>
                <a:gd name="connsiteY15" fmla="*/ 232149 h 1144902"/>
                <a:gd name="connsiteX16" fmla="*/ 583221 w 592431"/>
                <a:gd name="connsiteY16" fmla="*/ 106713 h 1144902"/>
                <a:gd name="connsiteX17" fmla="*/ 579208 w 592431"/>
                <a:gd name="connsiteY17" fmla="*/ 42131 h 1144902"/>
                <a:gd name="connsiteX18" fmla="*/ 560069 w 592431"/>
                <a:gd name="connsiteY18" fmla="*/ 0 h 1144902"/>
                <a:gd name="connsiteX0" fmla="*/ 560069 w 592431"/>
                <a:gd name="connsiteY0" fmla="*/ 0 h 1144902"/>
                <a:gd name="connsiteX1" fmla="*/ 347430 w 592431"/>
                <a:gd name="connsiteY1" fmla="*/ 0 h 1144902"/>
                <a:gd name="connsiteX2" fmla="*/ 347430 w 592431"/>
                <a:gd name="connsiteY2" fmla="*/ 33054 h 1144902"/>
                <a:gd name="connsiteX3" fmla="*/ 233807 w 592431"/>
                <a:gd name="connsiteY3" fmla="*/ 33054 h 1144902"/>
                <a:gd name="connsiteX4" fmla="*/ 233807 w 592431"/>
                <a:gd name="connsiteY4" fmla="*/ 0 h 1144902"/>
                <a:gd name="connsiteX5" fmla="*/ 34824 w 592431"/>
                <a:gd name="connsiteY5" fmla="*/ 0 h 1144902"/>
                <a:gd name="connsiteX6" fmla="*/ 15684 w 592431"/>
                <a:gd name="connsiteY6" fmla="*/ 42131 h 1144902"/>
                <a:gd name="connsiteX7" fmla="*/ 7715 w 592431"/>
                <a:gd name="connsiteY7" fmla="*/ 99538 h 1144902"/>
                <a:gd name="connsiteX8" fmla="*/ 0 w 592431"/>
                <a:gd name="connsiteY8" fmla="*/ 239774 h 1144902"/>
                <a:gd name="connsiteX9" fmla="*/ 108681 w 592431"/>
                <a:gd name="connsiteY9" fmla="*/ 1144902 h 1144902"/>
                <a:gd name="connsiteX10" fmla="*/ 258700 w 592431"/>
                <a:gd name="connsiteY10" fmla="*/ 1142521 h 1144902"/>
                <a:gd name="connsiteX11" fmla="*/ 298470 w 592431"/>
                <a:gd name="connsiteY11" fmla="*/ 218443 h 1144902"/>
                <a:gd name="connsiteX12" fmla="*/ 302169 w 592431"/>
                <a:gd name="connsiteY12" fmla="*/ 217759 h 1144902"/>
                <a:gd name="connsiteX13" fmla="*/ 318142 w 592431"/>
                <a:gd name="connsiteY13" fmla="*/ 1138965 h 1144902"/>
                <a:gd name="connsiteX14" fmla="*/ 489681 w 592431"/>
                <a:gd name="connsiteY14" fmla="*/ 1132996 h 1144902"/>
                <a:gd name="connsiteX15" fmla="*/ 592431 w 592431"/>
                <a:gd name="connsiteY15" fmla="*/ 232149 h 1144902"/>
                <a:gd name="connsiteX16" fmla="*/ 583221 w 592431"/>
                <a:gd name="connsiteY16" fmla="*/ 106713 h 1144902"/>
                <a:gd name="connsiteX17" fmla="*/ 579208 w 592431"/>
                <a:gd name="connsiteY17" fmla="*/ 42131 h 1144902"/>
                <a:gd name="connsiteX18" fmla="*/ 560069 w 592431"/>
                <a:gd name="connsiteY18" fmla="*/ 0 h 1144902"/>
                <a:gd name="connsiteX0" fmla="*/ 560069 w 592431"/>
                <a:gd name="connsiteY0" fmla="*/ 0 h 1144902"/>
                <a:gd name="connsiteX1" fmla="*/ 347430 w 592431"/>
                <a:gd name="connsiteY1" fmla="*/ 0 h 1144902"/>
                <a:gd name="connsiteX2" fmla="*/ 347430 w 592431"/>
                <a:gd name="connsiteY2" fmla="*/ 33054 h 1144902"/>
                <a:gd name="connsiteX3" fmla="*/ 233807 w 592431"/>
                <a:gd name="connsiteY3" fmla="*/ 33054 h 1144902"/>
                <a:gd name="connsiteX4" fmla="*/ 233807 w 592431"/>
                <a:gd name="connsiteY4" fmla="*/ 0 h 1144902"/>
                <a:gd name="connsiteX5" fmla="*/ 34824 w 592431"/>
                <a:gd name="connsiteY5" fmla="*/ 0 h 1144902"/>
                <a:gd name="connsiteX6" fmla="*/ 15684 w 592431"/>
                <a:gd name="connsiteY6" fmla="*/ 42131 h 1144902"/>
                <a:gd name="connsiteX7" fmla="*/ 7715 w 592431"/>
                <a:gd name="connsiteY7" fmla="*/ 99538 h 1144902"/>
                <a:gd name="connsiteX8" fmla="*/ 0 w 592431"/>
                <a:gd name="connsiteY8" fmla="*/ 239774 h 1144902"/>
                <a:gd name="connsiteX9" fmla="*/ 108681 w 592431"/>
                <a:gd name="connsiteY9" fmla="*/ 1144902 h 1144902"/>
                <a:gd name="connsiteX10" fmla="*/ 268271 w 592431"/>
                <a:gd name="connsiteY10" fmla="*/ 1135345 h 1144902"/>
                <a:gd name="connsiteX11" fmla="*/ 298470 w 592431"/>
                <a:gd name="connsiteY11" fmla="*/ 218443 h 1144902"/>
                <a:gd name="connsiteX12" fmla="*/ 302169 w 592431"/>
                <a:gd name="connsiteY12" fmla="*/ 217759 h 1144902"/>
                <a:gd name="connsiteX13" fmla="*/ 318142 w 592431"/>
                <a:gd name="connsiteY13" fmla="*/ 1138965 h 1144902"/>
                <a:gd name="connsiteX14" fmla="*/ 489681 w 592431"/>
                <a:gd name="connsiteY14" fmla="*/ 1132996 h 1144902"/>
                <a:gd name="connsiteX15" fmla="*/ 592431 w 592431"/>
                <a:gd name="connsiteY15" fmla="*/ 232149 h 1144902"/>
                <a:gd name="connsiteX16" fmla="*/ 583221 w 592431"/>
                <a:gd name="connsiteY16" fmla="*/ 106713 h 1144902"/>
                <a:gd name="connsiteX17" fmla="*/ 579208 w 592431"/>
                <a:gd name="connsiteY17" fmla="*/ 42131 h 1144902"/>
                <a:gd name="connsiteX18" fmla="*/ 560069 w 592431"/>
                <a:gd name="connsiteY18" fmla="*/ 0 h 1144902"/>
                <a:gd name="connsiteX0" fmla="*/ 577842 w 610204"/>
                <a:gd name="connsiteY0" fmla="*/ 0 h 1144902"/>
                <a:gd name="connsiteX1" fmla="*/ 365203 w 610204"/>
                <a:gd name="connsiteY1" fmla="*/ 0 h 1144902"/>
                <a:gd name="connsiteX2" fmla="*/ 365203 w 610204"/>
                <a:gd name="connsiteY2" fmla="*/ 33054 h 1144902"/>
                <a:gd name="connsiteX3" fmla="*/ 251580 w 610204"/>
                <a:gd name="connsiteY3" fmla="*/ 33054 h 1144902"/>
                <a:gd name="connsiteX4" fmla="*/ 251580 w 610204"/>
                <a:gd name="connsiteY4" fmla="*/ 0 h 1144902"/>
                <a:gd name="connsiteX5" fmla="*/ 52597 w 610204"/>
                <a:gd name="connsiteY5" fmla="*/ 0 h 1144902"/>
                <a:gd name="connsiteX6" fmla="*/ 33457 w 610204"/>
                <a:gd name="connsiteY6" fmla="*/ 42131 h 1144902"/>
                <a:gd name="connsiteX7" fmla="*/ 25488 w 610204"/>
                <a:gd name="connsiteY7" fmla="*/ 99538 h 1144902"/>
                <a:gd name="connsiteX8" fmla="*/ 0 w 610204"/>
                <a:gd name="connsiteY8" fmla="*/ 239774 h 1144902"/>
                <a:gd name="connsiteX9" fmla="*/ 126454 w 610204"/>
                <a:gd name="connsiteY9" fmla="*/ 1144902 h 1144902"/>
                <a:gd name="connsiteX10" fmla="*/ 286044 w 610204"/>
                <a:gd name="connsiteY10" fmla="*/ 1135345 h 1144902"/>
                <a:gd name="connsiteX11" fmla="*/ 316243 w 610204"/>
                <a:gd name="connsiteY11" fmla="*/ 218443 h 1144902"/>
                <a:gd name="connsiteX12" fmla="*/ 319942 w 610204"/>
                <a:gd name="connsiteY12" fmla="*/ 217759 h 1144902"/>
                <a:gd name="connsiteX13" fmla="*/ 335915 w 610204"/>
                <a:gd name="connsiteY13" fmla="*/ 1138965 h 1144902"/>
                <a:gd name="connsiteX14" fmla="*/ 507454 w 610204"/>
                <a:gd name="connsiteY14" fmla="*/ 1132996 h 1144902"/>
                <a:gd name="connsiteX15" fmla="*/ 610204 w 610204"/>
                <a:gd name="connsiteY15" fmla="*/ 232149 h 1144902"/>
                <a:gd name="connsiteX16" fmla="*/ 600994 w 610204"/>
                <a:gd name="connsiteY16" fmla="*/ 106713 h 1144902"/>
                <a:gd name="connsiteX17" fmla="*/ 596981 w 610204"/>
                <a:gd name="connsiteY17" fmla="*/ 42131 h 1144902"/>
                <a:gd name="connsiteX18" fmla="*/ 577842 w 610204"/>
                <a:gd name="connsiteY18" fmla="*/ 0 h 1144902"/>
                <a:gd name="connsiteX0" fmla="*/ 577842 w 627978"/>
                <a:gd name="connsiteY0" fmla="*/ 0 h 1144902"/>
                <a:gd name="connsiteX1" fmla="*/ 365203 w 627978"/>
                <a:gd name="connsiteY1" fmla="*/ 0 h 1144902"/>
                <a:gd name="connsiteX2" fmla="*/ 365203 w 627978"/>
                <a:gd name="connsiteY2" fmla="*/ 33054 h 1144902"/>
                <a:gd name="connsiteX3" fmla="*/ 251580 w 627978"/>
                <a:gd name="connsiteY3" fmla="*/ 33054 h 1144902"/>
                <a:gd name="connsiteX4" fmla="*/ 251580 w 627978"/>
                <a:gd name="connsiteY4" fmla="*/ 0 h 1144902"/>
                <a:gd name="connsiteX5" fmla="*/ 52597 w 627978"/>
                <a:gd name="connsiteY5" fmla="*/ 0 h 1144902"/>
                <a:gd name="connsiteX6" fmla="*/ 33457 w 627978"/>
                <a:gd name="connsiteY6" fmla="*/ 42131 h 1144902"/>
                <a:gd name="connsiteX7" fmla="*/ 25488 w 627978"/>
                <a:gd name="connsiteY7" fmla="*/ 99538 h 1144902"/>
                <a:gd name="connsiteX8" fmla="*/ 0 w 627978"/>
                <a:gd name="connsiteY8" fmla="*/ 239774 h 1144902"/>
                <a:gd name="connsiteX9" fmla="*/ 126454 w 627978"/>
                <a:gd name="connsiteY9" fmla="*/ 1144902 h 1144902"/>
                <a:gd name="connsiteX10" fmla="*/ 286044 w 627978"/>
                <a:gd name="connsiteY10" fmla="*/ 1135345 h 1144902"/>
                <a:gd name="connsiteX11" fmla="*/ 316243 w 627978"/>
                <a:gd name="connsiteY11" fmla="*/ 218443 h 1144902"/>
                <a:gd name="connsiteX12" fmla="*/ 319942 w 627978"/>
                <a:gd name="connsiteY12" fmla="*/ 217759 h 1144902"/>
                <a:gd name="connsiteX13" fmla="*/ 335915 w 627978"/>
                <a:gd name="connsiteY13" fmla="*/ 1138965 h 1144902"/>
                <a:gd name="connsiteX14" fmla="*/ 507454 w 627978"/>
                <a:gd name="connsiteY14" fmla="*/ 1132996 h 1144902"/>
                <a:gd name="connsiteX15" fmla="*/ 627978 w 627978"/>
                <a:gd name="connsiteY15" fmla="*/ 232149 h 1144902"/>
                <a:gd name="connsiteX16" fmla="*/ 600994 w 627978"/>
                <a:gd name="connsiteY16" fmla="*/ 106713 h 1144902"/>
                <a:gd name="connsiteX17" fmla="*/ 596981 w 627978"/>
                <a:gd name="connsiteY17" fmla="*/ 42131 h 1144902"/>
                <a:gd name="connsiteX18" fmla="*/ 577842 w 627978"/>
                <a:gd name="connsiteY18" fmla="*/ 0 h 1144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27978" h="1144902">
                  <a:moveTo>
                    <a:pt x="577842" y="0"/>
                  </a:moveTo>
                  <a:lnTo>
                    <a:pt x="365203" y="0"/>
                  </a:lnTo>
                  <a:lnTo>
                    <a:pt x="365203" y="33054"/>
                  </a:lnTo>
                  <a:lnTo>
                    <a:pt x="251580" y="33054"/>
                  </a:lnTo>
                  <a:lnTo>
                    <a:pt x="251580" y="0"/>
                  </a:lnTo>
                  <a:lnTo>
                    <a:pt x="52597" y="0"/>
                  </a:lnTo>
                  <a:lnTo>
                    <a:pt x="33457" y="42131"/>
                  </a:lnTo>
                  <a:lnTo>
                    <a:pt x="25488" y="99538"/>
                  </a:lnTo>
                  <a:cubicBezTo>
                    <a:pt x="24512" y="148675"/>
                    <a:pt x="976" y="190637"/>
                    <a:pt x="0" y="239774"/>
                  </a:cubicBezTo>
                  <a:cubicBezTo>
                    <a:pt x="36227" y="541483"/>
                    <a:pt x="90227" y="843193"/>
                    <a:pt x="126454" y="1144902"/>
                  </a:cubicBezTo>
                  <a:cubicBezTo>
                    <a:pt x="178841" y="1144902"/>
                    <a:pt x="233657" y="1135345"/>
                    <a:pt x="286044" y="1135345"/>
                  </a:cubicBezTo>
                  <a:lnTo>
                    <a:pt x="316243" y="218443"/>
                  </a:lnTo>
                  <a:lnTo>
                    <a:pt x="319942" y="217759"/>
                  </a:lnTo>
                  <a:lnTo>
                    <a:pt x="335915" y="1138965"/>
                  </a:lnTo>
                  <a:lnTo>
                    <a:pt x="507454" y="1132996"/>
                  </a:lnTo>
                  <a:lnTo>
                    <a:pt x="627978" y="232149"/>
                  </a:lnTo>
                  <a:cubicBezTo>
                    <a:pt x="626702" y="172771"/>
                    <a:pt x="602270" y="166091"/>
                    <a:pt x="600994" y="106713"/>
                  </a:cubicBezTo>
                  <a:lnTo>
                    <a:pt x="596981" y="42131"/>
                  </a:lnTo>
                  <a:lnTo>
                    <a:pt x="577842" y="0"/>
                  </a:lnTo>
                  <a:close/>
                </a:path>
              </a:pathLst>
            </a:custGeom>
            <a:solidFill>
              <a:srgbClr val="3F3F3F">
                <a:lumMod val="85000"/>
                <a:lumOff val="1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6" name="Group 35"/>
            <p:cNvGrpSpPr/>
            <p:nvPr/>
          </p:nvGrpSpPr>
          <p:grpSpPr>
            <a:xfrm>
              <a:off x="12942751" y="4416604"/>
              <a:ext cx="224403" cy="135598"/>
              <a:chOff x="8907336" y="3981032"/>
              <a:chExt cx="339329" cy="111506"/>
            </a:xfrm>
          </p:grpSpPr>
          <p:sp>
            <p:nvSpPr>
              <p:cNvPr id="44" name="Freeform 43"/>
              <p:cNvSpPr/>
              <p:nvPr/>
            </p:nvSpPr>
            <p:spPr bwMode="auto">
              <a:xfrm>
                <a:off x="8907336" y="3981032"/>
                <a:ext cx="120854" cy="111506"/>
              </a:xfrm>
              <a:custGeom>
                <a:avLst/>
                <a:gdLst>
                  <a:gd name="connsiteX0" fmla="*/ 41275 w 123825"/>
                  <a:gd name="connsiteY0" fmla="*/ 0 h 127000"/>
                  <a:gd name="connsiteX1" fmla="*/ 0 w 123825"/>
                  <a:gd name="connsiteY1" fmla="*/ 34925 h 127000"/>
                  <a:gd name="connsiteX2" fmla="*/ 104775 w 123825"/>
                  <a:gd name="connsiteY2" fmla="*/ 127000 h 127000"/>
                  <a:gd name="connsiteX3" fmla="*/ 123825 w 123825"/>
                  <a:gd name="connsiteY3" fmla="*/ 15875 h 127000"/>
                  <a:gd name="connsiteX4" fmla="*/ 41275 w 123825"/>
                  <a:gd name="connsiteY4" fmla="*/ 0 h 127000"/>
                  <a:gd name="connsiteX0" fmla="*/ 57150 w 139700"/>
                  <a:gd name="connsiteY0" fmla="*/ 0 h 127000"/>
                  <a:gd name="connsiteX1" fmla="*/ 0 w 139700"/>
                  <a:gd name="connsiteY1" fmla="*/ 34925 h 127000"/>
                  <a:gd name="connsiteX2" fmla="*/ 120650 w 139700"/>
                  <a:gd name="connsiteY2" fmla="*/ 127000 h 127000"/>
                  <a:gd name="connsiteX3" fmla="*/ 139700 w 139700"/>
                  <a:gd name="connsiteY3" fmla="*/ 15875 h 127000"/>
                  <a:gd name="connsiteX4" fmla="*/ 57150 w 139700"/>
                  <a:gd name="connsiteY4" fmla="*/ 0 h 127000"/>
                  <a:gd name="connsiteX0" fmla="*/ 57150 w 139700"/>
                  <a:gd name="connsiteY0" fmla="*/ 0 h 127000"/>
                  <a:gd name="connsiteX1" fmla="*/ 0 w 139700"/>
                  <a:gd name="connsiteY1" fmla="*/ 34925 h 127000"/>
                  <a:gd name="connsiteX2" fmla="*/ 120650 w 139700"/>
                  <a:gd name="connsiteY2" fmla="*/ 127000 h 127000"/>
                  <a:gd name="connsiteX3" fmla="*/ 139700 w 139700"/>
                  <a:gd name="connsiteY3" fmla="*/ 15875 h 127000"/>
                  <a:gd name="connsiteX4" fmla="*/ 57150 w 139700"/>
                  <a:gd name="connsiteY4" fmla="*/ 0 h 127000"/>
                  <a:gd name="connsiteX0" fmla="*/ 59779 w 142329"/>
                  <a:gd name="connsiteY0" fmla="*/ 0 h 127000"/>
                  <a:gd name="connsiteX1" fmla="*/ 2629 w 142329"/>
                  <a:gd name="connsiteY1" fmla="*/ 34925 h 127000"/>
                  <a:gd name="connsiteX2" fmla="*/ 123279 w 142329"/>
                  <a:gd name="connsiteY2" fmla="*/ 127000 h 127000"/>
                  <a:gd name="connsiteX3" fmla="*/ 142329 w 142329"/>
                  <a:gd name="connsiteY3" fmla="*/ 15875 h 127000"/>
                  <a:gd name="connsiteX4" fmla="*/ 59779 w 142329"/>
                  <a:gd name="connsiteY4" fmla="*/ 0 h 127000"/>
                  <a:gd name="connsiteX0" fmla="*/ 59712 w 142262"/>
                  <a:gd name="connsiteY0" fmla="*/ 0 h 131258"/>
                  <a:gd name="connsiteX1" fmla="*/ 2562 w 142262"/>
                  <a:gd name="connsiteY1" fmla="*/ 34925 h 131258"/>
                  <a:gd name="connsiteX2" fmla="*/ 123212 w 142262"/>
                  <a:gd name="connsiteY2" fmla="*/ 127000 h 131258"/>
                  <a:gd name="connsiteX3" fmla="*/ 142262 w 142262"/>
                  <a:gd name="connsiteY3" fmla="*/ 15875 h 131258"/>
                  <a:gd name="connsiteX4" fmla="*/ 59712 w 142262"/>
                  <a:gd name="connsiteY4" fmla="*/ 0 h 1312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262" h="131258">
                    <a:moveTo>
                      <a:pt x="59712" y="0"/>
                    </a:moveTo>
                    <a:cubicBezTo>
                      <a:pt x="78762" y="94192"/>
                      <a:pt x="21612" y="23283"/>
                      <a:pt x="2562" y="34925"/>
                    </a:cubicBezTo>
                    <a:cubicBezTo>
                      <a:pt x="-17546" y="144992"/>
                      <a:pt x="86170" y="134408"/>
                      <a:pt x="123212" y="127000"/>
                    </a:cubicBezTo>
                    <a:lnTo>
                      <a:pt x="142262" y="15875"/>
                    </a:lnTo>
                    <a:lnTo>
                      <a:pt x="59712" y="0"/>
                    </a:lnTo>
                    <a:close/>
                  </a:path>
                </a:pathLst>
              </a:custGeom>
              <a:solidFill>
                <a:srgbClr val="3F3F3F">
                  <a:lumMod val="95000"/>
                  <a:lumOff val="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5" name="Freeform 44"/>
              <p:cNvSpPr/>
              <p:nvPr/>
            </p:nvSpPr>
            <p:spPr bwMode="auto">
              <a:xfrm flipH="1">
                <a:off x="9125811" y="3981032"/>
                <a:ext cx="120854" cy="111506"/>
              </a:xfrm>
              <a:custGeom>
                <a:avLst/>
                <a:gdLst>
                  <a:gd name="connsiteX0" fmla="*/ 41275 w 123825"/>
                  <a:gd name="connsiteY0" fmla="*/ 0 h 127000"/>
                  <a:gd name="connsiteX1" fmla="*/ 0 w 123825"/>
                  <a:gd name="connsiteY1" fmla="*/ 34925 h 127000"/>
                  <a:gd name="connsiteX2" fmla="*/ 104775 w 123825"/>
                  <a:gd name="connsiteY2" fmla="*/ 127000 h 127000"/>
                  <a:gd name="connsiteX3" fmla="*/ 123825 w 123825"/>
                  <a:gd name="connsiteY3" fmla="*/ 15875 h 127000"/>
                  <a:gd name="connsiteX4" fmla="*/ 41275 w 123825"/>
                  <a:gd name="connsiteY4" fmla="*/ 0 h 127000"/>
                  <a:gd name="connsiteX0" fmla="*/ 57150 w 139700"/>
                  <a:gd name="connsiteY0" fmla="*/ 0 h 127000"/>
                  <a:gd name="connsiteX1" fmla="*/ 0 w 139700"/>
                  <a:gd name="connsiteY1" fmla="*/ 34925 h 127000"/>
                  <a:gd name="connsiteX2" fmla="*/ 120650 w 139700"/>
                  <a:gd name="connsiteY2" fmla="*/ 127000 h 127000"/>
                  <a:gd name="connsiteX3" fmla="*/ 139700 w 139700"/>
                  <a:gd name="connsiteY3" fmla="*/ 15875 h 127000"/>
                  <a:gd name="connsiteX4" fmla="*/ 57150 w 139700"/>
                  <a:gd name="connsiteY4" fmla="*/ 0 h 127000"/>
                  <a:gd name="connsiteX0" fmla="*/ 57150 w 139700"/>
                  <a:gd name="connsiteY0" fmla="*/ 0 h 127000"/>
                  <a:gd name="connsiteX1" fmla="*/ 0 w 139700"/>
                  <a:gd name="connsiteY1" fmla="*/ 34925 h 127000"/>
                  <a:gd name="connsiteX2" fmla="*/ 120650 w 139700"/>
                  <a:gd name="connsiteY2" fmla="*/ 127000 h 127000"/>
                  <a:gd name="connsiteX3" fmla="*/ 139700 w 139700"/>
                  <a:gd name="connsiteY3" fmla="*/ 15875 h 127000"/>
                  <a:gd name="connsiteX4" fmla="*/ 57150 w 139700"/>
                  <a:gd name="connsiteY4" fmla="*/ 0 h 127000"/>
                  <a:gd name="connsiteX0" fmla="*/ 59779 w 142329"/>
                  <a:gd name="connsiteY0" fmla="*/ 0 h 127000"/>
                  <a:gd name="connsiteX1" fmla="*/ 2629 w 142329"/>
                  <a:gd name="connsiteY1" fmla="*/ 34925 h 127000"/>
                  <a:gd name="connsiteX2" fmla="*/ 123279 w 142329"/>
                  <a:gd name="connsiteY2" fmla="*/ 127000 h 127000"/>
                  <a:gd name="connsiteX3" fmla="*/ 142329 w 142329"/>
                  <a:gd name="connsiteY3" fmla="*/ 15875 h 127000"/>
                  <a:gd name="connsiteX4" fmla="*/ 59779 w 142329"/>
                  <a:gd name="connsiteY4" fmla="*/ 0 h 127000"/>
                  <a:gd name="connsiteX0" fmla="*/ 59712 w 142262"/>
                  <a:gd name="connsiteY0" fmla="*/ 0 h 131258"/>
                  <a:gd name="connsiteX1" fmla="*/ 2562 w 142262"/>
                  <a:gd name="connsiteY1" fmla="*/ 34925 h 131258"/>
                  <a:gd name="connsiteX2" fmla="*/ 123212 w 142262"/>
                  <a:gd name="connsiteY2" fmla="*/ 127000 h 131258"/>
                  <a:gd name="connsiteX3" fmla="*/ 142262 w 142262"/>
                  <a:gd name="connsiteY3" fmla="*/ 15875 h 131258"/>
                  <a:gd name="connsiteX4" fmla="*/ 59712 w 142262"/>
                  <a:gd name="connsiteY4" fmla="*/ 0 h 1312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262" h="131258">
                    <a:moveTo>
                      <a:pt x="59712" y="0"/>
                    </a:moveTo>
                    <a:cubicBezTo>
                      <a:pt x="78762" y="94192"/>
                      <a:pt x="21612" y="23283"/>
                      <a:pt x="2562" y="34925"/>
                    </a:cubicBezTo>
                    <a:cubicBezTo>
                      <a:pt x="-17546" y="144992"/>
                      <a:pt x="86170" y="134408"/>
                      <a:pt x="123212" y="127000"/>
                    </a:cubicBezTo>
                    <a:lnTo>
                      <a:pt x="142262" y="15875"/>
                    </a:lnTo>
                    <a:lnTo>
                      <a:pt x="59712" y="0"/>
                    </a:lnTo>
                    <a:close/>
                  </a:path>
                </a:pathLst>
              </a:custGeom>
              <a:solidFill>
                <a:srgbClr val="3F3F3F">
                  <a:lumMod val="95000"/>
                  <a:lumOff val="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37" name="Rounded Rectangle 36"/>
            <p:cNvSpPr/>
            <p:nvPr/>
          </p:nvSpPr>
          <p:spPr bwMode="auto">
            <a:xfrm>
              <a:off x="12742135" y="5163361"/>
              <a:ext cx="57412" cy="93295"/>
            </a:xfrm>
            <a:prstGeom prst="roundRect">
              <a:avLst>
                <a:gd name="adj" fmla="val 50000"/>
              </a:avLst>
            </a:prstGeom>
            <a:solidFill>
              <a:srgbClr val="FFC0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8" name="Group 37"/>
            <p:cNvGrpSpPr/>
            <p:nvPr/>
          </p:nvGrpSpPr>
          <p:grpSpPr>
            <a:xfrm>
              <a:off x="12928076" y="6104343"/>
              <a:ext cx="228584" cy="91620"/>
              <a:chOff x="8947799" y="5725197"/>
              <a:chExt cx="257734" cy="58573"/>
            </a:xfrm>
          </p:grpSpPr>
          <p:sp>
            <p:nvSpPr>
              <p:cNvPr id="42" name="Freeform 41"/>
              <p:cNvSpPr/>
              <p:nvPr/>
            </p:nvSpPr>
            <p:spPr bwMode="auto">
              <a:xfrm>
                <a:off x="8947799" y="5725197"/>
                <a:ext cx="118153" cy="58573"/>
              </a:xfrm>
              <a:custGeom>
                <a:avLst/>
                <a:gdLst>
                  <a:gd name="connsiteX0" fmla="*/ 93857 w 187714"/>
                  <a:gd name="connsiteY0" fmla="*/ 0 h 93056"/>
                  <a:gd name="connsiteX1" fmla="*/ 180525 w 187714"/>
                  <a:gd name="connsiteY1" fmla="*/ 57448 h 93056"/>
                  <a:gd name="connsiteX2" fmla="*/ 187714 w 187714"/>
                  <a:gd name="connsiteY2" fmla="*/ 93056 h 93056"/>
                  <a:gd name="connsiteX3" fmla="*/ 0 w 187714"/>
                  <a:gd name="connsiteY3" fmla="*/ 93056 h 93056"/>
                  <a:gd name="connsiteX4" fmla="*/ 7189 w 187714"/>
                  <a:gd name="connsiteY4" fmla="*/ 57448 h 93056"/>
                  <a:gd name="connsiteX5" fmla="*/ 93857 w 187714"/>
                  <a:gd name="connsiteY5" fmla="*/ 0 h 93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7714" h="93056">
                    <a:moveTo>
                      <a:pt x="93857" y="0"/>
                    </a:moveTo>
                    <a:cubicBezTo>
                      <a:pt x="132818" y="0"/>
                      <a:pt x="166246" y="23688"/>
                      <a:pt x="180525" y="57448"/>
                    </a:cubicBezTo>
                    <a:lnTo>
                      <a:pt x="187714" y="93056"/>
                    </a:lnTo>
                    <a:lnTo>
                      <a:pt x="0" y="93056"/>
                    </a:lnTo>
                    <a:lnTo>
                      <a:pt x="7189" y="57448"/>
                    </a:lnTo>
                    <a:cubicBezTo>
                      <a:pt x="21468" y="23688"/>
                      <a:pt x="54896" y="0"/>
                      <a:pt x="93857" y="0"/>
                    </a:cubicBezTo>
                    <a:close/>
                  </a:path>
                </a:pathLst>
              </a:custGeom>
              <a:solidFill>
                <a:srgbClr val="6633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836" b="0" i="0" u="none" strike="noStrike" kern="0" cap="none" spc="0" normalizeH="0" baseline="0" noProof="0" dirty="0" smtClean="0">
                  <a:ln>
                    <a:noFill/>
                  </a:ln>
                  <a:solidFill>
                    <a:srgbClr val="FFFFFF"/>
                  </a:solidFill>
                  <a:effectLst/>
                  <a:uLnTx/>
                  <a:uFillTx/>
                  <a:latin typeface="Segoe UI"/>
                  <a:ea typeface="+mn-ea"/>
                  <a:cs typeface="+mn-cs"/>
                </a:endParaRPr>
              </a:p>
            </p:txBody>
          </p:sp>
          <p:sp>
            <p:nvSpPr>
              <p:cNvPr id="43" name="Freeform 42"/>
              <p:cNvSpPr/>
              <p:nvPr/>
            </p:nvSpPr>
            <p:spPr bwMode="auto">
              <a:xfrm>
                <a:off x="9087380" y="5725197"/>
                <a:ext cx="118153" cy="58573"/>
              </a:xfrm>
              <a:custGeom>
                <a:avLst/>
                <a:gdLst>
                  <a:gd name="connsiteX0" fmla="*/ 93857 w 187714"/>
                  <a:gd name="connsiteY0" fmla="*/ 0 h 93056"/>
                  <a:gd name="connsiteX1" fmla="*/ 180525 w 187714"/>
                  <a:gd name="connsiteY1" fmla="*/ 57448 h 93056"/>
                  <a:gd name="connsiteX2" fmla="*/ 187714 w 187714"/>
                  <a:gd name="connsiteY2" fmla="*/ 93056 h 93056"/>
                  <a:gd name="connsiteX3" fmla="*/ 0 w 187714"/>
                  <a:gd name="connsiteY3" fmla="*/ 93056 h 93056"/>
                  <a:gd name="connsiteX4" fmla="*/ 7189 w 187714"/>
                  <a:gd name="connsiteY4" fmla="*/ 57448 h 93056"/>
                  <a:gd name="connsiteX5" fmla="*/ 93857 w 187714"/>
                  <a:gd name="connsiteY5" fmla="*/ 0 h 93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7714" h="93056">
                    <a:moveTo>
                      <a:pt x="93857" y="0"/>
                    </a:moveTo>
                    <a:cubicBezTo>
                      <a:pt x="132818" y="0"/>
                      <a:pt x="166246" y="23688"/>
                      <a:pt x="180525" y="57448"/>
                    </a:cubicBezTo>
                    <a:lnTo>
                      <a:pt x="187714" y="93056"/>
                    </a:lnTo>
                    <a:lnTo>
                      <a:pt x="0" y="93056"/>
                    </a:lnTo>
                    <a:lnTo>
                      <a:pt x="7189" y="57448"/>
                    </a:lnTo>
                    <a:cubicBezTo>
                      <a:pt x="21468" y="23688"/>
                      <a:pt x="54896" y="0"/>
                      <a:pt x="93857" y="0"/>
                    </a:cubicBezTo>
                    <a:close/>
                  </a:path>
                </a:pathLst>
              </a:custGeom>
              <a:solidFill>
                <a:srgbClr val="6633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836" b="0" i="0" u="none" strike="noStrike" kern="0" cap="none" spc="0" normalizeH="0" baseline="0" noProof="0" dirty="0" smtClean="0">
                  <a:ln>
                    <a:noFill/>
                  </a:ln>
                  <a:solidFill>
                    <a:srgbClr val="FFFFFF"/>
                  </a:solidFill>
                  <a:effectLst/>
                  <a:uLnTx/>
                  <a:uFillTx/>
                  <a:latin typeface="Segoe UI"/>
                  <a:ea typeface="+mn-ea"/>
                  <a:cs typeface="+mn-cs"/>
                </a:endParaRPr>
              </a:p>
            </p:txBody>
          </p:sp>
        </p:grpSp>
        <p:sp>
          <p:nvSpPr>
            <p:cNvPr id="39" name="Freeform 38"/>
            <p:cNvSpPr/>
            <p:nvPr/>
          </p:nvSpPr>
          <p:spPr bwMode="auto">
            <a:xfrm rot="5400000">
              <a:off x="12906978" y="4370532"/>
              <a:ext cx="296028" cy="233235"/>
            </a:xfrm>
            <a:custGeom>
              <a:avLst/>
              <a:gdLst>
                <a:gd name="connsiteX0" fmla="*/ 0 w 392904"/>
                <a:gd name="connsiteY0" fmla="*/ 184191 h 309562"/>
                <a:gd name="connsiteX1" fmla="*/ 0 w 392904"/>
                <a:gd name="connsiteY1" fmla="*/ 125371 h 309562"/>
                <a:gd name="connsiteX2" fmla="*/ 95323 w 392904"/>
                <a:gd name="connsiteY2" fmla="*/ 30048 h 309562"/>
                <a:gd name="connsiteX3" fmla="*/ 107911 w 392904"/>
                <a:gd name="connsiteY3" fmla="*/ 30048 h 309562"/>
                <a:gd name="connsiteX4" fmla="*/ 116458 w 392904"/>
                <a:gd name="connsiteY4" fmla="*/ 9416 h 309562"/>
                <a:gd name="connsiteX5" fmla="*/ 139189 w 392904"/>
                <a:gd name="connsiteY5" fmla="*/ 0 h 309562"/>
                <a:gd name="connsiteX6" fmla="*/ 182279 w 392904"/>
                <a:gd name="connsiteY6" fmla="*/ 0 h 309562"/>
                <a:gd name="connsiteX7" fmla="*/ 205010 w 392904"/>
                <a:gd name="connsiteY7" fmla="*/ 9416 h 309562"/>
                <a:gd name="connsiteX8" fmla="*/ 213557 w 392904"/>
                <a:gd name="connsiteY8" fmla="*/ 30048 h 309562"/>
                <a:gd name="connsiteX9" fmla="*/ 252339 w 392904"/>
                <a:gd name="connsiteY9" fmla="*/ 30048 h 309562"/>
                <a:gd name="connsiteX10" fmla="*/ 319742 w 392904"/>
                <a:gd name="connsiteY10" fmla="*/ 57968 h 309562"/>
                <a:gd name="connsiteX11" fmla="*/ 336441 w 392904"/>
                <a:gd name="connsiteY11" fmla="*/ 82735 h 309562"/>
                <a:gd name="connsiteX12" fmla="*/ 357186 w 392904"/>
                <a:gd name="connsiteY12" fmla="*/ 80848 h 309562"/>
                <a:gd name="connsiteX13" fmla="*/ 392904 w 392904"/>
                <a:gd name="connsiteY13" fmla="*/ 152286 h 309562"/>
                <a:gd name="connsiteX14" fmla="*/ 357186 w 392904"/>
                <a:gd name="connsiteY14" fmla="*/ 235629 h 309562"/>
                <a:gd name="connsiteX15" fmla="*/ 330992 w 392904"/>
                <a:gd name="connsiteY15" fmla="*/ 235629 h 309562"/>
                <a:gd name="connsiteX16" fmla="*/ 330992 w 392904"/>
                <a:gd name="connsiteY16" fmla="*/ 234909 h 309562"/>
                <a:gd name="connsiteX17" fmla="*/ 319742 w 392904"/>
                <a:gd name="connsiteY17" fmla="*/ 251594 h 309562"/>
                <a:gd name="connsiteX18" fmla="*/ 252339 w 392904"/>
                <a:gd name="connsiteY18" fmla="*/ 279514 h 309562"/>
                <a:gd name="connsiteX19" fmla="*/ 213557 w 392904"/>
                <a:gd name="connsiteY19" fmla="*/ 279514 h 309562"/>
                <a:gd name="connsiteX20" fmla="*/ 205010 w 392904"/>
                <a:gd name="connsiteY20" fmla="*/ 300146 h 309562"/>
                <a:gd name="connsiteX21" fmla="*/ 182279 w 392904"/>
                <a:gd name="connsiteY21" fmla="*/ 309562 h 309562"/>
                <a:gd name="connsiteX22" fmla="*/ 139189 w 392904"/>
                <a:gd name="connsiteY22" fmla="*/ 309562 h 309562"/>
                <a:gd name="connsiteX23" fmla="*/ 116458 w 392904"/>
                <a:gd name="connsiteY23" fmla="*/ 300146 h 309562"/>
                <a:gd name="connsiteX24" fmla="*/ 107911 w 392904"/>
                <a:gd name="connsiteY24" fmla="*/ 279514 h 309562"/>
                <a:gd name="connsiteX25" fmla="*/ 95323 w 392904"/>
                <a:gd name="connsiteY25" fmla="*/ 279514 h 309562"/>
                <a:gd name="connsiteX26" fmla="*/ 0 w 392904"/>
                <a:gd name="connsiteY26" fmla="*/ 184191 h 309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92904" h="309562">
                  <a:moveTo>
                    <a:pt x="0" y="184191"/>
                  </a:moveTo>
                  <a:lnTo>
                    <a:pt x="0" y="125371"/>
                  </a:lnTo>
                  <a:cubicBezTo>
                    <a:pt x="0" y="72726"/>
                    <a:pt x="42678" y="30048"/>
                    <a:pt x="95323" y="30048"/>
                  </a:cubicBezTo>
                  <a:lnTo>
                    <a:pt x="107911" y="30048"/>
                  </a:lnTo>
                  <a:lnTo>
                    <a:pt x="116458" y="9416"/>
                  </a:lnTo>
                  <a:cubicBezTo>
                    <a:pt x="122275" y="3598"/>
                    <a:pt x="130312" y="0"/>
                    <a:pt x="139189" y="0"/>
                  </a:cubicBezTo>
                  <a:lnTo>
                    <a:pt x="182279" y="0"/>
                  </a:lnTo>
                  <a:cubicBezTo>
                    <a:pt x="191156" y="0"/>
                    <a:pt x="199193" y="3598"/>
                    <a:pt x="205010" y="9416"/>
                  </a:cubicBezTo>
                  <a:lnTo>
                    <a:pt x="213557" y="30048"/>
                  </a:lnTo>
                  <a:lnTo>
                    <a:pt x="252339" y="30048"/>
                  </a:lnTo>
                  <a:cubicBezTo>
                    <a:pt x="278662" y="30048"/>
                    <a:pt x="302492" y="40718"/>
                    <a:pt x="319742" y="57968"/>
                  </a:cubicBezTo>
                  <a:lnTo>
                    <a:pt x="336441" y="82735"/>
                  </a:lnTo>
                  <a:lnTo>
                    <a:pt x="357186" y="80848"/>
                  </a:lnTo>
                  <a:lnTo>
                    <a:pt x="392904" y="152286"/>
                  </a:lnTo>
                  <a:lnTo>
                    <a:pt x="357186" y="235629"/>
                  </a:lnTo>
                  <a:lnTo>
                    <a:pt x="330992" y="235629"/>
                  </a:lnTo>
                  <a:lnTo>
                    <a:pt x="330992" y="234909"/>
                  </a:lnTo>
                  <a:lnTo>
                    <a:pt x="319742" y="251594"/>
                  </a:lnTo>
                  <a:cubicBezTo>
                    <a:pt x="302492" y="268845"/>
                    <a:pt x="278662" y="279514"/>
                    <a:pt x="252339" y="279514"/>
                  </a:cubicBezTo>
                  <a:lnTo>
                    <a:pt x="213557" y="279514"/>
                  </a:lnTo>
                  <a:lnTo>
                    <a:pt x="205010" y="300146"/>
                  </a:lnTo>
                  <a:cubicBezTo>
                    <a:pt x="199193" y="305964"/>
                    <a:pt x="191156" y="309562"/>
                    <a:pt x="182279" y="309562"/>
                  </a:cubicBezTo>
                  <a:lnTo>
                    <a:pt x="139189" y="309562"/>
                  </a:lnTo>
                  <a:cubicBezTo>
                    <a:pt x="130312" y="309562"/>
                    <a:pt x="122275" y="305964"/>
                    <a:pt x="116458" y="300146"/>
                  </a:cubicBezTo>
                  <a:lnTo>
                    <a:pt x="107911" y="279514"/>
                  </a:lnTo>
                  <a:lnTo>
                    <a:pt x="95323" y="279514"/>
                  </a:lnTo>
                  <a:cubicBezTo>
                    <a:pt x="42678" y="279514"/>
                    <a:pt x="0" y="236836"/>
                    <a:pt x="0" y="184191"/>
                  </a:cubicBezTo>
                  <a:close/>
                </a:path>
              </a:pathLst>
            </a:custGeom>
            <a:solidFill>
              <a:srgbClr val="FFC0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 name="Freeform 39"/>
            <p:cNvSpPr/>
            <p:nvPr/>
          </p:nvSpPr>
          <p:spPr bwMode="auto">
            <a:xfrm flipH="1">
              <a:off x="12938374" y="4308661"/>
              <a:ext cx="233235" cy="189255"/>
            </a:xfrm>
            <a:custGeom>
              <a:avLst/>
              <a:gdLst>
                <a:gd name="connsiteX0" fmla="*/ 300038 w 300038"/>
                <a:gd name="connsiteY0" fmla="*/ 190500 h 190500"/>
                <a:gd name="connsiteX1" fmla="*/ 271463 w 300038"/>
                <a:gd name="connsiteY1" fmla="*/ 116681 h 190500"/>
                <a:gd name="connsiteX2" fmla="*/ 195263 w 300038"/>
                <a:gd name="connsiteY2" fmla="*/ 107156 h 190500"/>
                <a:gd name="connsiteX3" fmla="*/ 52388 w 300038"/>
                <a:gd name="connsiteY3" fmla="*/ 100012 h 190500"/>
                <a:gd name="connsiteX4" fmla="*/ 21431 w 300038"/>
                <a:gd name="connsiteY4" fmla="*/ 119062 h 190500"/>
                <a:gd name="connsiteX5" fmla="*/ 23813 w 300038"/>
                <a:gd name="connsiteY5" fmla="*/ 164306 h 190500"/>
                <a:gd name="connsiteX6" fmla="*/ 0 w 300038"/>
                <a:gd name="connsiteY6" fmla="*/ 171450 h 190500"/>
                <a:gd name="connsiteX7" fmla="*/ 97631 w 300038"/>
                <a:gd name="connsiteY7" fmla="*/ 0 h 190500"/>
                <a:gd name="connsiteX8" fmla="*/ 214313 w 300038"/>
                <a:gd name="connsiteY8" fmla="*/ 40481 h 190500"/>
                <a:gd name="connsiteX9" fmla="*/ 300038 w 300038"/>
                <a:gd name="connsiteY9" fmla="*/ 190500 h 190500"/>
                <a:gd name="connsiteX0" fmla="*/ 300038 w 300038"/>
                <a:gd name="connsiteY0" fmla="*/ 190500 h 190500"/>
                <a:gd name="connsiteX1" fmla="*/ 271463 w 300038"/>
                <a:gd name="connsiteY1" fmla="*/ 116681 h 190500"/>
                <a:gd name="connsiteX2" fmla="*/ 195263 w 300038"/>
                <a:gd name="connsiteY2" fmla="*/ 107156 h 190500"/>
                <a:gd name="connsiteX3" fmla="*/ 52388 w 300038"/>
                <a:gd name="connsiteY3" fmla="*/ 100012 h 190500"/>
                <a:gd name="connsiteX4" fmla="*/ 21431 w 300038"/>
                <a:gd name="connsiteY4" fmla="*/ 119062 h 190500"/>
                <a:gd name="connsiteX5" fmla="*/ 23813 w 300038"/>
                <a:gd name="connsiteY5" fmla="*/ 164306 h 190500"/>
                <a:gd name="connsiteX6" fmla="*/ 0 w 300038"/>
                <a:gd name="connsiteY6" fmla="*/ 171450 h 190500"/>
                <a:gd name="connsiteX7" fmla="*/ 97631 w 300038"/>
                <a:gd name="connsiteY7" fmla="*/ 0 h 190500"/>
                <a:gd name="connsiteX8" fmla="*/ 214313 w 300038"/>
                <a:gd name="connsiteY8" fmla="*/ 40481 h 190500"/>
                <a:gd name="connsiteX9" fmla="*/ 300038 w 300038"/>
                <a:gd name="connsiteY9" fmla="*/ 190500 h 190500"/>
                <a:gd name="connsiteX0" fmla="*/ 300038 w 300038"/>
                <a:gd name="connsiteY0" fmla="*/ 190500 h 190500"/>
                <a:gd name="connsiteX1" fmla="*/ 271463 w 300038"/>
                <a:gd name="connsiteY1" fmla="*/ 116681 h 190500"/>
                <a:gd name="connsiteX2" fmla="*/ 195263 w 300038"/>
                <a:gd name="connsiteY2" fmla="*/ 107156 h 190500"/>
                <a:gd name="connsiteX3" fmla="*/ 52388 w 300038"/>
                <a:gd name="connsiteY3" fmla="*/ 100012 h 190500"/>
                <a:gd name="connsiteX4" fmla="*/ 21431 w 300038"/>
                <a:gd name="connsiteY4" fmla="*/ 119062 h 190500"/>
                <a:gd name="connsiteX5" fmla="*/ 23813 w 300038"/>
                <a:gd name="connsiteY5" fmla="*/ 164306 h 190500"/>
                <a:gd name="connsiteX6" fmla="*/ 0 w 300038"/>
                <a:gd name="connsiteY6" fmla="*/ 171450 h 190500"/>
                <a:gd name="connsiteX7" fmla="*/ 97631 w 300038"/>
                <a:gd name="connsiteY7" fmla="*/ 0 h 190500"/>
                <a:gd name="connsiteX8" fmla="*/ 214313 w 300038"/>
                <a:gd name="connsiteY8" fmla="*/ 40481 h 190500"/>
                <a:gd name="connsiteX9" fmla="*/ 300038 w 300038"/>
                <a:gd name="connsiteY9" fmla="*/ 190500 h 190500"/>
                <a:gd name="connsiteX0" fmla="*/ 300038 w 301649"/>
                <a:gd name="connsiteY0" fmla="*/ 190500 h 190500"/>
                <a:gd name="connsiteX1" fmla="*/ 271463 w 301649"/>
                <a:gd name="connsiteY1" fmla="*/ 116681 h 190500"/>
                <a:gd name="connsiteX2" fmla="*/ 195263 w 301649"/>
                <a:gd name="connsiteY2" fmla="*/ 107156 h 190500"/>
                <a:gd name="connsiteX3" fmla="*/ 52388 w 301649"/>
                <a:gd name="connsiteY3" fmla="*/ 100012 h 190500"/>
                <a:gd name="connsiteX4" fmla="*/ 21431 w 301649"/>
                <a:gd name="connsiteY4" fmla="*/ 119062 h 190500"/>
                <a:gd name="connsiteX5" fmla="*/ 23813 w 301649"/>
                <a:gd name="connsiteY5" fmla="*/ 164306 h 190500"/>
                <a:gd name="connsiteX6" fmla="*/ 0 w 301649"/>
                <a:gd name="connsiteY6" fmla="*/ 171450 h 190500"/>
                <a:gd name="connsiteX7" fmla="*/ 97631 w 301649"/>
                <a:gd name="connsiteY7" fmla="*/ 0 h 190500"/>
                <a:gd name="connsiteX8" fmla="*/ 214313 w 301649"/>
                <a:gd name="connsiteY8" fmla="*/ 40481 h 190500"/>
                <a:gd name="connsiteX9" fmla="*/ 300038 w 301649"/>
                <a:gd name="connsiteY9" fmla="*/ 190500 h 190500"/>
                <a:gd name="connsiteX0" fmla="*/ 300038 w 301649"/>
                <a:gd name="connsiteY0" fmla="*/ 194507 h 194507"/>
                <a:gd name="connsiteX1" fmla="*/ 271463 w 301649"/>
                <a:gd name="connsiteY1" fmla="*/ 120688 h 194507"/>
                <a:gd name="connsiteX2" fmla="*/ 195263 w 301649"/>
                <a:gd name="connsiteY2" fmla="*/ 111163 h 194507"/>
                <a:gd name="connsiteX3" fmla="*/ 52388 w 301649"/>
                <a:gd name="connsiteY3" fmla="*/ 104019 h 194507"/>
                <a:gd name="connsiteX4" fmla="*/ 21431 w 301649"/>
                <a:gd name="connsiteY4" fmla="*/ 123069 h 194507"/>
                <a:gd name="connsiteX5" fmla="*/ 23813 w 301649"/>
                <a:gd name="connsiteY5" fmla="*/ 168313 h 194507"/>
                <a:gd name="connsiteX6" fmla="*/ 0 w 301649"/>
                <a:gd name="connsiteY6" fmla="*/ 175457 h 194507"/>
                <a:gd name="connsiteX7" fmla="*/ 97631 w 301649"/>
                <a:gd name="connsiteY7" fmla="*/ 4007 h 194507"/>
                <a:gd name="connsiteX8" fmla="*/ 214313 w 301649"/>
                <a:gd name="connsiteY8" fmla="*/ 44488 h 194507"/>
                <a:gd name="connsiteX9" fmla="*/ 300038 w 301649"/>
                <a:gd name="connsiteY9" fmla="*/ 194507 h 194507"/>
                <a:gd name="connsiteX0" fmla="*/ 300038 w 301649"/>
                <a:gd name="connsiteY0" fmla="*/ 195665 h 195665"/>
                <a:gd name="connsiteX1" fmla="*/ 271463 w 301649"/>
                <a:gd name="connsiteY1" fmla="*/ 121846 h 195665"/>
                <a:gd name="connsiteX2" fmla="*/ 195263 w 301649"/>
                <a:gd name="connsiteY2" fmla="*/ 112321 h 195665"/>
                <a:gd name="connsiteX3" fmla="*/ 52388 w 301649"/>
                <a:gd name="connsiteY3" fmla="*/ 105177 h 195665"/>
                <a:gd name="connsiteX4" fmla="*/ 21431 w 301649"/>
                <a:gd name="connsiteY4" fmla="*/ 124227 h 195665"/>
                <a:gd name="connsiteX5" fmla="*/ 23813 w 301649"/>
                <a:gd name="connsiteY5" fmla="*/ 169471 h 195665"/>
                <a:gd name="connsiteX6" fmla="*/ 0 w 301649"/>
                <a:gd name="connsiteY6" fmla="*/ 176615 h 195665"/>
                <a:gd name="connsiteX7" fmla="*/ 97631 w 301649"/>
                <a:gd name="connsiteY7" fmla="*/ 5165 h 195665"/>
                <a:gd name="connsiteX8" fmla="*/ 214313 w 301649"/>
                <a:gd name="connsiteY8" fmla="*/ 45646 h 195665"/>
                <a:gd name="connsiteX9" fmla="*/ 300038 w 301649"/>
                <a:gd name="connsiteY9" fmla="*/ 195665 h 195665"/>
                <a:gd name="connsiteX0" fmla="*/ 300038 w 301649"/>
                <a:gd name="connsiteY0" fmla="*/ 195665 h 195665"/>
                <a:gd name="connsiteX1" fmla="*/ 271463 w 301649"/>
                <a:gd name="connsiteY1" fmla="*/ 121846 h 195665"/>
                <a:gd name="connsiteX2" fmla="*/ 195263 w 301649"/>
                <a:gd name="connsiteY2" fmla="*/ 112321 h 195665"/>
                <a:gd name="connsiteX3" fmla="*/ 52388 w 301649"/>
                <a:gd name="connsiteY3" fmla="*/ 105177 h 195665"/>
                <a:gd name="connsiteX4" fmla="*/ 45243 w 301649"/>
                <a:gd name="connsiteY4" fmla="*/ 150420 h 195665"/>
                <a:gd name="connsiteX5" fmla="*/ 23813 w 301649"/>
                <a:gd name="connsiteY5" fmla="*/ 169471 h 195665"/>
                <a:gd name="connsiteX6" fmla="*/ 0 w 301649"/>
                <a:gd name="connsiteY6" fmla="*/ 176615 h 195665"/>
                <a:gd name="connsiteX7" fmla="*/ 97631 w 301649"/>
                <a:gd name="connsiteY7" fmla="*/ 5165 h 195665"/>
                <a:gd name="connsiteX8" fmla="*/ 214313 w 301649"/>
                <a:gd name="connsiteY8" fmla="*/ 45646 h 195665"/>
                <a:gd name="connsiteX9" fmla="*/ 300038 w 301649"/>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5688 w 302094"/>
                <a:gd name="connsiteY4" fmla="*/ 150420 h 195665"/>
                <a:gd name="connsiteX5" fmla="*/ 24258 w 302094"/>
                <a:gd name="connsiteY5" fmla="*/ 169471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5688 w 302094"/>
                <a:gd name="connsiteY4" fmla="*/ 150420 h 195665"/>
                <a:gd name="connsiteX5" fmla="*/ 21877 w 302094"/>
                <a:gd name="connsiteY5" fmla="*/ 131371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3307 w 302094"/>
                <a:gd name="connsiteY4" fmla="*/ 126608 h 195665"/>
                <a:gd name="connsiteX5" fmla="*/ 21877 w 302094"/>
                <a:gd name="connsiteY5" fmla="*/ 131371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3307 w 302094"/>
                <a:gd name="connsiteY4" fmla="*/ 126608 h 195665"/>
                <a:gd name="connsiteX5" fmla="*/ 12352 w 302094"/>
                <a:gd name="connsiteY5" fmla="*/ 171852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3307 w 302094"/>
                <a:gd name="connsiteY4" fmla="*/ 126608 h 195665"/>
                <a:gd name="connsiteX5" fmla="*/ 12352 w 302094"/>
                <a:gd name="connsiteY5" fmla="*/ 171852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3307 w 302094"/>
                <a:gd name="connsiteY4" fmla="*/ 126608 h 195665"/>
                <a:gd name="connsiteX5" fmla="*/ 12352 w 302094"/>
                <a:gd name="connsiteY5" fmla="*/ 171852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3307 w 302094"/>
                <a:gd name="connsiteY4" fmla="*/ 126608 h 195665"/>
                <a:gd name="connsiteX5" fmla="*/ 12352 w 302094"/>
                <a:gd name="connsiteY5" fmla="*/ 171852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3307 w 302094"/>
                <a:gd name="connsiteY4" fmla="*/ 126608 h 195665"/>
                <a:gd name="connsiteX5" fmla="*/ 12352 w 302094"/>
                <a:gd name="connsiteY5" fmla="*/ 171852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1906"/>
                <a:gd name="connsiteY0" fmla="*/ 195665 h 195665"/>
                <a:gd name="connsiteX1" fmla="*/ 271908 w 301906"/>
                <a:gd name="connsiteY1" fmla="*/ 121846 h 195665"/>
                <a:gd name="connsiteX2" fmla="*/ 195708 w 301906"/>
                <a:gd name="connsiteY2" fmla="*/ 112321 h 195665"/>
                <a:gd name="connsiteX3" fmla="*/ 52833 w 301906"/>
                <a:gd name="connsiteY3" fmla="*/ 105177 h 195665"/>
                <a:gd name="connsiteX4" fmla="*/ 43307 w 301906"/>
                <a:gd name="connsiteY4" fmla="*/ 126608 h 195665"/>
                <a:gd name="connsiteX5" fmla="*/ 12352 w 301906"/>
                <a:gd name="connsiteY5" fmla="*/ 171852 h 195665"/>
                <a:gd name="connsiteX6" fmla="*/ 445 w 301906"/>
                <a:gd name="connsiteY6" fmla="*/ 176615 h 195665"/>
                <a:gd name="connsiteX7" fmla="*/ 98076 w 301906"/>
                <a:gd name="connsiteY7" fmla="*/ 5165 h 195665"/>
                <a:gd name="connsiteX8" fmla="*/ 214758 w 301906"/>
                <a:gd name="connsiteY8" fmla="*/ 45646 h 195665"/>
                <a:gd name="connsiteX9" fmla="*/ 300483 w 301906"/>
                <a:gd name="connsiteY9" fmla="*/ 195665 h 195665"/>
                <a:gd name="connsiteX0" fmla="*/ 300483 w 301906"/>
                <a:gd name="connsiteY0" fmla="*/ 195665 h 195665"/>
                <a:gd name="connsiteX1" fmla="*/ 271908 w 301906"/>
                <a:gd name="connsiteY1" fmla="*/ 121846 h 195665"/>
                <a:gd name="connsiteX2" fmla="*/ 195708 w 301906"/>
                <a:gd name="connsiteY2" fmla="*/ 112321 h 195665"/>
                <a:gd name="connsiteX3" fmla="*/ 52833 w 301906"/>
                <a:gd name="connsiteY3" fmla="*/ 105177 h 195665"/>
                <a:gd name="connsiteX4" fmla="*/ 43307 w 301906"/>
                <a:gd name="connsiteY4" fmla="*/ 126608 h 195665"/>
                <a:gd name="connsiteX5" fmla="*/ 12352 w 301906"/>
                <a:gd name="connsiteY5" fmla="*/ 171852 h 195665"/>
                <a:gd name="connsiteX6" fmla="*/ 445 w 301906"/>
                <a:gd name="connsiteY6" fmla="*/ 176615 h 195665"/>
                <a:gd name="connsiteX7" fmla="*/ 98076 w 301906"/>
                <a:gd name="connsiteY7" fmla="*/ 5165 h 195665"/>
                <a:gd name="connsiteX8" fmla="*/ 214758 w 301906"/>
                <a:gd name="connsiteY8" fmla="*/ 45646 h 195665"/>
                <a:gd name="connsiteX9" fmla="*/ 300483 w 301906"/>
                <a:gd name="connsiteY9" fmla="*/ 195665 h 195665"/>
                <a:gd name="connsiteX0" fmla="*/ 300157 w 305426"/>
                <a:gd name="connsiteY0" fmla="*/ 207197 h 207197"/>
                <a:gd name="connsiteX1" fmla="*/ 271582 w 305426"/>
                <a:gd name="connsiteY1" fmla="*/ 133378 h 207197"/>
                <a:gd name="connsiteX2" fmla="*/ 195382 w 305426"/>
                <a:gd name="connsiteY2" fmla="*/ 123853 h 207197"/>
                <a:gd name="connsiteX3" fmla="*/ 52507 w 305426"/>
                <a:gd name="connsiteY3" fmla="*/ 116709 h 207197"/>
                <a:gd name="connsiteX4" fmla="*/ 42981 w 305426"/>
                <a:gd name="connsiteY4" fmla="*/ 138140 h 207197"/>
                <a:gd name="connsiteX5" fmla="*/ 12026 w 305426"/>
                <a:gd name="connsiteY5" fmla="*/ 183384 h 207197"/>
                <a:gd name="connsiteX6" fmla="*/ 119 w 305426"/>
                <a:gd name="connsiteY6" fmla="*/ 188147 h 207197"/>
                <a:gd name="connsiteX7" fmla="*/ 97750 w 305426"/>
                <a:gd name="connsiteY7" fmla="*/ 16697 h 207197"/>
                <a:gd name="connsiteX8" fmla="*/ 236657 w 305426"/>
                <a:gd name="connsiteY8" fmla="*/ 25428 h 207197"/>
                <a:gd name="connsiteX9" fmla="*/ 300157 w 305426"/>
                <a:gd name="connsiteY9" fmla="*/ 207197 h 207197"/>
                <a:gd name="connsiteX0" fmla="*/ 301589 w 306858"/>
                <a:gd name="connsiteY0" fmla="*/ 228594 h 228594"/>
                <a:gd name="connsiteX1" fmla="*/ 273014 w 306858"/>
                <a:gd name="connsiteY1" fmla="*/ 154775 h 228594"/>
                <a:gd name="connsiteX2" fmla="*/ 196814 w 306858"/>
                <a:gd name="connsiteY2" fmla="*/ 145250 h 228594"/>
                <a:gd name="connsiteX3" fmla="*/ 53939 w 306858"/>
                <a:gd name="connsiteY3" fmla="*/ 138106 h 228594"/>
                <a:gd name="connsiteX4" fmla="*/ 44413 w 306858"/>
                <a:gd name="connsiteY4" fmla="*/ 159537 h 228594"/>
                <a:gd name="connsiteX5" fmla="*/ 13458 w 306858"/>
                <a:gd name="connsiteY5" fmla="*/ 204781 h 228594"/>
                <a:gd name="connsiteX6" fmla="*/ 1551 w 306858"/>
                <a:gd name="connsiteY6" fmla="*/ 209544 h 228594"/>
                <a:gd name="connsiteX7" fmla="*/ 35682 w 306858"/>
                <a:gd name="connsiteY7" fmla="*/ 9519 h 228594"/>
                <a:gd name="connsiteX8" fmla="*/ 238089 w 306858"/>
                <a:gd name="connsiteY8" fmla="*/ 46825 h 228594"/>
                <a:gd name="connsiteX9" fmla="*/ 301589 w 306858"/>
                <a:gd name="connsiteY9" fmla="*/ 228594 h 228594"/>
                <a:gd name="connsiteX0" fmla="*/ 309678 w 314947"/>
                <a:gd name="connsiteY0" fmla="*/ 254831 h 254831"/>
                <a:gd name="connsiteX1" fmla="*/ 281103 w 314947"/>
                <a:gd name="connsiteY1" fmla="*/ 181012 h 254831"/>
                <a:gd name="connsiteX2" fmla="*/ 204903 w 314947"/>
                <a:gd name="connsiteY2" fmla="*/ 171487 h 254831"/>
                <a:gd name="connsiteX3" fmla="*/ 62028 w 314947"/>
                <a:gd name="connsiteY3" fmla="*/ 164343 h 254831"/>
                <a:gd name="connsiteX4" fmla="*/ 52502 w 314947"/>
                <a:gd name="connsiteY4" fmla="*/ 185774 h 254831"/>
                <a:gd name="connsiteX5" fmla="*/ 21547 w 314947"/>
                <a:gd name="connsiteY5" fmla="*/ 231018 h 254831"/>
                <a:gd name="connsiteX6" fmla="*/ 9640 w 314947"/>
                <a:gd name="connsiteY6" fmla="*/ 235781 h 254831"/>
                <a:gd name="connsiteX7" fmla="*/ 43771 w 314947"/>
                <a:gd name="connsiteY7" fmla="*/ 35756 h 254831"/>
                <a:gd name="connsiteX8" fmla="*/ 246178 w 314947"/>
                <a:gd name="connsiteY8" fmla="*/ 73062 h 254831"/>
                <a:gd name="connsiteX9" fmla="*/ 309678 w 314947"/>
                <a:gd name="connsiteY9" fmla="*/ 254831 h 254831"/>
                <a:gd name="connsiteX0" fmla="*/ 322378 w 324871"/>
                <a:gd name="connsiteY0" fmla="*/ 280231 h 280231"/>
                <a:gd name="connsiteX1" fmla="*/ 281103 w 324871"/>
                <a:gd name="connsiteY1" fmla="*/ 181012 h 280231"/>
                <a:gd name="connsiteX2" fmla="*/ 204903 w 324871"/>
                <a:gd name="connsiteY2" fmla="*/ 171487 h 280231"/>
                <a:gd name="connsiteX3" fmla="*/ 62028 w 324871"/>
                <a:gd name="connsiteY3" fmla="*/ 164343 h 280231"/>
                <a:gd name="connsiteX4" fmla="*/ 52502 w 324871"/>
                <a:gd name="connsiteY4" fmla="*/ 185774 h 280231"/>
                <a:gd name="connsiteX5" fmla="*/ 21547 w 324871"/>
                <a:gd name="connsiteY5" fmla="*/ 231018 h 280231"/>
                <a:gd name="connsiteX6" fmla="*/ 9640 w 324871"/>
                <a:gd name="connsiteY6" fmla="*/ 235781 h 280231"/>
                <a:gd name="connsiteX7" fmla="*/ 43771 w 324871"/>
                <a:gd name="connsiteY7" fmla="*/ 35756 h 280231"/>
                <a:gd name="connsiteX8" fmla="*/ 246178 w 324871"/>
                <a:gd name="connsiteY8" fmla="*/ 73062 h 280231"/>
                <a:gd name="connsiteX9" fmla="*/ 322378 w 324871"/>
                <a:gd name="connsiteY9" fmla="*/ 280231 h 280231"/>
                <a:gd name="connsiteX0" fmla="*/ 322378 w 335881"/>
                <a:gd name="connsiteY0" fmla="*/ 280231 h 280231"/>
                <a:gd name="connsiteX1" fmla="*/ 281103 w 335881"/>
                <a:gd name="connsiteY1" fmla="*/ 181012 h 280231"/>
                <a:gd name="connsiteX2" fmla="*/ 204903 w 335881"/>
                <a:gd name="connsiteY2" fmla="*/ 171487 h 280231"/>
                <a:gd name="connsiteX3" fmla="*/ 62028 w 335881"/>
                <a:gd name="connsiteY3" fmla="*/ 164343 h 280231"/>
                <a:gd name="connsiteX4" fmla="*/ 52502 w 335881"/>
                <a:gd name="connsiteY4" fmla="*/ 185774 h 280231"/>
                <a:gd name="connsiteX5" fmla="*/ 21547 w 335881"/>
                <a:gd name="connsiteY5" fmla="*/ 231018 h 280231"/>
                <a:gd name="connsiteX6" fmla="*/ 9640 w 335881"/>
                <a:gd name="connsiteY6" fmla="*/ 235781 h 280231"/>
                <a:gd name="connsiteX7" fmla="*/ 43771 w 335881"/>
                <a:gd name="connsiteY7" fmla="*/ 35756 h 280231"/>
                <a:gd name="connsiteX8" fmla="*/ 246178 w 335881"/>
                <a:gd name="connsiteY8" fmla="*/ 73062 h 280231"/>
                <a:gd name="connsiteX9" fmla="*/ 322378 w 335881"/>
                <a:gd name="connsiteY9" fmla="*/ 280231 h 280231"/>
                <a:gd name="connsiteX0" fmla="*/ 320006 w 333509"/>
                <a:gd name="connsiteY0" fmla="*/ 256912 h 256912"/>
                <a:gd name="connsiteX1" fmla="*/ 278731 w 333509"/>
                <a:gd name="connsiteY1" fmla="*/ 157693 h 256912"/>
                <a:gd name="connsiteX2" fmla="*/ 202531 w 333509"/>
                <a:gd name="connsiteY2" fmla="*/ 148168 h 256912"/>
                <a:gd name="connsiteX3" fmla="*/ 59656 w 333509"/>
                <a:gd name="connsiteY3" fmla="*/ 141024 h 256912"/>
                <a:gd name="connsiteX4" fmla="*/ 50130 w 333509"/>
                <a:gd name="connsiteY4" fmla="*/ 162455 h 256912"/>
                <a:gd name="connsiteX5" fmla="*/ 19175 w 333509"/>
                <a:gd name="connsiteY5" fmla="*/ 207699 h 256912"/>
                <a:gd name="connsiteX6" fmla="*/ 918 w 333509"/>
                <a:gd name="connsiteY6" fmla="*/ 253737 h 256912"/>
                <a:gd name="connsiteX7" fmla="*/ 41399 w 333509"/>
                <a:gd name="connsiteY7" fmla="*/ 12437 h 256912"/>
                <a:gd name="connsiteX8" fmla="*/ 243806 w 333509"/>
                <a:gd name="connsiteY8" fmla="*/ 49743 h 256912"/>
                <a:gd name="connsiteX9" fmla="*/ 320006 w 333509"/>
                <a:gd name="connsiteY9" fmla="*/ 256912 h 256912"/>
                <a:gd name="connsiteX0" fmla="*/ 340397 w 353900"/>
                <a:gd name="connsiteY0" fmla="*/ 256912 h 256912"/>
                <a:gd name="connsiteX1" fmla="*/ 299122 w 353900"/>
                <a:gd name="connsiteY1" fmla="*/ 157693 h 256912"/>
                <a:gd name="connsiteX2" fmla="*/ 222922 w 353900"/>
                <a:gd name="connsiteY2" fmla="*/ 148168 h 256912"/>
                <a:gd name="connsiteX3" fmla="*/ 80047 w 353900"/>
                <a:gd name="connsiteY3" fmla="*/ 141024 h 256912"/>
                <a:gd name="connsiteX4" fmla="*/ 70521 w 353900"/>
                <a:gd name="connsiteY4" fmla="*/ 162455 h 256912"/>
                <a:gd name="connsiteX5" fmla="*/ 39566 w 353900"/>
                <a:gd name="connsiteY5" fmla="*/ 207699 h 256912"/>
                <a:gd name="connsiteX6" fmla="*/ 21309 w 353900"/>
                <a:gd name="connsiteY6" fmla="*/ 253737 h 256912"/>
                <a:gd name="connsiteX7" fmla="*/ 61790 w 353900"/>
                <a:gd name="connsiteY7" fmla="*/ 12437 h 256912"/>
                <a:gd name="connsiteX8" fmla="*/ 264197 w 353900"/>
                <a:gd name="connsiteY8" fmla="*/ 49743 h 256912"/>
                <a:gd name="connsiteX9" fmla="*/ 340397 w 353900"/>
                <a:gd name="connsiteY9" fmla="*/ 256912 h 256912"/>
                <a:gd name="connsiteX0" fmla="*/ 351275 w 364778"/>
                <a:gd name="connsiteY0" fmla="*/ 283264 h 283264"/>
                <a:gd name="connsiteX1" fmla="*/ 310000 w 364778"/>
                <a:gd name="connsiteY1" fmla="*/ 184045 h 283264"/>
                <a:gd name="connsiteX2" fmla="*/ 233800 w 364778"/>
                <a:gd name="connsiteY2" fmla="*/ 174520 h 283264"/>
                <a:gd name="connsiteX3" fmla="*/ 90925 w 364778"/>
                <a:gd name="connsiteY3" fmla="*/ 167376 h 283264"/>
                <a:gd name="connsiteX4" fmla="*/ 81399 w 364778"/>
                <a:gd name="connsiteY4" fmla="*/ 188807 h 283264"/>
                <a:gd name="connsiteX5" fmla="*/ 50444 w 364778"/>
                <a:gd name="connsiteY5" fmla="*/ 234051 h 283264"/>
                <a:gd name="connsiteX6" fmla="*/ 32187 w 364778"/>
                <a:gd name="connsiteY6" fmla="*/ 280089 h 283264"/>
                <a:gd name="connsiteX7" fmla="*/ 72668 w 364778"/>
                <a:gd name="connsiteY7" fmla="*/ 38789 h 283264"/>
                <a:gd name="connsiteX8" fmla="*/ 275075 w 364778"/>
                <a:gd name="connsiteY8" fmla="*/ 76095 h 283264"/>
                <a:gd name="connsiteX9" fmla="*/ 351275 w 364778"/>
                <a:gd name="connsiteY9" fmla="*/ 283264 h 283264"/>
                <a:gd name="connsiteX0" fmla="*/ 351275 w 374648"/>
                <a:gd name="connsiteY0" fmla="*/ 286181 h 286181"/>
                <a:gd name="connsiteX1" fmla="*/ 310000 w 374648"/>
                <a:gd name="connsiteY1" fmla="*/ 186962 h 286181"/>
                <a:gd name="connsiteX2" fmla="*/ 233800 w 374648"/>
                <a:gd name="connsiteY2" fmla="*/ 177437 h 286181"/>
                <a:gd name="connsiteX3" fmla="*/ 90925 w 374648"/>
                <a:gd name="connsiteY3" fmla="*/ 170293 h 286181"/>
                <a:gd name="connsiteX4" fmla="*/ 81399 w 374648"/>
                <a:gd name="connsiteY4" fmla="*/ 191724 h 286181"/>
                <a:gd name="connsiteX5" fmla="*/ 50444 w 374648"/>
                <a:gd name="connsiteY5" fmla="*/ 236968 h 286181"/>
                <a:gd name="connsiteX6" fmla="*/ 32187 w 374648"/>
                <a:gd name="connsiteY6" fmla="*/ 283006 h 286181"/>
                <a:gd name="connsiteX7" fmla="*/ 72668 w 374648"/>
                <a:gd name="connsiteY7" fmla="*/ 41706 h 286181"/>
                <a:gd name="connsiteX8" fmla="*/ 307978 w 374648"/>
                <a:gd name="connsiteY8" fmla="*/ 66435 h 286181"/>
                <a:gd name="connsiteX9" fmla="*/ 351275 w 374648"/>
                <a:gd name="connsiteY9" fmla="*/ 286181 h 286181"/>
                <a:gd name="connsiteX0" fmla="*/ 351275 w 366478"/>
                <a:gd name="connsiteY0" fmla="*/ 289222 h 289222"/>
                <a:gd name="connsiteX1" fmla="*/ 310000 w 366478"/>
                <a:gd name="connsiteY1" fmla="*/ 190003 h 289222"/>
                <a:gd name="connsiteX2" fmla="*/ 233800 w 366478"/>
                <a:gd name="connsiteY2" fmla="*/ 180478 h 289222"/>
                <a:gd name="connsiteX3" fmla="*/ 90925 w 366478"/>
                <a:gd name="connsiteY3" fmla="*/ 173334 h 289222"/>
                <a:gd name="connsiteX4" fmla="*/ 81399 w 366478"/>
                <a:gd name="connsiteY4" fmla="*/ 194765 h 289222"/>
                <a:gd name="connsiteX5" fmla="*/ 50444 w 366478"/>
                <a:gd name="connsiteY5" fmla="*/ 240009 h 289222"/>
                <a:gd name="connsiteX6" fmla="*/ 32187 w 366478"/>
                <a:gd name="connsiteY6" fmla="*/ 286047 h 289222"/>
                <a:gd name="connsiteX7" fmla="*/ 72668 w 366478"/>
                <a:gd name="connsiteY7" fmla="*/ 44747 h 289222"/>
                <a:gd name="connsiteX8" fmla="*/ 282618 w 366478"/>
                <a:gd name="connsiteY8" fmla="*/ 57997 h 289222"/>
                <a:gd name="connsiteX9" fmla="*/ 351275 w 366478"/>
                <a:gd name="connsiteY9" fmla="*/ 289222 h 289222"/>
                <a:gd name="connsiteX0" fmla="*/ 351275 w 362099"/>
                <a:gd name="connsiteY0" fmla="*/ 289222 h 289222"/>
                <a:gd name="connsiteX1" fmla="*/ 310000 w 362099"/>
                <a:gd name="connsiteY1" fmla="*/ 190003 h 289222"/>
                <a:gd name="connsiteX2" fmla="*/ 233800 w 362099"/>
                <a:gd name="connsiteY2" fmla="*/ 180478 h 289222"/>
                <a:gd name="connsiteX3" fmla="*/ 90925 w 362099"/>
                <a:gd name="connsiteY3" fmla="*/ 173334 h 289222"/>
                <a:gd name="connsiteX4" fmla="*/ 81399 w 362099"/>
                <a:gd name="connsiteY4" fmla="*/ 194765 h 289222"/>
                <a:gd name="connsiteX5" fmla="*/ 50444 w 362099"/>
                <a:gd name="connsiteY5" fmla="*/ 240009 h 289222"/>
                <a:gd name="connsiteX6" fmla="*/ 32187 w 362099"/>
                <a:gd name="connsiteY6" fmla="*/ 286047 h 289222"/>
                <a:gd name="connsiteX7" fmla="*/ 72668 w 362099"/>
                <a:gd name="connsiteY7" fmla="*/ 44747 h 289222"/>
                <a:gd name="connsiteX8" fmla="*/ 282618 w 362099"/>
                <a:gd name="connsiteY8" fmla="*/ 57997 h 289222"/>
                <a:gd name="connsiteX9" fmla="*/ 351275 w 362099"/>
                <a:gd name="connsiteY9" fmla="*/ 289222 h 289222"/>
                <a:gd name="connsiteX0" fmla="*/ 351275 w 362099"/>
                <a:gd name="connsiteY0" fmla="*/ 293611 h 293611"/>
                <a:gd name="connsiteX1" fmla="*/ 310000 w 362099"/>
                <a:gd name="connsiteY1" fmla="*/ 194392 h 293611"/>
                <a:gd name="connsiteX2" fmla="*/ 233800 w 362099"/>
                <a:gd name="connsiteY2" fmla="*/ 184867 h 293611"/>
                <a:gd name="connsiteX3" fmla="*/ 90925 w 362099"/>
                <a:gd name="connsiteY3" fmla="*/ 177723 h 293611"/>
                <a:gd name="connsiteX4" fmla="*/ 81399 w 362099"/>
                <a:gd name="connsiteY4" fmla="*/ 199154 h 293611"/>
                <a:gd name="connsiteX5" fmla="*/ 50444 w 362099"/>
                <a:gd name="connsiteY5" fmla="*/ 244398 h 293611"/>
                <a:gd name="connsiteX6" fmla="*/ 32187 w 362099"/>
                <a:gd name="connsiteY6" fmla="*/ 290436 h 293611"/>
                <a:gd name="connsiteX7" fmla="*/ 72668 w 362099"/>
                <a:gd name="connsiteY7" fmla="*/ 49136 h 293611"/>
                <a:gd name="connsiteX8" fmla="*/ 282618 w 362099"/>
                <a:gd name="connsiteY8" fmla="*/ 62386 h 293611"/>
                <a:gd name="connsiteX9" fmla="*/ 351275 w 362099"/>
                <a:gd name="connsiteY9" fmla="*/ 293611 h 293611"/>
                <a:gd name="connsiteX0" fmla="*/ 351275 w 369395"/>
                <a:gd name="connsiteY0" fmla="*/ 299808 h 299808"/>
                <a:gd name="connsiteX1" fmla="*/ 310000 w 369395"/>
                <a:gd name="connsiteY1" fmla="*/ 200589 h 299808"/>
                <a:gd name="connsiteX2" fmla="*/ 233800 w 369395"/>
                <a:gd name="connsiteY2" fmla="*/ 191064 h 299808"/>
                <a:gd name="connsiteX3" fmla="*/ 90925 w 369395"/>
                <a:gd name="connsiteY3" fmla="*/ 183920 h 299808"/>
                <a:gd name="connsiteX4" fmla="*/ 81399 w 369395"/>
                <a:gd name="connsiteY4" fmla="*/ 205351 h 299808"/>
                <a:gd name="connsiteX5" fmla="*/ 50444 w 369395"/>
                <a:gd name="connsiteY5" fmla="*/ 250595 h 299808"/>
                <a:gd name="connsiteX6" fmla="*/ 32187 w 369395"/>
                <a:gd name="connsiteY6" fmla="*/ 296633 h 299808"/>
                <a:gd name="connsiteX7" fmla="*/ 72668 w 369395"/>
                <a:gd name="connsiteY7" fmla="*/ 55333 h 299808"/>
                <a:gd name="connsiteX8" fmla="*/ 314316 w 369395"/>
                <a:gd name="connsiteY8" fmla="*/ 51363 h 299808"/>
                <a:gd name="connsiteX9" fmla="*/ 351275 w 369395"/>
                <a:gd name="connsiteY9" fmla="*/ 299808 h 299808"/>
                <a:gd name="connsiteX0" fmla="*/ 351275 w 369395"/>
                <a:gd name="connsiteY0" fmla="*/ 296292 h 296292"/>
                <a:gd name="connsiteX1" fmla="*/ 310000 w 369395"/>
                <a:gd name="connsiteY1" fmla="*/ 197073 h 296292"/>
                <a:gd name="connsiteX2" fmla="*/ 233800 w 369395"/>
                <a:gd name="connsiteY2" fmla="*/ 187548 h 296292"/>
                <a:gd name="connsiteX3" fmla="*/ 90925 w 369395"/>
                <a:gd name="connsiteY3" fmla="*/ 180404 h 296292"/>
                <a:gd name="connsiteX4" fmla="*/ 81399 w 369395"/>
                <a:gd name="connsiteY4" fmla="*/ 201835 h 296292"/>
                <a:gd name="connsiteX5" fmla="*/ 50444 w 369395"/>
                <a:gd name="connsiteY5" fmla="*/ 247079 h 296292"/>
                <a:gd name="connsiteX6" fmla="*/ 32187 w 369395"/>
                <a:gd name="connsiteY6" fmla="*/ 293117 h 296292"/>
                <a:gd name="connsiteX7" fmla="*/ 72668 w 369395"/>
                <a:gd name="connsiteY7" fmla="*/ 51817 h 296292"/>
                <a:gd name="connsiteX8" fmla="*/ 314316 w 369395"/>
                <a:gd name="connsiteY8" fmla="*/ 47847 h 296292"/>
                <a:gd name="connsiteX9" fmla="*/ 351275 w 369395"/>
                <a:gd name="connsiteY9" fmla="*/ 296292 h 296292"/>
                <a:gd name="connsiteX0" fmla="*/ 351275 w 364876"/>
                <a:gd name="connsiteY0" fmla="*/ 296292 h 296292"/>
                <a:gd name="connsiteX1" fmla="*/ 310000 w 364876"/>
                <a:gd name="connsiteY1" fmla="*/ 197073 h 296292"/>
                <a:gd name="connsiteX2" fmla="*/ 233800 w 364876"/>
                <a:gd name="connsiteY2" fmla="*/ 187548 h 296292"/>
                <a:gd name="connsiteX3" fmla="*/ 90925 w 364876"/>
                <a:gd name="connsiteY3" fmla="*/ 180404 h 296292"/>
                <a:gd name="connsiteX4" fmla="*/ 81399 w 364876"/>
                <a:gd name="connsiteY4" fmla="*/ 201835 h 296292"/>
                <a:gd name="connsiteX5" fmla="*/ 50444 w 364876"/>
                <a:gd name="connsiteY5" fmla="*/ 247079 h 296292"/>
                <a:gd name="connsiteX6" fmla="*/ 32187 w 364876"/>
                <a:gd name="connsiteY6" fmla="*/ 293117 h 296292"/>
                <a:gd name="connsiteX7" fmla="*/ 72668 w 364876"/>
                <a:gd name="connsiteY7" fmla="*/ 51817 h 296292"/>
                <a:gd name="connsiteX8" fmla="*/ 314316 w 364876"/>
                <a:gd name="connsiteY8" fmla="*/ 47847 h 296292"/>
                <a:gd name="connsiteX9" fmla="*/ 351275 w 364876"/>
                <a:gd name="connsiteY9" fmla="*/ 296292 h 296292"/>
                <a:gd name="connsiteX0" fmla="*/ 351275 w 364876"/>
                <a:gd name="connsiteY0" fmla="*/ 296292 h 296292"/>
                <a:gd name="connsiteX1" fmla="*/ 310000 w 364876"/>
                <a:gd name="connsiteY1" fmla="*/ 197073 h 296292"/>
                <a:gd name="connsiteX2" fmla="*/ 233800 w 364876"/>
                <a:gd name="connsiteY2" fmla="*/ 187548 h 296292"/>
                <a:gd name="connsiteX3" fmla="*/ 90925 w 364876"/>
                <a:gd name="connsiteY3" fmla="*/ 180404 h 296292"/>
                <a:gd name="connsiteX4" fmla="*/ 81399 w 364876"/>
                <a:gd name="connsiteY4" fmla="*/ 201835 h 296292"/>
                <a:gd name="connsiteX5" fmla="*/ 50444 w 364876"/>
                <a:gd name="connsiteY5" fmla="*/ 247079 h 296292"/>
                <a:gd name="connsiteX6" fmla="*/ 32187 w 364876"/>
                <a:gd name="connsiteY6" fmla="*/ 293117 h 296292"/>
                <a:gd name="connsiteX7" fmla="*/ 72668 w 364876"/>
                <a:gd name="connsiteY7" fmla="*/ 51817 h 296292"/>
                <a:gd name="connsiteX8" fmla="*/ 314316 w 364876"/>
                <a:gd name="connsiteY8" fmla="*/ 47847 h 296292"/>
                <a:gd name="connsiteX9" fmla="*/ 351275 w 364876"/>
                <a:gd name="connsiteY9" fmla="*/ 296292 h 296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4876" h="296292">
                  <a:moveTo>
                    <a:pt x="351275" y="296292"/>
                  </a:moveTo>
                  <a:cubicBezTo>
                    <a:pt x="282218" y="259780"/>
                    <a:pt x="319525" y="221679"/>
                    <a:pt x="310000" y="197073"/>
                  </a:cubicBezTo>
                  <a:cubicBezTo>
                    <a:pt x="284600" y="205805"/>
                    <a:pt x="259200" y="190723"/>
                    <a:pt x="233800" y="187548"/>
                  </a:cubicBezTo>
                  <a:cubicBezTo>
                    <a:pt x="155219" y="213742"/>
                    <a:pt x="124262" y="199454"/>
                    <a:pt x="90925" y="180404"/>
                  </a:cubicBezTo>
                  <a:lnTo>
                    <a:pt x="81399" y="201835"/>
                  </a:lnTo>
                  <a:cubicBezTo>
                    <a:pt x="71081" y="216916"/>
                    <a:pt x="70287" y="253430"/>
                    <a:pt x="50444" y="247079"/>
                  </a:cubicBezTo>
                  <a:lnTo>
                    <a:pt x="32187" y="293117"/>
                  </a:lnTo>
                  <a:cubicBezTo>
                    <a:pt x="-18613" y="199454"/>
                    <a:pt x="-12263" y="146141"/>
                    <a:pt x="72668" y="51817"/>
                  </a:cubicBezTo>
                  <a:cubicBezTo>
                    <a:pt x="157599" y="-42507"/>
                    <a:pt x="265958" y="14324"/>
                    <a:pt x="314316" y="47847"/>
                  </a:cubicBezTo>
                  <a:cubicBezTo>
                    <a:pt x="358046" y="96698"/>
                    <a:pt x="381438" y="266130"/>
                    <a:pt x="351275" y="296292"/>
                  </a:cubicBezTo>
                  <a:close/>
                </a:path>
              </a:pathLst>
            </a:custGeom>
            <a:solidFill>
              <a:srgbClr val="3F3F3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1" name="Freeform 40"/>
            <p:cNvSpPr/>
            <p:nvPr/>
          </p:nvSpPr>
          <p:spPr bwMode="auto">
            <a:xfrm>
              <a:off x="12734172" y="4645720"/>
              <a:ext cx="621962" cy="657572"/>
            </a:xfrm>
            <a:custGeom>
              <a:avLst/>
              <a:gdLst>
                <a:gd name="connsiteX0" fmla="*/ 336550 w 825500"/>
                <a:gd name="connsiteY0" fmla="*/ 0 h 815975"/>
                <a:gd name="connsiteX1" fmla="*/ 415925 w 825500"/>
                <a:gd name="connsiteY1" fmla="*/ 574675 h 815975"/>
                <a:gd name="connsiteX2" fmla="*/ 492125 w 825500"/>
                <a:gd name="connsiteY2" fmla="*/ 3175 h 815975"/>
                <a:gd name="connsiteX3" fmla="*/ 676275 w 825500"/>
                <a:gd name="connsiteY3" fmla="*/ 19050 h 815975"/>
                <a:gd name="connsiteX4" fmla="*/ 825500 w 825500"/>
                <a:gd name="connsiteY4" fmla="*/ 654050 h 815975"/>
                <a:gd name="connsiteX5" fmla="*/ 717550 w 825500"/>
                <a:gd name="connsiteY5" fmla="*/ 657225 h 815975"/>
                <a:gd name="connsiteX6" fmla="*/ 676275 w 825500"/>
                <a:gd name="connsiteY6" fmla="*/ 285750 h 815975"/>
                <a:gd name="connsiteX7" fmla="*/ 638175 w 825500"/>
                <a:gd name="connsiteY7" fmla="*/ 815975 h 815975"/>
                <a:gd name="connsiteX8" fmla="*/ 187325 w 825500"/>
                <a:gd name="connsiteY8" fmla="*/ 815975 h 815975"/>
                <a:gd name="connsiteX9" fmla="*/ 171450 w 825500"/>
                <a:gd name="connsiteY9" fmla="*/ 285750 h 815975"/>
                <a:gd name="connsiteX10" fmla="*/ 98425 w 825500"/>
                <a:gd name="connsiteY10" fmla="*/ 657225 h 815975"/>
                <a:gd name="connsiteX11" fmla="*/ 0 w 825500"/>
                <a:gd name="connsiteY11" fmla="*/ 657225 h 815975"/>
                <a:gd name="connsiteX12" fmla="*/ 149225 w 825500"/>
                <a:gd name="connsiteY12" fmla="*/ 28575 h 815975"/>
                <a:gd name="connsiteX13" fmla="*/ 336550 w 825500"/>
                <a:gd name="connsiteY13" fmla="*/ 0 h 815975"/>
                <a:gd name="connsiteX0" fmla="*/ 336550 w 825500"/>
                <a:gd name="connsiteY0" fmla="*/ 0 h 815975"/>
                <a:gd name="connsiteX1" fmla="*/ 415925 w 825500"/>
                <a:gd name="connsiteY1" fmla="*/ 574675 h 815975"/>
                <a:gd name="connsiteX2" fmla="*/ 492125 w 825500"/>
                <a:gd name="connsiteY2" fmla="*/ 3175 h 815975"/>
                <a:gd name="connsiteX3" fmla="*/ 676275 w 825500"/>
                <a:gd name="connsiteY3" fmla="*/ 19050 h 815975"/>
                <a:gd name="connsiteX4" fmla="*/ 825500 w 825500"/>
                <a:gd name="connsiteY4" fmla="*/ 654050 h 815975"/>
                <a:gd name="connsiteX5" fmla="*/ 717550 w 825500"/>
                <a:gd name="connsiteY5" fmla="*/ 657225 h 815975"/>
                <a:gd name="connsiteX6" fmla="*/ 676275 w 825500"/>
                <a:gd name="connsiteY6" fmla="*/ 285750 h 815975"/>
                <a:gd name="connsiteX7" fmla="*/ 638175 w 825500"/>
                <a:gd name="connsiteY7" fmla="*/ 815975 h 815975"/>
                <a:gd name="connsiteX8" fmla="*/ 187325 w 825500"/>
                <a:gd name="connsiteY8" fmla="*/ 815975 h 815975"/>
                <a:gd name="connsiteX9" fmla="*/ 171450 w 825500"/>
                <a:gd name="connsiteY9" fmla="*/ 285750 h 815975"/>
                <a:gd name="connsiteX10" fmla="*/ 98425 w 825500"/>
                <a:gd name="connsiteY10" fmla="*/ 657225 h 815975"/>
                <a:gd name="connsiteX11" fmla="*/ 0 w 825500"/>
                <a:gd name="connsiteY11" fmla="*/ 657225 h 815975"/>
                <a:gd name="connsiteX12" fmla="*/ 149225 w 825500"/>
                <a:gd name="connsiteY12" fmla="*/ 28575 h 815975"/>
                <a:gd name="connsiteX13" fmla="*/ 336550 w 825500"/>
                <a:gd name="connsiteY13" fmla="*/ 0 h 815975"/>
                <a:gd name="connsiteX0" fmla="*/ 336550 w 825500"/>
                <a:gd name="connsiteY0" fmla="*/ 0 h 815975"/>
                <a:gd name="connsiteX1" fmla="*/ 415925 w 825500"/>
                <a:gd name="connsiteY1" fmla="*/ 574675 h 815975"/>
                <a:gd name="connsiteX2" fmla="*/ 492125 w 825500"/>
                <a:gd name="connsiteY2" fmla="*/ 3175 h 815975"/>
                <a:gd name="connsiteX3" fmla="*/ 676275 w 825500"/>
                <a:gd name="connsiteY3" fmla="*/ 19050 h 815975"/>
                <a:gd name="connsiteX4" fmla="*/ 825500 w 825500"/>
                <a:gd name="connsiteY4" fmla="*/ 654050 h 815975"/>
                <a:gd name="connsiteX5" fmla="*/ 717550 w 825500"/>
                <a:gd name="connsiteY5" fmla="*/ 657225 h 815975"/>
                <a:gd name="connsiteX6" fmla="*/ 676275 w 825500"/>
                <a:gd name="connsiteY6" fmla="*/ 285750 h 815975"/>
                <a:gd name="connsiteX7" fmla="*/ 638175 w 825500"/>
                <a:gd name="connsiteY7" fmla="*/ 815975 h 815975"/>
                <a:gd name="connsiteX8" fmla="*/ 187325 w 825500"/>
                <a:gd name="connsiteY8" fmla="*/ 815975 h 815975"/>
                <a:gd name="connsiteX9" fmla="*/ 171450 w 825500"/>
                <a:gd name="connsiteY9" fmla="*/ 285750 h 815975"/>
                <a:gd name="connsiteX10" fmla="*/ 98425 w 825500"/>
                <a:gd name="connsiteY10" fmla="*/ 657225 h 815975"/>
                <a:gd name="connsiteX11" fmla="*/ 0 w 825500"/>
                <a:gd name="connsiteY11" fmla="*/ 657225 h 815975"/>
                <a:gd name="connsiteX12" fmla="*/ 149225 w 825500"/>
                <a:gd name="connsiteY12" fmla="*/ 28575 h 815975"/>
                <a:gd name="connsiteX13" fmla="*/ 336550 w 825500"/>
                <a:gd name="connsiteY13" fmla="*/ 0 h 815975"/>
                <a:gd name="connsiteX0" fmla="*/ 336550 w 825500"/>
                <a:gd name="connsiteY0" fmla="*/ 0 h 815975"/>
                <a:gd name="connsiteX1" fmla="*/ 415925 w 825500"/>
                <a:gd name="connsiteY1" fmla="*/ 574675 h 815975"/>
                <a:gd name="connsiteX2" fmla="*/ 492125 w 825500"/>
                <a:gd name="connsiteY2" fmla="*/ 3175 h 815975"/>
                <a:gd name="connsiteX3" fmla="*/ 676275 w 825500"/>
                <a:gd name="connsiteY3" fmla="*/ 19050 h 815975"/>
                <a:gd name="connsiteX4" fmla="*/ 825500 w 825500"/>
                <a:gd name="connsiteY4" fmla="*/ 654050 h 815975"/>
                <a:gd name="connsiteX5" fmla="*/ 717550 w 825500"/>
                <a:gd name="connsiteY5" fmla="*/ 657225 h 815975"/>
                <a:gd name="connsiteX6" fmla="*/ 676275 w 825500"/>
                <a:gd name="connsiteY6" fmla="*/ 285750 h 815975"/>
                <a:gd name="connsiteX7" fmla="*/ 638175 w 825500"/>
                <a:gd name="connsiteY7" fmla="*/ 815975 h 815975"/>
                <a:gd name="connsiteX8" fmla="*/ 187325 w 825500"/>
                <a:gd name="connsiteY8" fmla="*/ 815975 h 815975"/>
                <a:gd name="connsiteX9" fmla="*/ 171450 w 825500"/>
                <a:gd name="connsiteY9" fmla="*/ 285750 h 815975"/>
                <a:gd name="connsiteX10" fmla="*/ 98425 w 825500"/>
                <a:gd name="connsiteY10" fmla="*/ 657225 h 815975"/>
                <a:gd name="connsiteX11" fmla="*/ 0 w 825500"/>
                <a:gd name="connsiteY11" fmla="*/ 657225 h 815975"/>
                <a:gd name="connsiteX12" fmla="*/ 149225 w 825500"/>
                <a:gd name="connsiteY12" fmla="*/ 28575 h 815975"/>
                <a:gd name="connsiteX13" fmla="*/ 336550 w 825500"/>
                <a:gd name="connsiteY13" fmla="*/ 0 h 815975"/>
                <a:gd name="connsiteX0" fmla="*/ 336550 w 825500"/>
                <a:gd name="connsiteY0" fmla="*/ 0 h 815975"/>
                <a:gd name="connsiteX1" fmla="*/ 415925 w 825500"/>
                <a:gd name="connsiteY1" fmla="*/ 574675 h 815975"/>
                <a:gd name="connsiteX2" fmla="*/ 492125 w 825500"/>
                <a:gd name="connsiteY2" fmla="*/ 3175 h 815975"/>
                <a:gd name="connsiteX3" fmla="*/ 676275 w 825500"/>
                <a:gd name="connsiteY3" fmla="*/ 19050 h 815975"/>
                <a:gd name="connsiteX4" fmla="*/ 825500 w 825500"/>
                <a:gd name="connsiteY4" fmla="*/ 654050 h 815975"/>
                <a:gd name="connsiteX5" fmla="*/ 717550 w 825500"/>
                <a:gd name="connsiteY5" fmla="*/ 657225 h 815975"/>
                <a:gd name="connsiteX6" fmla="*/ 676275 w 825500"/>
                <a:gd name="connsiteY6" fmla="*/ 285750 h 815975"/>
                <a:gd name="connsiteX7" fmla="*/ 638175 w 825500"/>
                <a:gd name="connsiteY7" fmla="*/ 815975 h 815975"/>
                <a:gd name="connsiteX8" fmla="*/ 187325 w 825500"/>
                <a:gd name="connsiteY8" fmla="*/ 815975 h 815975"/>
                <a:gd name="connsiteX9" fmla="*/ 171450 w 825500"/>
                <a:gd name="connsiteY9" fmla="*/ 285750 h 815975"/>
                <a:gd name="connsiteX10" fmla="*/ 98425 w 825500"/>
                <a:gd name="connsiteY10" fmla="*/ 657225 h 815975"/>
                <a:gd name="connsiteX11" fmla="*/ 0 w 825500"/>
                <a:gd name="connsiteY11" fmla="*/ 657225 h 815975"/>
                <a:gd name="connsiteX12" fmla="*/ 149225 w 825500"/>
                <a:gd name="connsiteY12" fmla="*/ 28575 h 815975"/>
                <a:gd name="connsiteX13" fmla="*/ 336550 w 825500"/>
                <a:gd name="connsiteY13" fmla="*/ 0 h 815975"/>
                <a:gd name="connsiteX0" fmla="*/ 336550 w 825500"/>
                <a:gd name="connsiteY0" fmla="*/ 0 h 815975"/>
                <a:gd name="connsiteX1" fmla="*/ 415925 w 825500"/>
                <a:gd name="connsiteY1" fmla="*/ 574675 h 815975"/>
                <a:gd name="connsiteX2" fmla="*/ 492125 w 825500"/>
                <a:gd name="connsiteY2" fmla="*/ 3175 h 815975"/>
                <a:gd name="connsiteX3" fmla="*/ 676275 w 825500"/>
                <a:gd name="connsiteY3" fmla="*/ 19050 h 815975"/>
                <a:gd name="connsiteX4" fmla="*/ 825500 w 825500"/>
                <a:gd name="connsiteY4" fmla="*/ 654050 h 815975"/>
                <a:gd name="connsiteX5" fmla="*/ 717550 w 825500"/>
                <a:gd name="connsiteY5" fmla="*/ 657225 h 815975"/>
                <a:gd name="connsiteX6" fmla="*/ 666750 w 825500"/>
                <a:gd name="connsiteY6" fmla="*/ 285750 h 815975"/>
                <a:gd name="connsiteX7" fmla="*/ 638175 w 825500"/>
                <a:gd name="connsiteY7" fmla="*/ 815975 h 815975"/>
                <a:gd name="connsiteX8" fmla="*/ 187325 w 825500"/>
                <a:gd name="connsiteY8" fmla="*/ 815975 h 815975"/>
                <a:gd name="connsiteX9" fmla="*/ 171450 w 825500"/>
                <a:gd name="connsiteY9" fmla="*/ 285750 h 815975"/>
                <a:gd name="connsiteX10" fmla="*/ 98425 w 825500"/>
                <a:gd name="connsiteY10" fmla="*/ 657225 h 815975"/>
                <a:gd name="connsiteX11" fmla="*/ 0 w 825500"/>
                <a:gd name="connsiteY11" fmla="*/ 657225 h 815975"/>
                <a:gd name="connsiteX12" fmla="*/ 149225 w 825500"/>
                <a:gd name="connsiteY12" fmla="*/ 28575 h 815975"/>
                <a:gd name="connsiteX13" fmla="*/ 336550 w 825500"/>
                <a:gd name="connsiteY13" fmla="*/ 0 h 815975"/>
                <a:gd name="connsiteX0" fmla="*/ 336550 w 825500"/>
                <a:gd name="connsiteY0" fmla="*/ 0 h 815975"/>
                <a:gd name="connsiteX1" fmla="*/ 415925 w 825500"/>
                <a:gd name="connsiteY1" fmla="*/ 574675 h 815975"/>
                <a:gd name="connsiteX2" fmla="*/ 492125 w 825500"/>
                <a:gd name="connsiteY2" fmla="*/ 3175 h 815975"/>
                <a:gd name="connsiteX3" fmla="*/ 676275 w 825500"/>
                <a:gd name="connsiteY3" fmla="*/ 19050 h 815975"/>
                <a:gd name="connsiteX4" fmla="*/ 825500 w 825500"/>
                <a:gd name="connsiteY4" fmla="*/ 654050 h 815975"/>
                <a:gd name="connsiteX5" fmla="*/ 717550 w 825500"/>
                <a:gd name="connsiteY5" fmla="*/ 657225 h 815975"/>
                <a:gd name="connsiteX6" fmla="*/ 666750 w 825500"/>
                <a:gd name="connsiteY6" fmla="*/ 285750 h 815975"/>
                <a:gd name="connsiteX7" fmla="*/ 638175 w 825500"/>
                <a:gd name="connsiteY7" fmla="*/ 815975 h 815975"/>
                <a:gd name="connsiteX8" fmla="*/ 187325 w 825500"/>
                <a:gd name="connsiteY8" fmla="*/ 815975 h 815975"/>
                <a:gd name="connsiteX9" fmla="*/ 171450 w 825500"/>
                <a:gd name="connsiteY9" fmla="*/ 285750 h 815975"/>
                <a:gd name="connsiteX10" fmla="*/ 98425 w 825500"/>
                <a:gd name="connsiteY10" fmla="*/ 657225 h 815975"/>
                <a:gd name="connsiteX11" fmla="*/ 0 w 825500"/>
                <a:gd name="connsiteY11" fmla="*/ 657225 h 815975"/>
                <a:gd name="connsiteX12" fmla="*/ 149225 w 825500"/>
                <a:gd name="connsiteY12" fmla="*/ 28575 h 815975"/>
                <a:gd name="connsiteX13" fmla="*/ 336550 w 825500"/>
                <a:gd name="connsiteY13" fmla="*/ 0 h 815975"/>
                <a:gd name="connsiteX0" fmla="*/ 336550 w 825500"/>
                <a:gd name="connsiteY0" fmla="*/ 0 h 815975"/>
                <a:gd name="connsiteX1" fmla="*/ 415925 w 825500"/>
                <a:gd name="connsiteY1" fmla="*/ 574675 h 815975"/>
                <a:gd name="connsiteX2" fmla="*/ 492125 w 825500"/>
                <a:gd name="connsiteY2" fmla="*/ 3175 h 815975"/>
                <a:gd name="connsiteX3" fmla="*/ 676275 w 825500"/>
                <a:gd name="connsiteY3" fmla="*/ 19050 h 815975"/>
                <a:gd name="connsiteX4" fmla="*/ 825500 w 825500"/>
                <a:gd name="connsiteY4" fmla="*/ 654050 h 815975"/>
                <a:gd name="connsiteX5" fmla="*/ 717550 w 825500"/>
                <a:gd name="connsiteY5" fmla="*/ 657225 h 815975"/>
                <a:gd name="connsiteX6" fmla="*/ 666750 w 825500"/>
                <a:gd name="connsiteY6" fmla="*/ 285750 h 815975"/>
                <a:gd name="connsiteX7" fmla="*/ 638175 w 825500"/>
                <a:gd name="connsiteY7" fmla="*/ 815975 h 815975"/>
                <a:gd name="connsiteX8" fmla="*/ 187325 w 825500"/>
                <a:gd name="connsiteY8" fmla="*/ 815975 h 815975"/>
                <a:gd name="connsiteX9" fmla="*/ 171450 w 825500"/>
                <a:gd name="connsiteY9" fmla="*/ 285750 h 815975"/>
                <a:gd name="connsiteX10" fmla="*/ 98425 w 825500"/>
                <a:gd name="connsiteY10" fmla="*/ 657225 h 815975"/>
                <a:gd name="connsiteX11" fmla="*/ 0 w 825500"/>
                <a:gd name="connsiteY11" fmla="*/ 657225 h 815975"/>
                <a:gd name="connsiteX12" fmla="*/ 149225 w 825500"/>
                <a:gd name="connsiteY12" fmla="*/ 28575 h 815975"/>
                <a:gd name="connsiteX13" fmla="*/ 336550 w 825500"/>
                <a:gd name="connsiteY13" fmla="*/ 0 h 815975"/>
                <a:gd name="connsiteX0" fmla="*/ 336550 w 825500"/>
                <a:gd name="connsiteY0" fmla="*/ 0 h 815975"/>
                <a:gd name="connsiteX1" fmla="*/ 415925 w 825500"/>
                <a:gd name="connsiteY1" fmla="*/ 574675 h 815975"/>
                <a:gd name="connsiteX2" fmla="*/ 492125 w 825500"/>
                <a:gd name="connsiteY2" fmla="*/ 3175 h 815975"/>
                <a:gd name="connsiteX3" fmla="*/ 676275 w 825500"/>
                <a:gd name="connsiteY3" fmla="*/ 19050 h 815975"/>
                <a:gd name="connsiteX4" fmla="*/ 825500 w 825500"/>
                <a:gd name="connsiteY4" fmla="*/ 654050 h 815975"/>
                <a:gd name="connsiteX5" fmla="*/ 717550 w 825500"/>
                <a:gd name="connsiteY5" fmla="*/ 657225 h 815975"/>
                <a:gd name="connsiteX6" fmla="*/ 666750 w 825500"/>
                <a:gd name="connsiteY6" fmla="*/ 285750 h 815975"/>
                <a:gd name="connsiteX7" fmla="*/ 638175 w 825500"/>
                <a:gd name="connsiteY7" fmla="*/ 815975 h 815975"/>
                <a:gd name="connsiteX8" fmla="*/ 187325 w 825500"/>
                <a:gd name="connsiteY8" fmla="*/ 815975 h 815975"/>
                <a:gd name="connsiteX9" fmla="*/ 171450 w 825500"/>
                <a:gd name="connsiteY9" fmla="*/ 285750 h 815975"/>
                <a:gd name="connsiteX10" fmla="*/ 98425 w 825500"/>
                <a:gd name="connsiteY10" fmla="*/ 657225 h 815975"/>
                <a:gd name="connsiteX11" fmla="*/ 0 w 825500"/>
                <a:gd name="connsiteY11" fmla="*/ 657225 h 815975"/>
                <a:gd name="connsiteX12" fmla="*/ 149225 w 825500"/>
                <a:gd name="connsiteY12" fmla="*/ 28575 h 815975"/>
                <a:gd name="connsiteX13" fmla="*/ 336550 w 825500"/>
                <a:gd name="connsiteY13" fmla="*/ 0 h 815975"/>
                <a:gd name="connsiteX0" fmla="*/ 336550 w 825500"/>
                <a:gd name="connsiteY0" fmla="*/ 0 h 815975"/>
                <a:gd name="connsiteX1" fmla="*/ 415925 w 825500"/>
                <a:gd name="connsiteY1" fmla="*/ 574675 h 815975"/>
                <a:gd name="connsiteX2" fmla="*/ 492125 w 825500"/>
                <a:gd name="connsiteY2" fmla="*/ 3175 h 815975"/>
                <a:gd name="connsiteX3" fmla="*/ 676275 w 825500"/>
                <a:gd name="connsiteY3" fmla="*/ 19050 h 815975"/>
                <a:gd name="connsiteX4" fmla="*/ 825500 w 825500"/>
                <a:gd name="connsiteY4" fmla="*/ 654050 h 815975"/>
                <a:gd name="connsiteX5" fmla="*/ 717550 w 825500"/>
                <a:gd name="connsiteY5" fmla="*/ 657225 h 815975"/>
                <a:gd name="connsiteX6" fmla="*/ 666750 w 825500"/>
                <a:gd name="connsiteY6" fmla="*/ 285750 h 815975"/>
                <a:gd name="connsiteX7" fmla="*/ 638175 w 825500"/>
                <a:gd name="connsiteY7" fmla="*/ 815975 h 815975"/>
                <a:gd name="connsiteX8" fmla="*/ 187325 w 825500"/>
                <a:gd name="connsiteY8" fmla="*/ 815975 h 815975"/>
                <a:gd name="connsiteX9" fmla="*/ 171450 w 825500"/>
                <a:gd name="connsiteY9" fmla="*/ 285750 h 815975"/>
                <a:gd name="connsiteX10" fmla="*/ 98425 w 825500"/>
                <a:gd name="connsiteY10" fmla="*/ 657225 h 815975"/>
                <a:gd name="connsiteX11" fmla="*/ 0 w 825500"/>
                <a:gd name="connsiteY11" fmla="*/ 657225 h 815975"/>
                <a:gd name="connsiteX12" fmla="*/ 149225 w 825500"/>
                <a:gd name="connsiteY12" fmla="*/ 28575 h 815975"/>
                <a:gd name="connsiteX13" fmla="*/ 336550 w 825500"/>
                <a:gd name="connsiteY13" fmla="*/ 0 h 815975"/>
                <a:gd name="connsiteX0" fmla="*/ 336550 w 825500"/>
                <a:gd name="connsiteY0" fmla="*/ 0 h 815975"/>
                <a:gd name="connsiteX1" fmla="*/ 415925 w 825500"/>
                <a:gd name="connsiteY1" fmla="*/ 574675 h 815975"/>
                <a:gd name="connsiteX2" fmla="*/ 492125 w 825500"/>
                <a:gd name="connsiteY2" fmla="*/ 3175 h 815975"/>
                <a:gd name="connsiteX3" fmla="*/ 676275 w 825500"/>
                <a:gd name="connsiteY3" fmla="*/ 19050 h 815975"/>
                <a:gd name="connsiteX4" fmla="*/ 825500 w 825500"/>
                <a:gd name="connsiteY4" fmla="*/ 654050 h 815975"/>
                <a:gd name="connsiteX5" fmla="*/ 717550 w 825500"/>
                <a:gd name="connsiteY5" fmla="*/ 657225 h 815975"/>
                <a:gd name="connsiteX6" fmla="*/ 666750 w 825500"/>
                <a:gd name="connsiteY6" fmla="*/ 285750 h 815975"/>
                <a:gd name="connsiteX7" fmla="*/ 638175 w 825500"/>
                <a:gd name="connsiteY7" fmla="*/ 815975 h 815975"/>
                <a:gd name="connsiteX8" fmla="*/ 187325 w 825500"/>
                <a:gd name="connsiteY8" fmla="*/ 815975 h 815975"/>
                <a:gd name="connsiteX9" fmla="*/ 171450 w 825500"/>
                <a:gd name="connsiteY9" fmla="*/ 285750 h 815975"/>
                <a:gd name="connsiteX10" fmla="*/ 98425 w 825500"/>
                <a:gd name="connsiteY10" fmla="*/ 657225 h 815975"/>
                <a:gd name="connsiteX11" fmla="*/ 0 w 825500"/>
                <a:gd name="connsiteY11" fmla="*/ 657225 h 815975"/>
                <a:gd name="connsiteX12" fmla="*/ 149225 w 825500"/>
                <a:gd name="connsiteY12" fmla="*/ 28575 h 815975"/>
                <a:gd name="connsiteX13" fmla="*/ 336550 w 825500"/>
                <a:gd name="connsiteY13" fmla="*/ 0 h 815975"/>
                <a:gd name="connsiteX0" fmla="*/ 336550 w 825500"/>
                <a:gd name="connsiteY0" fmla="*/ 0 h 815975"/>
                <a:gd name="connsiteX1" fmla="*/ 415925 w 825500"/>
                <a:gd name="connsiteY1" fmla="*/ 574675 h 815975"/>
                <a:gd name="connsiteX2" fmla="*/ 492125 w 825500"/>
                <a:gd name="connsiteY2" fmla="*/ 3175 h 815975"/>
                <a:gd name="connsiteX3" fmla="*/ 676275 w 825500"/>
                <a:gd name="connsiteY3" fmla="*/ 19050 h 815975"/>
                <a:gd name="connsiteX4" fmla="*/ 825500 w 825500"/>
                <a:gd name="connsiteY4" fmla="*/ 654050 h 815975"/>
                <a:gd name="connsiteX5" fmla="*/ 717550 w 825500"/>
                <a:gd name="connsiteY5" fmla="*/ 657225 h 815975"/>
                <a:gd name="connsiteX6" fmla="*/ 666750 w 825500"/>
                <a:gd name="connsiteY6" fmla="*/ 285750 h 815975"/>
                <a:gd name="connsiteX7" fmla="*/ 638175 w 825500"/>
                <a:gd name="connsiteY7" fmla="*/ 815975 h 815975"/>
                <a:gd name="connsiteX8" fmla="*/ 187325 w 825500"/>
                <a:gd name="connsiteY8" fmla="*/ 815975 h 815975"/>
                <a:gd name="connsiteX9" fmla="*/ 171450 w 825500"/>
                <a:gd name="connsiteY9" fmla="*/ 285750 h 815975"/>
                <a:gd name="connsiteX10" fmla="*/ 104775 w 825500"/>
                <a:gd name="connsiteY10" fmla="*/ 660400 h 815975"/>
                <a:gd name="connsiteX11" fmla="*/ 0 w 825500"/>
                <a:gd name="connsiteY11" fmla="*/ 657225 h 815975"/>
                <a:gd name="connsiteX12" fmla="*/ 149225 w 825500"/>
                <a:gd name="connsiteY12" fmla="*/ 28575 h 815975"/>
                <a:gd name="connsiteX13" fmla="*/ 336550 w 825500"/>
                <a:gd name="connsiteY13" fmla="*/ 0 h 815975"/>
                <a:gd name="connsiteX0" fmla="*/ 336550 w 825500"/>
                <a:gd name="connsiteY0" fmla="*/ 0 h 815975"/>
                <a:gd name="connsiteX1" fmla="*/ 415925 w 825500"/>
                <a:gd name="connsiteY1" fmla="*/ 574675 h 815975"/>
                <a:gd name="connsiteX2" fmla="*/ 492125 w 825500"/>
                <a:gd name="connsiteY2" fmla="*/ 3175 h 815975"/>
                <a:gd name="connsiteX3" fmla="*/ 676275 w 825500"/>
                <a:gd name="connsiteY3" fmla="*/ 19050 h 815975"/>
                <a:gd name="connsiteX4" fmla="*/ 825500 w 825500"/>
                <a:gd name="connsiteY4" fmla="*/ 654050 h 815975"/>
                <a:gd name="connsiteX5" fmla="*/ 717550 w 825500"/>
                <a:gd name="connsiteY5" fmla="*/ 657225 h 815975"/>
                <a:gd name="connsiteX6" fmla="*/ 666750 w 825500"/>
                <a:gd name="connsiteY6" fmla="*/ 285750 h 815975"/>
                <a:gd name="connsiteX7" fmla="*/ 638175 w 825500"/>
                <a:gd name="connsiteY7" fmla="*/ 815975 h 815975"/>
                <a:gd name="connsiteX8" fmla="*/ 187325 w 825500"/>
                <a:gd name="connsiteY8" fmla="*/ 815975 h 815975"/>
                <a:gd name="connsiteX9" fmla="*/ 171450 w 825500"/>
                <a:gd name="connsiteY9" fmla="*/ 285750 h 815975"/>
                <a:gd name="connsiteX10" fmla="*/ 104775 w 825500"/>
                <a:gd name="connsiteY10" fmla="*/ 660400 h 815975"/>
                <a:gd name="connsiteX11" fmla="*/ 0 w 825500"/>
                <a:gd name="connsiteY11" fmla="*/ 657225 h 815975"/>
                <a:gd name="connsiteX12" fmla="*/ 149225 w 825500"/>
                <a:gd name="connsiteY12" fmla="*/ 28575 h 815975"/>
                <a:gd name="connsiteX13" fmla="*/ 336550 w 825500"/>
                <a:gd name="connsiteY13" fmla="*/ 0 h 815975"/>
                <a:gd name="connsiteX0" fmla="*/ 336550 w 825500"/>
                <a:gd name="connsiteY0" fmla="*/ 0 h 815975"/>
                <a:gd name="connsiteX1" fmla="*/ 415925 w 825500"/>
                <a:gd name="connsiteY1" fmla="*/ 574675 h 815975"/>
                <a:gd name="connsiteX2" fmla="*/ 492125 w 825500"/>
                <a:gd name="connsiteY2" fmla="*/ 3175 h 815975"/>
                <a:gd name="connsiteX3" fmla="*/ 676275 w 825500"/>
                <a:gd name="connsiteY3" fmla="*/ 19050 h 815975"/>
                <a:gd name="connsiteX4" fmla="*/ 825500 w 825500"/>
                <a:gd name="connsiteY4" fmla="*/ 654050 h 815975"/>
                <a:gd name="connsiteX5" fmla="*/ 717550 w 825500"/>
                <a:gd name="connsiteY5" fmla="*/ 657225 h 815975"/>
                <a:gd name="connsiteX6" fmla="*/ 666750 w 825500"/>
                <a:gd name="connsiteY6" fmla="*/ 285750 h 815975"/>
                <a:gd name="connsiteX7" fmla="*/ 641735 w 825500"/>
                <a:gd name="connsiteY7" fmla="*/ 628653 h 815975"/>
                <a:gd name="connsiteX8" fmla="*/ 638175 w 825500"/>
                <a:gd name="connsiteY8" fmla="*/ 815975 h 815975"/>
                <a:gd name="connsiteX9" fmla="*/ 187325 w 825500"/>
                <a:gd name="connsiteY9" fmla="*/ 815975 h 815975"/>
                <a:gd name="connsiteX10" fmla="*/ 171450 w 825500"/>
                <a:gd name="connsiteY10" fmla="*/ 285750 h 815975"/>
                <a:gd name="connsiteX11" fmla="*/ 104775 w 825500"/>
                <a:gd name="connsiteY11" fmla="*/ 660400 h 815975"/>
                <a:gd name="connsiteX12" fmla="*/ 0 w 825500"/>
                <a:gd name="connsiteY12" fmla="*/ 657225 h 815975"/>
                <a:gd name="connsiteX13" fmla="*/ 149225 w 825500"/>
                <a:gd name="connsiteY13" fmla="*/ 28575 h 815975"/>
                <a:gd name="connsiteX14" fmla="*/ 336550 w 825500"/>
                <a:gd name="connsiteY14" fmla="*/ 0 h 815975"/>
                <a:gd name="connsiteX0" fmla="*/ 336550 w 825500"/>
                <a:gd name="connsiteY0" fmla="*/ 0 h 815975"/>
                <a:gd name="connsiteX1" fmla="*/ 415925 w 825500"/>
                <a:gd name="connsiteY1" fmla="*/ 574675 h 815975"/>
                <a:gd name="connsiteX2" fmla="*/ 492125 w 825500"/>
                <a:gd name="connsiteY2" fmla="*/ 3175 h 815975"/>
                <a:gd name="connsiteX3" fmla="*/ 676275 w 825500"/>
                <a:gd name="connsiteY3" fmla="*/ 19050 h 815975"/>
                <a:gd name="connsiteX4" fmla="*/ 825500 w 825500"/>
                <a:gd name="connsiteY4" fmla="*/ 654050 h 815975"/>
                <a:gd name="connsiteX5" fmla="*/ 717550 w 825500"/>
                <a:gd name="connsiteY5" fmla="*/ 657225 h 815975"/>
                <a:gd name="connsiteX6" fmla="*/ 666750 w 825500"/>
                <a:gd name="connsiteY6" fmla="*/ 285750 h 815975"/>
                <a:gd name="connsiteX7" fmla="*/ 641735 w 825500"/>
                <a:gd name="connsiteY7" fmla="*/ 628653 h 815975"/>
                <a:gd name="connsiteX8" fmla="*/ 638175 w 825500"/>
                <a:gd name="connsiteY8" fmla="*/ 815975 h 815975"/>
                <a:gd name="connsiteX9" fmla="*/ 187325 w 825500"/>
                <a:gd name="connsiteY9" fmla="*/ 815975 h 815975"/>
                <a:gd name="connsiteX10" fmla="*/ 181945 w 825500"/>
                <a:gd name="connsiteY10" fmla="*/ 603541 h 815975"/>
                <a:gd name="connsiteX11" fmla="*/ 171450 w 825500"/>
                <a:gd name="connsiteY11" fmla="*/ 285750 h 815975"/>
                <a:gd name="connsiteX12" fmla="*/ 104775 w 825500"/>
                <a:gd name="connsiteY12" fmla="*/ 660400 h 815975"/>
                <a:gd name="connsiteX13" fmla="*/ 0 w 825500"/>
                <a:gd name="connsiteY13" fmla="*/ 657225 h 815975"/>
                <a:gd name="connsiteX14" fmla="*/ 149225 w 825500"/>
                <a:gd name="connsiteY14" fmla="*/ 28575 h 815975"/>
                <a:gd name="connsiteX15" fmla="*/ 336550 w 825500"/>
                <a:gd name="connsiteY15" fmla="*/ 0 h 815975"/>
                <a:gd name="connsiteX0" fmla="*/ 336550 w 825500"/>
                <a:gd name="connsiteY0" fmla="*/ 0 h 815975"/>
                <a:gd name="connsiteX1" fmla="*/ 415925 w 825500"/>
                <a:gd name="connsiteY1" fmla="*/ 574675 h 815975"/>
                <a:gd name="connsiteX2" fmla="*/ 492125 w 825500"/>
                <a:gd name="connsiteY2" fmla="*/ 3175 h 815975"/>
                <a:gd name="connsiteX3" fmla="*/ 676275 w 825500"/>
                <a:gd name="connsiteY3" fmla="*/ 19050 h 815975"/>
                <a:gd name="connsiteX4" fmla="*/ 825500 w 825500"/>
                <a:gd name="connsiteY4" fmla="*/ 654050 h 815975"/>
                <a:gd name="connsiteX5" fmla="*/ 717550 w 825500"/>
                <a:gd name="connsiteY5" fmla="*/ 657225 h 815975"/>
                <a:gd name="connsiteX6" fmla="*/ 666750 w 825500"/>
                <a:gd name="connsiteY6" fmla="*/ 285750 h 815975"/>
                <a:gd name="connsiteX7" fmla="*/ 621744 w 825500"/>
                <a:gd name="connsiteY7" fmla="*/ 547039 h 815975"/>
                <a:gd name="connsiteX8" fmla="*/ 638175 w 825500"/>
                <a:gd name="connsiteY8" fmla="*/ 815975 h 815975"/>
                <a:gd name="connsiteX9" fmla="*/ 187325 w 825500"/>
                <a:gd name="connsiteY9" fmla="*/ 815975 h 815975"/>
                <a:gd name="connsiteX10" fmla="*/ 181945 w 825500"/>
                <a:gd name="connsiteY10" fmla="*/ 603541 h 815975"/>
                <a:gd name="connsiteX11" fmla="*/ 171450 w 825500"/>
                <a:gd name="connsiteY11" fmla="*/ 285750 h 815975"/>
                <a:gd name="connsiteX12" fmla="*/ 104775 w 825500"/>
                <a:gd name="connsiteY12" fmla="*/ 660400 h 815975"/>
                <a:gd name="connsiteX13" fmla="*/ 0 w 825500"/>
                <a:gd name="connsiteY13" fmla="*/ 657225 h 815975"/>
                <a:gd name="connsiteX14" fmla="*/ 149225 w 825500"/>
                <a:gd name="connsiteY14" fmla="*/ 28575 h 815975"/>
                <a:gd name="connsiteX15" fmla="*/ 336550 w 825500"/>
                <a:gd name="connsiteY15" fmla="*/ 0 h 815975"/>
                <a:gd name="connsiteX0" fmla="*/ 336550 w 825500"/>
                <a:gd name="connsiteY0" fmla="*/ 0 h 815975"/>
                <a:gd name="connsiteX1" fmla="*/ 415925 w 825500"/>
                <a:gd name="connsiteY1" fmla="*/ 574675 h 815975"/>
                <a:gd name="connsiteX2" fmla="*/ 492125 w 825500"/>
                <a:gd name="connsiteY2" fmla="*/ 3175 h 815975"/>
                <a:gd name="connsiteX3" fmla="*/ 676275 w 825500"/>
                <a:gd name="connsiteY3" fmla="*/ 19050 h 815975"/>
                <a:gd name="connsiteX4" fmla="*/ 825500 w 825500"/>
                <a:gd name="connsiteY4" fmla="*/ 654050 h 815975"/>
                <a:gd name="connsiteX5" fmla="*/ 717550 w 825500"/>
                <a:gd name="connsiteY5" fmla="*/ 657225 h 815975"/>
                <a:gd name="connsiteX6" fmla="*/ 666750 w 825500"/>
                <a:gd name="connsiteY6" fmla="*/ 285750 h 815975"/>
                <a:gd name="connsiteX7" fmla="*/ 621744 w 825500"/>
                <a:gd name="connsiteY7" fmla="*/ 547039 h 815975"/>
                <a:gd name="connsiteX8" fmla="*/ 638175 w 825500"/>
                <a:gd name="connsiteY8" fmla="*/ 815975 h 815975"/>
                <a:gd name="connsiteX9" fmla="*/ 187325 w 825500"/>
                <a:gd name="connsiteY9" fmla="*/ 815975 h 815975"/>
                <a:gd name="connsiteX10" fmla="*/ 208599 w 825500"/>
                <a:gd name="connsiteY10" fmla="*/ 559596 h 815975"/>
                <a:gd name="connsiteX11" fmla="*/ 171450 w 825500"/>
                <a:gd name="connsiteY11" fmla="*/ 285750 h 815975"/>
                <a:gd name="connsiteX12" fmla="*/ 104775 w 825500"/>
                <a:gd name="connsiteY12" fmla="*/ 660400 h 815975"/>
                <a:gd name="connsiteX13" fmla="*/ 0 w 825500"/>
                <a:gd name="connsiteY13" fmla="*/ 657225 h 815975"/>
                <a:gd name="connsiteX14" fmla="*/ 149225 w 825500"/>
                <a:gd name="connsiteY14" fmla="*/ 28575 h 815975"/>
                <a:gd name="connsiteX15" fmla="*/ 336550 w 825500"/>
                <a:gd name="connsiteY15" fmla="*/ 0 h 815975"/>
                <a:gd name="connsiteX0" fmla="*/ 336550 w 825500"/>
                <a:gd name="connsiteY0" fmla="*/ 0 h 815975"/>
                <a:gd name="connsiteX1" fmla="*/ 415925 w 825500"/>
                <a:gd name="connsiteY1" fmla="*/ 574675 h 815975"/>
                <a:gd name="connsiteX2" fmla="*/ 492125 w 825500"/>
                <a:gd name="connsiteY2" fmla="*/ 3175 h 815975"/>
                <a:gd name="connsiteX3" fmla="*/ 676275 w 825500"/>
                <a:gd name="connsiteY3" fmla="*/ 19050 h 815975"/>
                <a:gd name="connsiteX4" fmla="*/ 825500 w 825500"/>
                <a:gd name="connsiteY4" fmla="*/ 654050 h 815975"/>
                <a:gd name="connsiteX5" fmla="*/ 717550 w 825500"/>
                <a:gd name="connsiteY5" fmla="*/ 657225 h 815975"/>
                <a:gd name="connsiteX6" fmla="*/ 646759 w 825500"/>
                <a:gd name="connsiteY6" fmla="*/ 285750 h 815975"/>
                <a:gd name="connsiteX7" fmla="*/ 621744 w 825500"/>
                <a:gd name="connsiteY7" fmla="*/ 547039 h 815975"/>
                <a:gd name="connsiteX8" fmla="*/ 638175 w 825500"/>
                <a:gd name="connsiteY8" fmla="*/ 815975 h 815975"/>
                <a:gd name="connsiteX9" fmla="*/ 187325 w 825500"/>
                <a:gd name="connsiteY9" fmla="*/ 815975 h 815975"/>
                <a:gd name="connsiteX10" fmla="*/ 208599 w 825500"/>
                <a:gd name="connsiteY10" fmla="*/ 559596 h 815975"/>
                <a:gd name="connsiteX11" fmla="*/ 171450 w 825500"/>
                <a:gd name="connsiteY11" fmla="*/ 285750 h 815975"/>
                <a:gd name="connsiteX12" fmla="*/ 104775 w 825500"/>
                <a:gd name="connsiteY12" fmla="*/ 660400 h 815975"/>
                <a:gd name="connsiteX13" fmla="*/ 0 w 825500"/>
                <a:gd name="connsiteY13" fmla="*/ 657225 h 815975"/>
                <a:gd name="connsiteX14" fmla="*/ 149225 w 825500"/>
                <a:gd name="connsiteY14" fmla="*/ 28575 h 815975"/>
                <a:gd name="connsiteX15" fmla="*/ 336550 w 825500"/>
                <a:gd name="connsiteY15" fmla="*/ 0 h 815975"/>
                <a:gd name="connsiteX0" fmla="*/ 336550 w 825500"/>
                <a:gd name="connsiteY0" fmla="*/ 0 h 815975"/>
                <a:gd name="connsiteX1" fmla="*/ 415925 w 825500"/>
                <a:gd name="connsiteY1" fmla="*/ 574675 h 815975"/>
                <a:gd name="connsiteX2" fmla="*/ 492125 w 825500"/>
                <a:gd name="connsiteY2" fmla="*/ 3175 h 815975"/>
                <a:gd name="connsiteX3" fmla="*/ 676275 w 825500"/>
                <a:gd name="connsiteY3" fmla="*/ 19050 h 815975"/>
                <a:gd name="connsiteX4" fmla="*/ 825500 w 825500"/>
                <a:gd name="connsiteY4" fmla="*/ 654050 h 815975"/>
                <a:gd name="connsiteX5" fmla="*/ 717550 w 825500"/>
                <a:gd name="connsiteY5" fmla="*/ 657225 h 815975"/>
                <a:gd name="connsiteX6" fmla="*/ 646759 w 825500"/>
                <a:gd name="connsiteY6" fmla="*/ 285750 h 815975"/>
                <a:gd name="connsiteX7" fmla="*/ 621744 w 825500"/>
                <a:gd name="connsiteY7" fmla="*/ 547039 h 815975"/>
                <a:gd name="connsiteX8" fmla="*/ 638175 w 825500"/>
                <a:gd name="connsiteY8" fmla="*/ 815975 h 815975"/>
                <a:gd name="connsiteX9" fmla="*/ 187325 w 825500"/>
                <a:gd name="connsiteY9" fmla="*/ 815975 h 815975"/>
                <a:gd name="connsiteX10" fmla="*/ 208599 w 825500"/>
                <a:gd name="connsiteY10" fmla="*/ 559596 h 815975"/>
                <a:gd name="connsiteX11" fmla="*/ 191441 w 825500"/>
                <a:gd name="connsiteY11" fmla="*/ 285750 h 815975"/>
                <a:gd name="connsiteX12" fmla="*/ 104775 w 825500"/>
                <a:gd name="connsiteY12" fmla="*/ 660400 h 815975"/>
                <a:gd name="connsiteX13" fmla="*/ 0 w 825500"/>
                <a:gd name="connsiteY13" fmla="*/ 657225 h 815975"/>
                <a:gd name="connsiteX14" fmla="*/ 149225 w 825500"/>
                <a:gd name="connsiteY14" fmla="*/ 28575 h 815975"/>
                <a:gd name="connsiteX15" fmla="*/ 336550 w 825500"/>
                <a:gd name="connsiteY15" fmla="*/ 0 h 815975"/>
                <a:gd name="connsiteX0" fmla="*/ 336550 w 825500"/>
                <a:gd name="connsiteY0" fmla="*/ 0 h 815975"/>
                <a:gd name="connsiteX1" fmla="*/ 415925 w 825500"/>
                <a:gd name="connsiteY1" fmla="*/ 260776 h 815975"/>
                <a:gd name="connsiteX2" fmla="*/ 492125 w 825500"/>
                <a:gd name="connsiteY2" fmla="*/ 3175 h 815975"/>
                <a:gd name="connsiteX3" fmla="*/ 676275 w 825500"/>
                <a:gd name="connsiteY3" fmla="*/ 19050 h 815975"/>
                <a:gd name="connsiteX4" fmla="*/ 825500 w 825500"/>
                <a:gd name="connsiteY4" fmla="*/ 654050 h 815975"/>
                <a:gd name="connsiteX5" fmla="*/ 717550 w 825500"/>
                <a:gd name="connsiteY5" fmla="*/ 657225 h 815975"/>
                <a:gd name="connsiteX6" fmla="*/ 646759 w 825500"/>
                <a:gd name="connsiteY6" fmla="*/ 285750 h 815975"/>
                <a:gd name="connsiteX7" fmla="*/ 621744 w 825500"/>
                <a:gd name="connsiteY7" fmla="*/ 547039 h 815975"/>
                <a:gd name="connsiteX8" fmla="*/ 638175 w 825500"/>
                <a:gd name="connsiteY8" fmla="*/ 815975 h 815975"/>
                <a:gd name="connsiteX9" fmla="*/ 187325 w 825500"/>
                <a:gd name="connsiteY9" fmla="*/ 815975 h 815975"/>
                <a:gd name="connsiteX10" fmla="*/ 208599 w 825500"/>
                <a:gd name="connsiteY10" fmla="*/ 559596 h 815975"/>
                <a:gd name="connsiteX11" fmla="*/ 191441 w 825500"/>
                <a:gd name="connsiteY11" fmla="*/ 285750 h 815975"/>
                <a:gd name="connsiteX12" fmla="*/ 104775 w 825500"/>
                <a:gd name="connsiteY12" fmla="*/ 660400 h 815975"/>
                <a:gd name="connsiteX13" fmla="*/ 0 w 825500"/>
                <a:gd name="connsiteY13" fmla="*/ 657225 h 815975"/>
                <a:gd name="connsiteX14" fmla="*/ 149225 w 825500"/>
                <a:gd name="connsiteY14" fmla="*/ 28575 h 815975"/>
                <a:gd name="connsiteX15" fmla="*/ 336550 w 825500"/>
                <a:gd name="connsiteY15" fmla="*/ 0 h 815975"/>
                <a:gd name="connsiteX0" fmla="*/ 336550 w 825500"/>
                <a:gd name="connsiteY0" fmla="*/ 0 h 815975"/>
                <a:gd name="connsiteX1" fmla="*/ 415925 w 825500"/>
                <a:gd name="connsiteY1" fmla="*/ 260776 h 815975"/>
                <a:gd name="connsiteX2" fmla="*/ 492125 w 825500"/>
                <a:gd name="connsiteY2" fmla="*/ 3175 h 815975"/>
                <a:gd name="connsiteX3" fmla="*/ 676275 w 825500"/>
                <a:gd name="connsiteY3" fmla="*/ 19050 h 815975"/>
                <a:gd name="connsiteX4" fmla="*/ 825500 w 825500"/>
                <a:gd name="connsiteY4" fmla="*/ 654050 h 815975"/>
                <a:gd name="connsiteX5" fmla="*/ 717550 w 825500"/>
                <a:gd name="connsiteY5" fmla="*/ 657225 h 815975"/>
                <a:gd name="connsiteX6" fmla="*/ 646759 w 825500"/>
                <a:gd name="connsiteY6" fmla="*/ 285750 h 815975"/>
                <a:gd name="connsiteX7" fmla="*/ 621744 w 825500"/>
                <a:gd name="connsiteY7" fmla="*/ 547039 h 815975"/>
                <a:gd name="connsiteX8" fmla="*/ 638175 w 825500"/>
                <a:gd name="connsiteY8" fmla="*/ 815975 h 815975"/>
                <a:gd name="connsiteX9" fmla="*/ 160670 w 825500"/>
                <a:gd name="connsiteY9" fmla="*/ 815975 h 815975"/>
                <a:gd name="connsiteX10" fmla="*/ 208599 w 825500"/>
                <a:gd name="connsiteY10" fmla="*/ 559596 h 815975"/>
                <a:gd name="connsiteX11" fmla="*/ 191441 w 825500"/>
                <a:gd name="connsiteY11" fmla="*/ 285750 h 815975"/>
                <a:gd name="connsiteX12" fmla="*/ 104775 w 825500"/>
                <a:gd name="connsiteY12" fmla="*/ 660400 h 815975"/>
                <a:gd name="connsiteX13" fmla="*/ 0 w 825500"/>
                <a:gd name="connsiteY13" fmla="*/ 657225 h 815975"/>
                <a:gd name="connsiteX14" fmla="*/ 149225 w 825500"/>
                <a:gd name="connsiteY14" fmla="*/ 28575 h 815975"/>
                <a:gd name="connsiteX15" fmla="*/ 336550 w 825500"/>
                <a:gd name="connsiteY15" fmla="*/ 0 h 815975"/>
                <a:gd name="connsiteX0" fmla="*/ 336550 w 825500"/>
                <a:gd name="connsiteY0" fmla="*/ 0 h 822253"/>
                <a:gd name="connsiteX1" fmla="*/ 415925 w 825500"/>
                <a:gd name="connsiteY1" fmla="*/ 260776 h 822253"/>
                <a:gd name="connsiteX2" fmla="*/ 492125 w 825500"/>
                <a:gd name="connsiteY2" fmla="*/ 3175 h 822253"/>
                <a:gd name="connsiteX3" fmla="*/ 676275 w 825500"/>
                <a:gd name="connsiteY3" fmla="*/ 19050 h 822253"/>
                <a:gd name="connsiteX4" fmla="*/ 825500 w 825500"/>
                <a:gd name="connsiteY4" fmla="*/ 654050 h 822253"/>
                <a:gd name="connsiteX5" fmla="*/ 717550 w 825500"/>
                <a:gd name="connsiteY5" fmla="*/ 657225 h 822253"/>
                <a:gd name="connsiteX6" fmla="*/ 646759 w 825500"/>
                <a:gd name="connsiteY6" fmla="*/ 285750 h 822253"/>
                <a:gd name="connsiteX7" fmla="*/ 621744 w 825500"/>
                <a:gd name="connsiteY7" fmla="*/ 547039 h 822253"/>
                <a:gd name="connsiteX8" fmla="*/ 664830 w 825500"/>
                <a:gd name="connsiteY8" fmla="*/ 822253 h 822253"/>
                <a:gd name="connsiteX9" fmla="*/ 160670 w 825500"/>
                <a:gd name="connsiteY9" fmla="*/ 815975 h 822253"/>
                <a:gd name="connsiteX10" fmla="*/ 208599 w 825500"/>
                <a:gd name="connsiteY10" fmla="*/ 559596 h 822253"/>
                <a:gd name="connsiteX11" fmla="*/ 191441 w 825500"/>
                <a:gd name="connsiteY11" fmla="*/ 285750 h 822253"/>
                <a:gd name="connsiteX12" fmla="*/ 104775 w 825500"/>
                <a:gd name="connsiteY12" fmla="*/ 660400 h 822253"/>
                <a:gd name="connsiteX13" fmla="*/ 0 w 825500"/>
                <a:gd name="connsiteY13" fmla="*/ 657225 h 822253"/>
                <a:gd name="connsiteX14" fmla="*/ 149225 w 825500"/>
                <a:gd name="connsiteY14" fmla="*/ 28575 h 822253"/>
                <a:gd name="connsiteX15" fmla="*/ 336550 w 825500"/>
                <a:gd name="connsiteY15" fmla="*/ 0 h 822253"/>
                <a:gd name="connsiteX0" fmla="*/ 336550 w 825500"/>
                <a:gd name="connsiteY0" fmla="*/ 0 h 822253"/>
                <a:gd name="connsiteX1" fmla="*/ 415925 w 825500"/>
                <a:gd name="connsiteY1" fmla="*/ 260776 h 822253"/>
                <a:gd name="connsiteX2" fmla="*/ 492125 w 825500"/>
                <a:gd name="connsiteY2" fmla="*/ 3175 h 822253"/>
                <a:gd name="connsiteX3" fmla="*/ 676275 w 825500"/>
                <a:gd name="connsiteY3" fmla="*/ 19050 h 822253"/>
                <a:gd name="connsiteX4" fmla="*/ 825500 w 825500"/>
                <a:gd name="connsiteY4" fmla="*/ 654050 h 822253"/>
                <a:gd name="connsiteX5" fmla="*/ 717550 w 825500"/>
                <a:gd name="connsiteY5" fmla="*/ 657225 h 822253"/>
                <a:gd name="connsiteX6" fmla="*/ 646759 w 825500"/>
                <a:gd name="connsiteY6" fmla="*/ 285750 h 822253"/>
                <a:gd name="connsiteX7" fmla="*/ 621744 w 825500"/>
                <a:gd name="connsiteY7" fmla="*/ 547039 h 822253"/>
                <a:gd name="connsiteX8" fmla="*/ 664830 w 825500"/>
                <a:gd name="connsiteY8" fmla="*/ 822253 h 822253"/>
                <a:gd name="connsiteX9" fmla="*/ 167334 w 825500"/>
                <a:gd name="connsiteY9" fmla="*/ 815975 h 822253"/>
                <a:gd name="connsiteX10" fmla="*/ 208599 w 825500"/>
                <a:gd name="connsiteY10" fmla="*/ 559596 h 822253"/>
                <a:gd name="connsiteX11" fmla="*/ 191441 w 825500"/>
                <a:gd name="connsiteY11" fmla="*/ 285750 h 822253"/>
                <a:gd name="connsiteX12" fmla="*/ 104775 w 825500"/>
                <a:gd name="connsiteY12" fmla="*/ 660400 h 822253"/>
                <a:gd name="connsiteX13" fmla="*/ 0 w 825500"/>
                <a:gd name="connsiteY13" fmla="*/ 657225 h 822253"/>
                <a:gd name="connsiteX14" fmla="*/ 149225 w 825500"/>
                <a:gd name="connsiteY14" fmla="*/ 28575 h 822253"/>
                <a:gd name="connsiteX15" fmla="*/ 336550 w 825500"/>
                <a:gd name="connsiteY15" fmla="*/ 0 h 822253"/>
                <a:gd name="connsiteX0" fmla="*/ 336550 w 825500"/>
                <a:gd name="connsiteY0" fmla="*/ 0 h 822253"/>
                <a:gd name="connsiteX1" fmla="*/ 415925 w 825500"/>
                <a:gd name="connsiteY1" fmla="*/ 260776 h 822253"/>
                <a:gd name="connsiteX2" fmla="*/ 492125 w 825500"/>
                <a:gd name="connsiteY2" fmla="*/ 3175 h 822253"/>
                <a:gd name="connsiteX3" fmla="*/ 676275 w 825500"/>
                <a:gd name="connsiteY3" fmla="*/ 19050 h 822253"/>
                <a:gd name="connsiteX4" fmla="*/ 825500 w 825500"/>
                <a:gd name="connsiteY4" fmla="*/ 654050 h 822253"/>
                <a:gd name="connsiteX5" fmla="*/ 717550 w 825500"/>
                <a:gd name="connsiteY5" fmla="*/ 657225 h 822253"/>
                <a:gd name="connsiteX6" fmla="*/ 646759 w 825500"/>
                <a:gd name="connsiteY6" fmla="*/ 285750 h 822253"/>
                <a:gd name="connsiteX7" fmla="*/ 621744 w 825500"/>
                <a:gd name="connsiteY7" fmla="*/ 547039 h 822253"/>
                <a:gd name="connsiteX8" fmla="*/ 664830 w 825500"/>
                <a:gd name="connsiteY8" fmla="*/ 822253 h 822253"/>
                <a:gd name="connsiteX9" fmla="*/ 167334 w 825500"/>
                <a:gd name="connsiteY9" fmla="*/ 815975 h 822253"/>
                <a:gd name="connsiteX10" fmla="*/ 195272 w 825500"/>
                <a:gd name="connsiteY10" fmla="*/ 565874 h 822253"/>
                <a:gd name="connsiteX11" fmla="*/ 191441 w 825500"/>
                <a:gd name="connsiteY11" fmla="*/ 285750 h 822253"/>
                <a:gd name="connsiteX12" fmla="*/ 104775 w 825500"/>
                <a:gd name="connsiteY12" fmla="*/ 660400 h 822253"/>
                <a:gd name="connsiteX13" fmla="*/ 0 w 825500"/>
                <a:gd name="connsiteY13" fmla="*/ 657225 h 822253"/>
                <a:gd name="connsiteX14" fmla="*/ 149225 w 825500"/>
                <a:gd name="connsiteY14" fmla="*/ 28575 h 822253"/>
                <a:gd name="connsiteX15" fmla="*/ 336550 w 825500"/>
                <a:gd name="connsiteY15" fmla="*/ 0 h 822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25500" h="822253">
                  <a:moveTo>
                    <a:pt x="336550" y="0"/>
                  </a:moveTo>
                  <a:lnTo>
                    <a:pt x="415925" y="260776"/>
                  </a:lnTo>
                  <a:lnTo>
                    <a:pt x="492125" y="3175"/>
                  </a:lnTo>
                  <a:lnTo>
                    <a:pt x="676275" y="19050"/>
                  </a:lnTo>
                  <a:cubicBezTo>
                    <a:pt x="799042" y="262467"/>
                    <a:pt x="817033" y="531283"/>
                    <a:pt x="825500" y="654050"/>
                  </a:cubicBezTo>
                  <a:lnTo>
                    <a:pt x="717550" y="657225"/>
                  </a:lnTo>
                  <a:cubicBezTo>
                    <a:pt x="729192" y="536575"/>
                    <a:pt x="673217" y="393700"/>
                    <a:pt x="646759" y="285750"/>
                  </a:cubicBezTo>
                  <a:lnTo>
                    <a:pt x="621744" y="547039"/>
                  </a:lnTo>
                  <a:cubicBezTo>
                    <a:pt x="620557" y="609480"/>
                    <a:pt x="666017" y="759812"/>
                    <a:pt x="664830" y="822253"/>
                  </a:cubicBezTo>
                  <a:lnTo>
                    <a:pt x="167334" y="815975"/>
                  </a:lnTo>
                  <a:lnTo>
                    <a:pt x="195272" y="565874"/>
                  </a:lnTo>
                  <a:lnTo>
                    <a:pt x="191441" y="285750"/>
                  </a:lnTo>
                  <a:cubicBezTo>
                    <a:pt x="154399" y="384175"/>
                    <a:pt x="110067" y="530225"/>
                    <a:pt x="104775" y="660400"/>
                  </a:cubicBezTo>
                  <a:lnTo>
                    <a:pt x="0" y="657225"/>
                  </a:lnTo>
                  <a:cubicBezTo>
                    <a:pt x="21167" y="508000"/>
                    <a:pt x="35983" y="276225"/>
                    <a:pt x="149225" y="28575"/>
                  </a:cubicBezTo>
                  <a:lnTo>
                    <a:pt x="336550" y="0"/>
                  </a:lnTo>
                  <a:close/>
                </a:path>
              </a:pathLst>
            </a:custGeom>
            <a:solidFill>
              <a:srgbClr val="FD7425"/>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46" name="Group 45"/>
          <p:cNvGrpSpPr/>
          <p:nvPr/>
        </p:nvGrpSpPr>
        <p:grpSpPr>
          <a:xfrm>
            <a:off x="9359208" y="1949979"/>
            <a:ext cx="1185125" cy="3292340"/>
            <a:chOff x="7663401" y="3592066"/>
            <a:chExt cx="788936" cy="2191704"/>
          </a:xfrm>
        </p:grpSpPr>
        <p:grpSp>
          <p:nvGrpSpPr>
            <p:cNvPr id="47" name="Group 46"/>
            <p:cNvGrpSpPr/>
            <p:nvPr/>
          </p:nvGrpSpPr>
          <p:grpSpPr>
            <a:xfrm flipH="1">
              <a:off x="7663401" y="4004794"/>
              <a:ext cx="202291" cy="851647"/>
              <a:chOff x="6437822" y="1926236"/>
              <a:chExt cx="238124" cy="1002506"/>
            </a:xfrm>
          </p:grpSpPr>
          <p:sp>
            <p:nvSpPr>
              <p:cNvPr id="58" name="Rounded Rectangle 57"/>
              <p:cNvSpPr/>
              <p:nvPr/>
            </p:nvSpPr>
            <p:spPr bwMode="auto">
              <a:xfrm>
                <a:off x="6552349" y="2757292"/>
                <a:ext cx="106928" cy="171450"/>
              </a:xfrm>
              <a:prstGeom prst="roundRect">
                <a:avLst>
                  <a:gd name="adj" fmla="val 50000"/>
                </a:avLst>
              </a:prstGeom>
              <a:solidFill>
                <a:srgbClr val="FFC0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9" name="Freeform 58"/>
              <p:cNvSpPr/>
              <p:nvPr/>
            </p:nvSpPr>
            <p:spPr bwMode="auto">
              <a:xfrm>
                <a:off x="6437822" y="1926236"/>
                <a:ext cx="238124" cy="895350"/>
              </a:xfrm>
              <a:custGeom>
                <a:avLst/>
                <a:gdLst>
                  <a:gd name="connsiteX0" fmla="*/ 7144 w 238125"/>
                  <a:gd name="connsiteY0" fmla="*/ 0 h 833437"/>
                  <a:gd name="connsiteX1" fmla="*/ 238125 w 238125"/>
                  <a:gd name="connsiteY1" fmla="*/ 833437 h 833437"/>
                  <a:gd name="connsiteX2" fmla="*/ 109537 w 238125"/>
                  <a:gd name="connsiteY2" fmla="*/ 833437 h 833437"/>
                  <a:gd name="connsiteX3" fmla="*/ 0 w 238125"/>
                  <a:gd name="connsiteY3" fmla="*/ 361950 h 833437"/>
                  <a:gd name="connsiteX4" fmla="*/ 7144 w 238125"/>
                  <a:gd name="connsiteY4" fmla="*/ 0 h 833437"/>
                  <a:gd name="connsiteX0" fmla="*/ 7144 w 238125"/>
                  <a:gd name="connsiteY0" fmla="*/ 0 h 833437"/>
                  <a:gd name="connsiteX1" fmla="*/ 238125 w 238125"/>
                  <a:gd name="connsiteY1" fmla="*/ 833437 h 833437"/>
                  <a:gd name="connsiteX2" fmla="*/ 109537 w 238125"/>
                  <a:gd name="connsiteY2" fmla="*/ 833437 h 833437"/>
                  <a:gd name="connsiteX3" fmla="*/ 0 w 238125"/>
                  <a:gd name="connsiteY3" fmla="*/ 361950 h 833437"/>
                  <a:gd name="connsiteX4" fmla="*/ 7144 w 238125"/>
                  <a:gd name="connsiteY4" fmla="*/ 0 h 833437"/>
                  <a:gd name="connsiteX0" fmla="*/ 7144 w 238125"/>
                  <a:gd name="connsiteY0" fmla="*/ 0 h 833437"/>
                  <a:gd name="connsiteX1" fmla="*/ 238125 w 238125"/>
                  <a:gd name="connsiteY1" fmla="*/ 833437 h 833437"/>
                  <a:gd name="connsiteX2" fmla="*/ 109537 w 238125"/>
                  <a:gd name="connsiteY2" fmla="*/ 833437 h 833437"/>
                  <a:gd name="connsiteX3" fmla="*/ 0 w 238125"/>
                  <a:gd name="connsiteY3" fmla="*/ 361950 h 833437"/>
                  <a:gd name="connsiteX4" fmla="*/ 7144 w 238125"/>
                  <a:gd name="connsiteY4" fmla="*/ 0 h 833437"/>
                  <a:gd name="connsiteX0" fmla="*/ 7144 w 238125"/>
                  <a:gd name="connsiteY0" fmla="*/ 0 h 833437"/>
                  <a:gd name="connsiteX1" fmla="*/ 238125 w 238125"/>
                  <a:gd name="connsiteY1" fmla="*/ 833437 h 833437"/>
                  <a:gd name="connsiteX2" fmla="*/ 109537 w 238125"/>
                  <a:gd name="connsiteY2" fmla="*/ 833437 h 833437"/>
                  <a:gd name="connsiteX3" fmla="*/ 0 w 238125"/>
                  <a:gd name="connsiteY3" fmla="*/ 361950 h 833437"/>
                  <a:gd name="connsiteX4" fmla="*/ 7144 w 238125"/>
                  <a:gd name="connsiteY4" fmla="*/ 0 h 833437"/>
                  <a:gd name="connsiteX0" fmla="*/ 7144 w 238125"/>
                  <a:gd name="connsiteY0" fmla="*/ 0 h 833437"/>
                  <a:gd name="connsiteX1" fmla="*/ 238125 w 238125"/>
                  <a:gd name="connsiteY1" fmla="*/ 833437 h 833437"/>
                  <a:gd name="connsiteX2" fmla="*/ 109537 w 238125"/>
                  <a:gd name="connsiteY2" fmla="*/ 833437 h 833437"/>
                  <a:gd name="connsiteX3" fmla="*/ 0 w 238125"/>
                  <a:gd name="connsiteY3" fmla="*/ 361950 h 833437"/>
                  <a:gd name="connsiteX4" fmla="*/ 7144 w 238125"/>
                  <a:gd name="connsiteY4" fmla="*/ 0 h 833437"/>
                  <a:gd name="connsiteX0" fmla="*/ 7144 w 238125"/>
                  <a:gd name="connsiteY0" fmla="*/ 0 h 833437"/>
                  <a:gd name="connsiteX1" fmla="*/ 238125 w 238125"/>
                  <a:gd name="connsiteY1" fmla="*/ 833437 h 833437"/>
                  <a:gd name="connsiteX2" fmla="*/ 109537 w 238125"/>
                  <a:gd name="connsiteY2" fmla="*/ 833437 h 833437"/>
                  <a:gd name="connsiteX3" fmla="*/ 0 w 238125"/>
                  <a:gd name="connsiteY3" fmla="*/ 361950 h 833437"/>
                  <a:gd name="connsiteX4" fmla="*/ 7144 w 238125"/>
                  <a:gd name="connsiteY4" fmla="*/ 0 h 833437"/>
                  <a:gd name="connsiteX0" fmla="*/ 33338 w 238125"/>
                  <a:gd name="connsiteY0" fmla="*/ 0 h 895350"/>
                  <a:gd name="connsiteX1" fmla="*/ 238125 w 238125"/>
                  <a:gd name="connsiteY1" fmla="*/ 895350 h 895350"/>
                  <a:gd name="connsiteX2" fmla="*/ 109537 w 238125"/>
                  <a:gd name="connsiteY2" fmla="*/ 895350 h 895350"/>
                  <a:gd name="connsiteX3" fmla="*/ 0 w 238125"/>
                  <a:gd name="connsiteY3" fmla="*/ 423863 h 895350"/>
                  <a:gd name="connsiteX4" fmla="*/ 33338 w 238125"/>
                  <a:gd name="connsiteY4" fmla="*/ 0 h 895350"/>
                  <a:gd name="connsiteX0" fmla="*/ 9525 w 214312"/>
                  <a:gd name="connsiteY0" fmla="*/ 0 h 895350"/>
                  <a:gd name="connsiteX1" fmla="*/ 214312 w 214312"/>
                  <a:gd name="connsiteY1" fmla="*/ 895350 h 895350"/>
                  <a:gd name="connsiteX2" fmla="*/ 85724 w 214312"/>
                  <a:gd name="connsiteY2" fmla="*/ 895350 h 895350"/>
                  <a:gd name="connsiteX3" fmla="*/ 0 w 214312"/>
                  <a:gd name="connsiteY3" fmla="*/ 350045 h 895350"/>
                  <a:gd name="connsiteX4" fmla="*/ 9525 w 214312"/>
                  <a:gd name="connsiteY4" fmla="*/ 0 h 895350"/>
                  <a:gd name="connsiteX0" fmla="*/ 33337 w 238124"/>
                  <a:gd name="connsiteY0" fmla="*/ 0 h 895350"/>
                  <a:gd name="connsiteX1" fmla="*/ 238124 w 238124"/>
                  <a:gd name="connsiteY1" fmla="*/ 895350 h 895350"/>
                  <a:gd name="connsiteX2" fmla="*/ 109536 w 238124"/>
                  <a:gd name="connsiteY2" fmla="*/ 895350 h 895350"/>
                  <a:gd name="connsiteX3" fmla="*/ 0 w 238124"/>
                  <a:gd name="connsiteY3" fmla="*/ 350045 h 895350"/>
                  <a:gd name="connsiteX4" fmla="*/ 33337 w 238124"/>
                  <a:gd name="connsiteY4" fmla="*/ 0 h 895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124" h="895350">
                    <a:moveTo>
                      <a:pt x="33337" y="0"/>
                    </a:moveTo>
                    <a:cubicBezTo>
                      <a:pt x="129381" y="253999"/>
                      <a:pt x="215899" y="558007"/>
                      <a:pt x="238124" y="895350"/>
                    </a:cubicBezTo>
                    <a:lnTo>
                      <a:pt x="109536" y="895350"/>
                    </a:lnTo>
                    <a:cubicBezTo>
                      <a:pt x="94456" y="776289"/>
                      <a:pt x="74612" y="504826"/>
                      <a:pt x="0" y="350045"/>
                    </a:cubicBezTo>
                    <a:lnTo>
                      <a:pt x="33337" y="0"/>
                    </a:lnTo>
                    <a:close/>
                  </a:path>
                </a:pathLst>
              </a:custGeom>
              <a:solidFill>
                <a:sysClr val="window" lastClr="FFFFFF">
                  <a:lumMod val="65000"/>
                </a:sys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48" name="Freeform 47"/>
            <p:cNvSpPr/>
            <p:nvPr/>
          </p:nvSpPr>
          <p:spPr bwMode="auto">
            <a:xfrm flipH="1">
              <a:off x="7832193" y="4747611"/>
              <a:ext cx="446205" cy="972615"/>
            </a:xfrm>
            <a:custGeom>
              <a:avLst/>
              <a:gdLst>
                <a:gd name="connsiteX0" fmla="*/ 525245 w 525245"/>
                <a:gd name="connsiteY0" fmla="*/ 0 h 1144902"/>
                <a:gd name="connsiteX1" fmla="*/ 312606 w 525245"/>
                <a:gd name="connsiteY1" fmla="*/ 0 h 1144902"/>
                <a:gd name="connsiteX2" fmla="*/ 312606 w 525245"/>
                <a:gd name="connsiteY2" fmla="*/ 33054 h 1144902"/>
                <a:gd name="connsiteX3" fmla="*/ 198983 w 525245"/>
                <a:gd name="connsiteY3" fmla="*/ 33054 h 1144902"/>
                <a:gd name="connsiteX4" fmla="*/ 198983 w 525245"/>
                <a:gd name="connsiteY4" fmla="*/ 0 h 1144902"/>
                <a:gd name="connsiteX5" fmla="*/ 0 w 525245"/>
                <a:gd name="connsiteY5" fmla="*/ 0 h 1144902"/>
                <a:gd name="connsiteX6" fmla="*/ 0 w 525245"/>
                <a:gd name="connsiteY6" fmla="*/ 45719 h 1144902"/>
                <a:gd name="connsiteX7" fmla="*/ 20739 w 525245"/>
                <a:gd name="connsiteY7" fmla="*/ 45719 h 1144902"/>
                <a:gd name="connsiteX8" fmla="*/ 73857 w 525245"/>
                <a:gd name="connsiteY8" fmla="*/ 1144902 h 1144902"/>
                <a:gd name="connsiteX9" fmla="*/ 223876 w 525245"/>
                <a:gd name="connsiteY9" fmla="*/ 1142521 h 1144902"/>
                <a:gd name="connsiteX10" fmla="*/ 263646 w 525245"/>
                <a:gd name="connsiteY10" fmla="*/ 218443 h 1144902"/>
                <a:gd name="connsiteX11" fmla="*/ 267345 w 525245"/>
                <a:gd name="connsiteY11" fmla="*/ 217759 h 1144902"/>
                <a:gd name="connsiteX12" fmla="*/ 302458 w 525245"/>
                <a:gd name="connsiteY12" fmla="*/ 1135377 h 1144902"/>
                <a:gd name="connsiteX13" fmla="*/ 454857 w 525245"/>
                <a:gd name="connsiteY13" fmla="*/ 1132996 h 1144902"/>
                <a:gd name="connsiteX14" fmla="*/ 500546 w 525245"/>
                <a:gd name="connsiteY14" fmla="*/ 45719 h 1144902"/>
                <a:gd name="connsiteX15" fmla="*/ 525245 w 525245"/>
                <a:gd name="connsiteY15" fmla="*/ 45719 h 1144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25245" h="1144902">
                  <a:moveTo>
                    <a:pt x="525245" y="0"/>
                  </a:moveTo>
                  <a:lnTo>
                    <a:pt x="312606" y="0"/>
                  </a:lnTo>
                  <a:lnTo>
                    <a:pt x="312606" y="33054"/>
                  </a:lnTo>
                  <a:lnTo>
                    <a:pt x="198983" y="33054"/>
                  </a:lnTo>
                  <a:lnTo>
                    <a:pt x="198983" y="0"/>
                  </a:lnTo>
                  <a:lnTo>
                    <a:pt x="0" y="0"/>
                  </a:lnTo>
                  <a:lnTo>
                    <a:pt x="0" y="45719"/>
                  </a:lnTo>
                  <a:lnTo>
                    <a:pt x="20739" y="45719"/>
                  </a:lnTo>
                  <a:lnTo>
                    <a:pt x="73857" y="1144902"/>
                  </a:lnTo>
                  <a:cubicBezTo>
                    <a:pt x="126244" y="1144902"/>
                    <a:pt x="171489" y="1142521"/>
                    <a:pt x="223876" y="1142521"/>
                  </a:cubicBezTo>
                  <a:lnTo>
                    <a:pt x="263646" y="218443"/>
                  </a:lnTo>
                  <a:lnTo>
                    <a:pt x="267345" y="217759"/>
                  </a:lnTo>
                  <a:lnTo>
                    <a:pt x="302458" y="1135377"/>
                  </a:lnTo>
                  <a:lnTo>
                    <a:pt x="454857" y="1132996"/>
                  </a:lnTo>
                  <a:lnTo>
                    <a:pt x="500546" y="45719"/>
                  </a:lnTo>
                  <a:lnTo>
                    <a:pt x="525245" y="45719"/>
                  </a:lnTo>
                  <a:close/>
                </a:path>
              </a:pathLst>
            </a:custGeom>
            <a:solidFill>
              <a:srgbClr val="3F3F3F">
                <a:lumMod val="85000"/>
                <a:lumOff val="1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9" name="Freeform 48"/>
            <p:cNvSpPr/>
            <p:nvPr/>
          </p:nvSpPr>
          <p:spPr bwMode="auto">
            <a:xfrm>
              <a:off x="8075572" y="5704717"/>
              <a:ext cx="159466" cy="79053"/>
            </a:xfrm>
            <a:custGeom>
              <a:avLst/>
              <a:gdLst>
                <a:gd name="connsiteX0" fmla="*/ 93857 w 187714"/>
                <a:gd name="connsiteY0" fmla="*/ 0 h 93056"/>
                <a:gd name="connsiteX1" fmla="*/ 180525 w 187714"/>
                <a:gd name="connsiteY1" fmla="*/ 57448 h 93056"/>
                <a:gd name="connsiteX2" fmla="*/ 187714 w 187714"/>
                <a:gd name="connsiteY2" fmla="*/ 93056 h 93056"/>
                <a:gd name="connsiteX3" fmla="*/ 0 w 187714"/>
                <a:gd name="connsiteY3" fmla="*/ 93056 h 93056"/>
                <a:gd name="connsiteX4" fmla="*/ 7189 w 187714"/>
                <a:gd name="connsiteY4" fmla="*/ 57448 h 93056"/>
                <a:gd name="connsiteX5" fmla="*/ 93857 w 187714"/>
                <a:gd name="connsiteY5" fmla="*/ 0 h 93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7714" h="93056">
                  <a:moveTo>
                    <a:pt x="93857" y="0"/>
                  </a:moveTo>
                  <a:cubicBezTo>
                    <a:pt x="132818" y="0"/>
                    <a:pt x="166246" y="23688"/>
                    <a:pt x="180525" y="57448"/>
                  </a:cubicBezTo>
                  <a:lnTo>
                    <a:pt x="187714" y="93056"/>
                  </a:lnTo>
                  <a:lnTo>
                    <a:pt x="0" y="93056"/>
                  </a:lnTo>
                  <a:lnTo>
                    <a:pt x="7189" y="57448"/>
                  </a:lnTo>
                  <a:cubicBezTo>
                    <a:pt x="21468" y="23688"/>
                    <a:pt x="54896" y="0"/>
                    <a:pt x="93857" y="0"/>
                  </a:cubicBezTo>
                  <a:close/>
                </a:path>
              </a:pathLst>
            </a:custGeom>
            <a:solidFill>
              <a:srgbClr val="3F3F3F">
                <a:lumMod val="95000"/>
                <a:lumOff val="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0" name="Freeform 49"/>
            <p:cNvSpPr/>
            <p:nvPr/>
          </p:nvSpPr>
          <p:spPr bwMode="auto">
            <a:xfrm>
              <a:off x="7875303" y="5696626"/>
              <a:ext cx="159466" cy="79053"/>
            </a:xfrm>
            <a:custGeom>
              <a:avLst/>
              <a:gdLst>
                <a:gd name="connsiteX0" fmla="*/ 93857 w 187714"/>
                <a:gd name="connsiteY0" fmla="*/ 0 h 93056"/>
                <a:gd name="connsiteX1" fmla="*/ 180525 w 187714"/>
                <a:gd name="connsiteY1" fmla="*/ 57448 h 93056"/>
                <a:gd name="connsiteX2" fmla="*/ 187714 w 187714"/>
                <a:gd name="connsiteY2" fmla="*/ 93056 h 93056"/>
                <a:gd name="connsiteX3" fmla="*/ 0 w 187714"/>
                <a:gd name="connsiteY3" fmla="*/ 93056 h 93056"/>
                <a:gd name="connsiteX4" fmla="*/ 7189 w 187714"/>
                <a:gd name="connsiteY4" fmla="*/ 57448 h 93056"/>
                <a:gd name="connsiteX5" fmla="*/ 93857 w 187714"/>
                <a:gd name="connsiteY5" fmla="*/ 0 h 93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7714" h="93056">
                  <a:moveTo>
                    <a:pt x="93857" y="0"/>
                  </a:moveTo>
                  <a:cubicBezTo>
                    <a:pt x="132818" y="0"/>
                    <a:pt x="166246" y="23688"/>
                    <a:pt x="180525" y="57448"/>
                  </a:cubicBezTo>
                  <a:lnTo>
                    <a:pt x="187714" y="93056"/>
                  </a:lnTo>
                  <a:lnTo>
                    <a:pt x="0" y="93056"/>
                  </a:lnTo>
                  <a:lnTo>
                    <a:pt x="7189" y="57448"/>
                  </a:lnTo>
                  <a:cubicBezTo>
                    <a:pt x="21468" y="23688"/>
                    <a:pt x="54896" y="0"/>
                    <a:pt x="93857" y="0"/>
                  </a:cubicBezTo>
                  <a:close/>
                </a:path>
              </a:pathLst>
            </a:custGeom>
            <a:solidFill>
              <a:srgbClr val="3F3F3F">
                <a:lumMod val="95000"/>
                <a:lumOff val="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1" name="Group 50"/>
            <p:cNvGrpSpPr/>
            <p:nvPr/>
          </p:nvGrpSpPr>
          <p:grpSpPr>
            <a:xfrm>
              <a:off x="8250046" y="4004794"/>
              <a:ext cx="202291" cy="851647"/>
              <a:chOff x="6437822" y="1926236"/>
              <a:chExt cx="238124" cy="1002506"/>
            </a:xfrm>
          </p:grpSpPr>
          <p:sp>
            <p:nvSpPr>
              <p:cNvPr id="56" name="Rounded Rectangle 55"/>
              <p:cNvSpPr/>
              <p:nvPr/>
            </p:nvSpPr>
            <p:spPr bwMode="auto">
              <a:xfrm>
                <a:off x="6552349" y="2757292"/>
                <a:ext cx="106928" cy="171450"/>
              </a:xfrm>
              <a:prstGeom prst="roundRect">
                <a:avLst>
                  <a:gd name="adj" fmla="val 50000"/>
                </a:avLst>
              </a:prstGeom>
              <a:solidFill>
                <a:srgbClr val="FFC0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7" name="Freeform 56"/>
              <p:cNvSpPr/>
              <p:nvPr/>
            </p:nvSpPr>
            <p:spPr bwMode="auto">
              <a:xfrm>
                <a:off x="6437822" y="1926236"/>
                <a:ext cx="238124" cy="895350"/>
              </a:xfrm>
              <a:custGeom>
                <a:avLst/>
                <a:gdLst>
                  <a:gd name="connsiteX0" fmla="*/ 7144 w 238125"/>
                  <a:gd name="connsiteY0" fmla="*/ 0 h 833437"/>
                  <a:gd name="connsiteX1" fmla="*/ 238125 w 238125"/>
                  <a:gd name="connsiteY1" fmla="*/ 833437 h 833437"/>
                  <a:gd name="connsiteX2" fmla="*/ 109537 w 238125"/>
                  <a:gd name="connsiteY2" fmla="*/ 833437 h 833437"/>
                  <a:gd name="connsiteX3" fmla="*/ 0 w 238125"/>
                  <a:gd name="connsiteY3" fmla="*/ 361950 h 833437"/>
                  <a:gd name="connsiteX4" fmla="*/ 7144 w 238125"/>
                  <a:gd name="connsiteY4" fmla="*/ 0 h 833437"/>
                  <a:gd name="connsiteX0" fmla="*/ 7144 w 238125"/>
                  <a:gd name="connsiteY0" fmla="*/ 0 h 833437"/>
                  <a:gd name="connsiteX1" fmla="*/ 238125 w 238125"/>
                  <a:gd name="connsiteY1" fmla="*/ 833437 h 833437"/>
                  <a:gd name="connsiteX2" fmla="*/ 109537 w 238125"/>
                  <a:gd name="connsiteY2" fmla="*/ 833437 h 833437"/>
                  <a:gd name="connsiteX3" fmla="*/ 0 w 238125"/>
                  <a:gd name="connsiteY3" fmla="*/ 361950 h 833437"/>
                  <a:gd name="connsiteX4" fmla="*/ 7144 w 238125"/>
                  <a:gd name="connsiteY4" fmla="*/ 0 h 833437"/>
                  <a:gd name="connsiteX0" fmla="*/ 7144 w 238125"/>
                  <a:gd name="connsiteY0" fmla="*/ 0 h 833437"/>
                  <a:gd name="connsiteX1" fmla="*/ 238125 w 238125"/>
                  <a:gd name="connsiteY1" fmla="*/ 833437 h 833437"/>
                  <a:gd name="connsiteX2" fmla="*/ 109537 w 238125"/>
                  <a:gd name="connsiteY2" fmla="*/ 833437 h 833437"/>
                  <a:gd name="connsiteX3" fmla="*/ 0 w 238125"/>
                  <a:gd name="connsiteY3" fmla="*/ 361950 h 833437"/>
                  <a:gd name="connsiteX4" fmla="*/ 7144 w 238125"/>
                  <a:gd name="connsiteY4" fmla="*/ 0 h 833437"/>
                  <a:gd name="connsiteX0" fmla="*/ 7144 w 238125"/>
                  <a:gd name="connsiteY0" fmla="*/ 0 h 833437"/>
                  <a:gd name="connsiteX1" fmla="*/ 238125 w 238125"/>
                  <a:gd name="connsiteY1" fmla="*/ 833437 h 833437"/>
                  <a:gd name="connsiteX2" fmla="*/ 109537 w 238125"/>
                  <a:gd name="connsiteY2" fmla="*/ 833437 h 833437"/>
                  <a:gd name="connsiteX3" fmla="*/ 0 w 238125"/>
                  <a:gd name="connsiteY3" fmla="*/ 361950 h 833437"/>
                  <a:gd name="connsiteX4" fmla="*/ 7144 w 238125"/>
                  <a:gd name="connsiteY4" fmla="*/ 0 h 833437"/>
                  <a:gd name="connsiteX0" fmla="*/ 7144 w 238125"/>
                  <a:gd name="connsiteY0" fmla="*/ 0 h 833437"/>
                  <a:gd name="connsiteX1" fmla="*/ 238125 w 238125"/>
                  <a:gd name="connsiteY1" fmla="*/ 833437 h 833437"/>
                  <a:gd name="connsiteX2" fmla="*/ 109537 w 238125"/>
                  <a:gd name="connsiteY2" fmla="*/ 833437 h 833437"/>
                  <a:gd name="connsiteX3" fmla="*/ 0 w 238125"/>
                  <a:gd name="connsiteY3" fmla="*/ 361950 h 833437"/>
                  <a:gd name="connsiteX4" fmla="*/ 7144 w 238125"/>
                  <a:gd name="connsiteY4" fmla="*/ 0 h 833437"/>
                  <a:gd name="connsiteX0" fmla="*/ 7144 w 238125"/>
                  <a:gd name="connsiteY0" fmla="*/ 0 h 833437"/>
                  <a:gd name="connsiteX1" fmla="*/ 238125 w 238125"/>
                  <a:gd name="connsiteY1" fmla="*/ 833437 h 833437"/>
                  <a:gd name="connsiteX2" fmla="*/ 109537 w 238125"/>
                  <a:gd name="connsiteY2" fmla="*/ 833437 h 833437"/>
                  <a:gd name="connsiteX3" fmla="*/ 0 w 238125"/>
                  <a:gd name="connsiteY3" fmla="*/ 361950 h 833437"/>
                  <a:gd name="connsiteX4" fmla="*/ 7144 w 238125"/>
                  <a:gd name="connsiteY4" fmla="*/ 0 h 833437"/>
                  <a:gd name="connsiteX0" fmla="*/ 33338 w 238125"/>
                  <a:gd name="connsiteY0" fmla="*/ 0 h 895350"/>
                  <a:gd name="connsiteX1" fmla="*/ 238125 w 238125"/>
                  <a:gd name="connsiteY1" fmla="*/ 895350 h 895350"/>
                  <a:gd name="connsiteX2" fmla="*/ 109537 w 238125"/>
                  <a:gd name="connsiteY2" fmla="*/ 895350 h 895350"/>
                  <a:gd name="connsiteX3" fmla="*/ 0 w 238125"/>
                  <a:gd name="connsiteY3" fmla="*/ 423863 h 895350"/>
                  <a:gd name="connsiteX4" fmla="*/ 33338 w 238125"/>
                  <a:gd name="connsiteY4" fmla="*/ 0 h 895350"/>
                  <a:gd name="connsiteX0" fmla="*/ 9525 w 214312"/>
                  <a:gd name="connsiteY0" fmla="*/ 0 h 895350"/>
                  <a:gd name="connsiteX1" fmla="*/ 214312 w 214312"/>
                  <a:gd name="connsiteY1" fmla="*/ 895350 h 895350"/>
                  <a:gd name="connsiteX2" fmla="*/ 85724 w 214312"/>
                  <a:gd name="connsiteY2" fmla="*/ 895350 h 895350"/>
                  <a:gd name="connsiteX3" fmla="*/ 0 w 214312"/>
                  <a:gd name="connsiteY3" fmla="*/ 350045 h 895350"/>
                  <a:gd name="connsiteX4" fmla="*/ 9525 w 214312"/>
                  <a:gd name="connsiteY4" fmla="*/ 0 h 895350"/>
                  <a:gd name="connsiteX0" fmla="*/ 33337 w 238124"/>
                  <a:gd name="connsiteY0" fmla="*/ 0 h 895350"/>
                  <a:gd name="connsiteX1" fmla="*/ 238124 w 238124"/>
                  <a:gd name="connsiteY1" fmla="*/ 895350 h 895350"/>
                  <a:gd name="connsiteX2" fmla="*/ 109536 w 238124"/>
                  <a:gd name="connsiteY2" fmla="*/ 895350 h 895350"/>
                  <a:gd name="connsiteX3" fmla="*/ 0 w 238124"/>
                  <a:gd name="connsiteY3" fmla="*/ 350045 h 895350"/>
                  <a:gd name="connsiteX4" fmla="*/ 33337 w 238124"/>
                  <a:gd name="connsiteY4" fmla="*/ 0 h 895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124" h="895350">
                    <a:moveTo>
                      <a:pt x="33337" y="0"/>
                    </a:moveTo>
                    <a:cubicBezTo>
                      <a:pt x="129381" y="253999"/>
                      <a:pt x="215899" y="558007"/>
                      <a:pt x="238124" y="895350"/>
                    </a:cubicBezTo>
                    <a:lnTo>
                      <a:pt x="109536" y="895350"/>
                    </a:lnTo>
                    <a:cubicBezTo>
                      <a:pt x="94456" y="776289"/>
                      <a:pt x="74612" y="504826"/>
                      <a:pt x="0" y="350045"/>
                    </a:cubicBezTo>
                    <a:lnTo>
                      <a:pt x="33337" y="0"/>
                    </a:lnTo>
                    <a:close/>
                  </a:path>
                </a:pathLst>
              </a:custGeom>
              <a:solidFill>
                <a:sysClr val="window" lastClr="FFFFFF">
                  <a:lumMod val="65000"/>
                </a:sys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52" name="Rectangle 109"/>
            <p:cNvSpPr/>
            <p:nvPr/>
          </p:nvSpPr>
          <p:spPr bwMode="auto">
            <a:xfrm>
              <a:off x="7888860" y="3952364"/>
              <a:ext cx="332966" cy="279162"/>
            </a:xfrm>
            <a:custGeom>
              <a:avLst/>
              <a:gdLst>
                <a:gd name="connsiteX0" fmla="*/ 0 w 390296"/>
                <a:gd name="connsiteY0" fmla="*/ 0 h 571500"/>
                <a:gd name="connsiteX1" fmla="*/ 390296 w 390296"/>
                <a:gd name="connsiteY1" fmla="*/ 0 h 571500"/>
                <a:gd name="connsiteX2" fmla="*/ 390296 w 390296"/>
                <a:gd name="connsiteY2" fmla="*/ 571500 h 571500"/>
                <a:gd name="connsiteX3" fmla="*/ 0 w 390296"/>
                <a:gd name="connsiteY3" fmla="*/ 571500 h 571500"/>
                <a:gd name="connsiteX4" fmla="*/ 0 w 390296"/>
                <a:gd name="connsiteY4" fmla="*/ 0 h 571500"/>
                <a:gd name="connsiteX0" fmla="*/ 0 w 390296"/>
                <a:gd name="connsiteY0" fmla="*/ 2833 h 574333"/>
                <a:gd name="connsiteX1" fmla="*/ 193612 w 390296"/>
                <a:gd name="connsiteY1" fmla="*/ 0 h 574333"/>
                <a:gd name="connsiteX2" fmla="*/ 390296 w 390296"/>
                <a:gd name="connsiteY2" fmla="*/ 2833 h 574333"/>
                <a:gd name="connsiteX3" fmla="*/ 390296 w 390296"/>
                <a:gd name="connsiteY3" fmla="*/ 574333 h 574333"/>
                <a:gd name="connsiteX4" fmla="*/ 0 w 390296"/>
                <a:gd name="connsiteY4" fmla="*/ 574333 h 574333"/>
                <a:gd name="connsiteX5" fmla="*/ 0 w 390296"/>
                <a:gd name="connsiteY5" fmla="*/ 2833 h 574333"/>
                <a:gd name="connsiteX0" fmla="*/ 0 w 390296"/>
                <a:gd name="connsiteY0" fmla="*/ 57601 h 629101"/>
                <a:gd name="connsiteX1" fmla="*/ 188850 w 390296"/>
                <a:gd name="connsiteY1" fmla="*/ 0 h 629101"/>
                <a:gd name="connsiteX2" fmla="*/ 390296 w 390296"/>
                <a:gd name="connsiteY2" fmla="*/ 57601 h 629101"/>
                <a:gd name="connsiteX3" fmla="*/ 390296 w 390296"/>
                <a:gd name="connsiteY3" fmla="*/ 629101 h 629101"/>
                <a:gd name="connsiteX4" fmla="*/ 0 w 390296"/>
                <a:gd name="connsiteY4" fmla="*/ 629101 h 629101"/>
                <a:gd name="connsiteX5" fmla="*/ 0 w 390296"/>
                <a:gd name="connsiteY5" fmla="*/ 57601 h 629101"/>
                <a:gd name="connsiteX0" fmla="*/ 0 w 390296"/>
                <a:gd name="connsiteY0" fmla="*/ 57601 h 629101"/>
                <a:gd name="connsiteX1" fmla="*/ 188850 w 390296"/>
                <a:gd name="connsiteY1" fmla="*/ 0 h 629101"/>
                <a:gd name="connsiteX2" fmla="*/ 390296 w 390296"/>
                <a:gd name="connsiteY2" fmla="*/ 57601 h 629101"/>
                <a:gd name="connsiteX3" fmla="*/ 388874 w 390296"/>
                <a:gd name="connsiteY3" fmla="*/ 328612 h 629101"/>
                <a:gd name="connsiteX4" fmla="*/ 390296 w 390296"/>
                <a:gd name="connsiteY4" fmla="*/ 629101 h 629101"/>
                <a:gd name="connsiteX5" fmla="*/ 0 w 390296"/>
                <a:gd name="connsiteY5" fmla="*/ 629101 h 629101"/>
                <a:gd name="connsiteX6" fmla="*/ 0 w 390296"/>
                <a:gd name="connsiteY6" fmla="*/ 57601 h 629101"/>
                <a:gd name="connsiteX0" fmla="*/ 1651 w 391947"/>
                <a:gd name="connsiteY0" fmla="*/ 57601 h 629101"/>
                <a:gd name="connsiteX1" fmla="*/ 190501 w 391947"/>
                <a:gd name="connsiteY1" fmla="*/ 0 h 629101"/>
                <a:gd name="connsiteX2" fmla="*/ 391947 w 391947"/>
                <a:gd name="connsiteY2" fmla="*/ 57601 h 629101"/>
                <a:gd name="connsiteX3" fmla="*/ 390525 w 391947"/>
                <a:gd name="connsiteY3" fmla="*/ 328612 h 629101"/>
                <a:gd name="connsiteX4" fmla="*/ 391947 w 391947"/>
                <a:gd name="connsiteY4" fmla="*/ 629101 h 629101"/>
                <a:gd name="connsiteX5" fmla="*/ 1651 w 391947"/>
                <a:gd name="connsiteY5" fmla="*/ 629101 h 629101"/>
                <a:gd name="connsiteX6" fmla="*/ 0 w 391947"/>
                <a:gd name="connsiteY6" fmla="*/ 311944 h 629101"/>
                <a:gd name="connsiteX7" fmla="*/ 1651 w 391947"/>
                <a:gd name="connsiteY7" fmla="*/ 57601 h 629101"/>
                <a:gd name="connsiteX0" fmla="*/ 1651 w 391947"/>
                <a:gd name="connsiteY0" fmla="*/ 57601 h 629101"/>
                <a:gd name="connsiteX1" fmla="*/ 190501 w 391947"/>
                <a:gd name="connsiteY1" fmla="*/ 0 h 629101"/>
                <a:gd name="connsiteX2" fmla="*/ 391947 w 391947"/>
                <a:gd name="connsiteY2" fmla="*/ 57601 h 629101"/>
                <a:gd name="connsiteX3" fmla="*/ 390525 w 391947"/>
                <a:gd name="connsiteY3" fmla="*/ 328612 h 629101"/>
                <a:gd name="connsiteX4" fmla="*/ 391947 w 391947"/>
                <a:gd name="connsiteY4" fmla="*/ 629101 h 629101"/>
                <a:gd name="connsiteX5" fmla="*/ 0 w 391947"/>
                <a:gd name="connsiteY5" fmla="*/ 311944 h 629101"/>
                <a:gd name="connsiteX6" fmla="*/ 1651 w 391947"/>
                <a:gd name="connsiteY6" fmla="*/ 57601 h 629101"/>
                <a:gd name="connsiteX0" fmla="*/ 1651 w 391947"/>
                <a:gd name="connsiteY0" fmla="*/ 57601 h 328612"/>
                <a:gd name="connsiteX1" fmla="*/ 190501 w 391947"/>
                <a:gd name="connsiteY1" fmla="*/ 0 h 328612"/>
                <a:gd name="connsiteX2" fmla="*/ 391947 w 391947"/>
                <a:gd name="connsiteY2" fmla="*/ 57601 h 328612"/>
                <a:gd name="connsiteX3" fmla="*/ 390525 w 391947"/>
                <a:gd name="connsiteY3" fmla="*/ 328612 h 328612"/>
                <a:gd name="connsiteX4" fmla="*/ 0 w 391947"/>
                <a:gd name="connsiteY4" fmla="*/ 311944 h 328612"/>
                <a:gd name="connsiteX5" fmla="*/ 1651 w 391947"/>
                <a:gd name="connsiteY5" fmla="*/ 57601 h 328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1947" h="328612">
                  <a:moveTo>
                    <a:pt x="1651" y="57601"/>
                  </a:moveTo>
                  <a:lnTo>
                    <a:pt x="190501" y="0"/>
                  </a:lnTo>
                  <a:lnTo>
                    <a:pt x="391947" y="57601"/>
                  </a:lnTo>
                  <a:lnTo>
                    <a:pt x="390525" y="328612"/>
                  </a:lnTo>
                  <a:lnTo>
                    <a:pt x="0" y="311944"/>
                  </a:lnTo>
                  <a:cubicBezTo>
                    <a:pt x="550" y="227163"/>
                    <a:pt x="1101" y="142382"/>
                    <a:pt x="1651" y="57601"/>
                  </a:cubicBezTo>
                  <a:close/>
                </a:path>
              </a:pathLst>
            </a:cu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3" name="Freeform 52"/>
            <p:cNvSpPr/>
            <p:nvPr/>
          </p:nvSpPr>
          <p:spPr bwMode="auto">
            <a:xfrm>
              <a:off x="7834004" y="3978496"/>
              <a:ext cx="446385" cy="770730"/>
            </a:xfrm>
            <a:custGeom>
              <a:avLst/>
              <a:gdLst>
                <a:gd name="connsiteX0" fmla="*/ 0 w 608801"/>
                <a:gd name="connsiteY0" fmla="*/ 0 h 1019175"/>
                <a:gd name="connsiteX1" fmla="*/ 225692 w 608801"/>
                <a:gd name="connsiteY1" fmla="*/ 0 h 1019175"/>
                <a:gd name="connsiteX2" fmla="*/ 225420 w 608801"/>
                <a:gd name="connsiteY2" fmla="*/ 2381 h 1019175"/>
                <a:gd name="connsiteX3" fmla="*/ 306382 w 608801"/>
                <a:gd name="connsiteY3" fmla="*/ 569119 h 1019175"/>
                <a:gd name="connsiteX4" fmla="*/ 347756 w 608801"/>
                <a:gd name="connsiteY4" fmla="*/ 283964 h 1019175"/>
                <a:gd name="connsiteX5" fmla="*/ 379666 w 608801"/>
                <a:gd name="connsiteY5" fmla="*/ 0 h 1019175"/>
                <a:gd name="connsiteX6" fmla="*/ 608801 w 608801"/>
                <a:gd name="connsiteY6" fmla="*/ 0 h 1019175"/>
                <a:gd name="connsiteX7" fmla="*/ 608801 w 608801"/>
                <a:gd name="connsiteY7" fmla="*/ 1019175 h 1019175"/>
                <a:gd name="connsiteX8" fmla="*/ 0 w 608801"/>
                <a:gd name="connsiteY8" fmla="*/ 1019175 h 1019175"/>
                <a:gd name="connsiteX0" fmla="*/ 0 w 608801"/>
                <a:gd name="connsiteY0" fmla="*/ 0 h 1019175"/>
                <a:gd name="connsiteX1" fmla="*/ 225692 w 608801"/>
                <a:gd name="connsiteY1" fmla="*/ 0 h 1019175"/>
                <a:gd name="connsiteX2" fmla="*/ 225420 w 608801"/>
                <a:gd name="connsiteY2" fmla="*/ 2381 h 1019175"/>
                <a:gd name="connsiteX3" fmla="*/ 306382 w 608801"/>
                <a:gd name="connsiteY3" fmla="*/ 569119 h 1019175"/>
                <a:gd name="connsiteX4" fmla="*/ 347756 w 608801"/>
                <a:gd name="connsiteY4" fmla="*/ 283964 h 1019175"/>
                <a:gd name="connsiteX5" fmla="*/ 379666 w 608801"/>
                <a:gd name="connsiteY5" fmla="*/ 0 h 1019175"/>
                <a:gd name="connsiteX6" fmla="*/ 608801 w 608801"/>
                <a:gd name="connsiteY6" fmla="*/ 0 h 1019175"/>
                <a:gd name="connsiteX7" fmla="*/ 608801 w 608801"/>
                <a:gd name="connsiteY7" fmla="*/ 1019175 h 1019175"/>
                <a:gd name="connsiteX8" fmla="*/ 0 w 608801"/>
                <a:gd name="connsiteY8" fmla="*/ 1019175 h 1019175"/>
                <a:gd name="connsiteX9" fmla="*/ 0 w 608801"/>
                <a:gd name="connsiteY9" fmla="*/ 0 h 1019175"/>
                <a:gd name="connsiteX0" fmla="*/ 0 w 608801"/>
                <a:gd name="connsiteY0" fmla="*/ 28575 h 1047750"/>
                <a:gd name="connsiteX1" fmla="*/ 225692 w 608801"/>
                <a:gd name="connsiteY1" fmla="*/ 28575 h 1047750"/>
                <a:gd name="connsiteX2" fmla="*/ 225420 w 608801"/>
                <a:gd name="connsiteY2" fmla="*/ 30956 h 1047750"/>
                <a:gd name="connsiteX3" fmla="*/ 306382 w 608801"/>
                <a:gd name="connsiteY3" fmla="*/ 597694 h 1047750"/>
                <a:gd name="connsiteX4" fmla="*/ 347756 w 608801"/>
                <a:gd name="connsiteY4" fmla="*/ 312539 h 1047750"/>
                <a:gd name="connsiteX5" fmla="*/ 432054 w 608801"/>
                <a:gd name="connsiteY5" fmla="*/ 0 h 1047750"/>
                <a:gd name="connsiteX6" fmla="*/ 608801 w 608801"/>
                <a:gd name="connsiteY6" fmla="*/ 28575 h 1047750"/>
                <a:gd name="connsiteX7" fmla="*/ 608801 w 608801"/>
                <a:gd name="connsiteY7" fmla="*/ 1047750 h 1047750"/>
                <a:gd name="connsiteX8" fmla="*/ 0 w 608801"/>
                <a:gd name="connsiteY8" fmla="*/ 1047750 h 1047750"/>
                <a:gd name="connsiteX9" fmla="*/ 0 w 608801"/>
                <a:gd name="connsiteY9" fmla="*/ 28575 h 1047750"/>
                <a:gd name="connsiteX0" fmla="*/ 0 w 608801"/>
                <a:gd name="connsiteY0" fmla="*/ 28575 h 1047750"/>
                <a:gd name="connsiteX1" fmla="*/ 225692 w 608801"/>
                <a:gd name="connsiteY1" fmla="*/ 28575 h 1047750"/>
                <a:gd name="connsiteX2" fmla="*/ 306382 w 608801"/>
                <a:gd name="connsiteY2" fmla="*/ 597694 h 1047750"/>
                <a:gd name="connsiteX3" fmla="*/ 347756 w 608801"/>
                <a:gd name="connsiteY3" fmla="*/ 312539 h 1047750"/>
                <a:gd name="connsiteX4" fmla="*/ 432054 w 608801"/>
                <a:gd name="connsiteY4" fmla="*/ 0 h 1047750"/>
                <a:gd name="connsiteX5" fmla="*/ 608801 w 608801"/>
                <a:gd name="connsiteY5" fmla="*/ 28575 h 1047750"/>
                <a:gd name="connsiteX6" fmla="*/ 608801 w 608801"/>
                <a:gd name="connsiteY6" fmla="*/ 1047750 h 1047750"/>
                <a:gd name="connsiteX7" fmla="*/ 0 w 608801"/>
                <a:gd name="connsiteY7" fmla="*/ 1047750 h 1047750"/>
                <a:gd name="connsiteX8" fmla="*/ 0 w 608801"/>
                <a:gd name="connsiteY8" fmla="*/ 28575 h 1047750"/>
                <a:gd name="connsiteX0" fmla="*/ 0 w 608801"/>
                <a:gd name="connsiteY0" fmla="*/ 30956 h 1050131"/>
                <a:gd name="connsiteX1" fmla="*/ 213786 w 608801"/>
                <a:gd name="connsiteY1" fmla="*/ 0 h 1050131"/>
                <a:gd name="connsiteX2" fmla="*/ 306382 w 608801"/>
                <a:gd name="connsiteY2" fmla="*/ 600075 h 1050131"/>
                <a:gd name="connsiteX3" fmla="*/ 347756 w 608801"/>
                <a:gd name="connsiteY3" fmla="*/ 314920 h 1050131"/>
                <a:gd name="connsiteX4" fmla="*/ 432054 w 608801"/>
                <a:gd name="connsiteY4" fmla="*/ 2381 h 1050131"/>
                <a:gd name="connsiteX5" fmla="*/ 608801 w 608801"/>
                <a:gd name="connsiteY5" fmla="*/ 30956 h 1050131"/>
                <a:gd name="connsiteX6" fmla="*/ 608801 w 608801"/>
                <a:gd name="connsiteY6" fmla="*/ 1050131 h 1050131"/>
                <a:gd name="connsiteX7" fmla="*/ 0 w 608801"/>
                <a:gd name="connsiteY7" fmla="*/ 1050131 h 1050131"/>
                <a:gd name="connsiteX8" fmla="*/ 0 w 608801"/>
                <a:gd name="connsiteY8" fmla="*/ 30956 h 1050131"/>
                <a:gd name="connsiteX0" fmla="*/ 0 w 608801"/>
                <a:gd name="connsiteY0" fmla="*/ 30956 h 1050131"/>
                <a:gd name="connsiteX1" fmla="*/ 213786 w 608801"/>
                <a:gd name="connsiteY1" fmla="*/ 0 h 1050131"/>
                <a:gd name="connsiteX2" fmla="*/ 306382 w 608801"/>
                <a:gd name="connsiteY2" fmla="*/ 600075 h 1050131"/>
                <a:gd name="connsiteX3" fmla="*/ 347756 w 608801"/>
                <a:gd name="connsiteY3" fmla="*/ 314920 h 1050131"/>
                <a:gd name="connsiteX4" fmla="*/ 432054 w 608801"/>
                <a:gd name="connsiteY4" fmla="*/ 2381 h 1050131"/>
                <a:gd name="connsiteX5" fmla="*/ 589751 w 608801"/>
                <a:gd name="connsiteY5" fmla="*/ 26194 h 1050131"/>
                <a:gd name="connsiteX6" fmla="*/ 608801 w 608801"/>
                <a:gd name="connsiteY6" fmla="*/ 1050131 h 1050131"/>
                <a:gd name="connsiteX7" fmla="*/ 0 w 608801"/>
                <a:gd name="connsiteY7" fmla="*/ 1050131 h 1050131"/>
                <a:gd name="connsiteX8" fmla="*/ 0 w 608801"/>
                <a:gd name="connsiteY8" fmla="*/ 30956 h 1050131"/>
                <a:gd name="connsiteX0" fmla="*/ 64294 w 608801"/>
                <a:gd name="connsiteY0" fmla="*/ 26193 h 1050131"/>
                <a:gd name="connsiteX1" fmla="*/ 213786 w 608801"/>
                <a:gd name="connsiteY1" fmla="*/ 0 h 1050131"/>
                <a:gd name="connsiteX2" fmla="*/ 306382 w 608801"/>
                <a:gd name="connsiteY2" fmla="*/ 600075 h 1050131"/>
                <a:gd name="connsiteX3" fmla="*/ 347756 w 608801"/>
                <a:gd name="connsiteY3" fmla="*/ 314920 h 1050131"/>
                <a:gd name="connsiteX4" fmla="*/ 432054 w 608801"/>
                <a:gd name="connsiteY4" fmla="*/ 2381 h 1050131"/>
                <a:gd name="connsiteX5" fmla="*/ 589751 w 608801"/>
                <a:gd name="connsiteY5" fmla="*/ 26194 h 1050131"/>
                <a:gd name="connsiteX6" fmla="*/ 608801 w 608801"/>
                <a:gd name="connsiteY6" fmla="*/ 1050131 h 1050131"/>
                <a:gd name="connsiteX7" fmla="*/ 0 w 608801"/>
                <a:gd name="connsiteY7" fmla="*/ 1050131 h 1050131"/>
                <a:gd name="connsiteX8" fmla="*/ 64294 w 608801"/>
                <a:gd name="connsiteY8" fmla="*/ 26193 h 1050131"/>
                <a:gd name="connsiteX0" fmla="*/ 0 w 544507"/>
                <a:gd name="connsiteY0" fmla="*/ 26193 h 1050131"/>
                <a:gd name="connsiteX1" fmla="*/ 149492 w 544507"/>
                <a:gd name="connsiteY1" fmla="*/ 0 h 1050131"/>
                <a:gd name="connsiteX2" fmla="*/ 242088 w 544507"/>
                <a:gd name="connsiteY2" fmla="*/ 600075 h 1050131"/>
                <a:gd name="connsiteX3" fmla="*/ 283462 w 544507"/>
                <a:gd name="connsiteY3" fmla="*/ 314920 h 1050131"/>
                <a:gd name="connsiteX4" fmla="*/ 367760 w 544507"/>
                <a:gd name="connsiteY4" fmla="*/ 2381 h 1050131"/>
                <a:gd name="connsiteX5" fmla="*/ 525457 w 544507"/>
                <a:gd name="connsiteY5" fmla="*/ 26194 h 1050131"/>
                <a:gd name="connsiteX6" fmla="*/ 544507 w 544507"/>
                <a:gd name="connsiteY6" fmla="*/ 1050131 h 1050131"/>
                <a:gd name="connsiteX7" fmla="*/ 14287 w 544507"/>
                <a:gd name="connsiteY7" fmla="*/ 900112 h 1050131"/>
                <a:gd name="connsiteX8" fmla="*/ 0 w 544507"/>
                <a:gd name="connsiteY8" fmla="*/ 26193 h 1050131"/>
                <a:gd name="connsiteX0" fmla="*/ 0 w 525457"/>
                <a:gd name="connsiteY0" fmla="*/ 26193 h 902493"/>
                <a:gd name="connsiteX1" fmla="*/ 149492 w 525457"/>
                <a:gd name="connsiteY1" fmla="*/ 0 h 902493"/>
                <a:gd name="connsiteX2" fmla="*/ 242088 w 525457"/>
                <a:gd name="connsiteY2" fmla="*/ 600075 h 902493"/>
                <a:gd name="connsiteX3" fmla="*/ 283462 w 525457"/>
                <a:gd name="connsiteY3" fmla="*/ 314920 h 902493"/>
                <a:gd name="connsiteX4" fmla="*/ 367760 w 525457"/>
                <a:gd name="connsiteY4" fmla="*/ 2381 h 902493"/>
                <a:gd name="connsiteX5" fmla="*/ 525457 w 525457"/>
                <a:gd name="connsiteY5" fmla="*/ 26194 h 902493"/>
                <a:gd name="connsiteX6" fmla="*/ 511169 w 525457"/>
                <a:gd name="connsiteY6" fmla="*/ 902493 h 902493"/>
                <a:gd name="connsiteX7" fmla="*/ 14287 w 525457"/>
                <a:gd name="connsiteY7" fmla="*/ 900112 h 902493"/>
                <a:gd name="connsiteX8" fmla="*/ 0 w 525457"/>
                <a:gd name="connsiteY8" fmla="*/ 26193 h 902493"/>
                <a:gd name="connsiteX0" fmla="*/ 0 w 525457"/>
                <a:gd name="connsiteY0" fmla="*/ 26193 h 902493"/>
                <a:gd name="connsiteX1" fmla="*/ 149492 w 525457"/>
                <a:gd name="connsiteY1" fmla="*/ 0 h 902493"/>
                <a:gd name="connsiteX2" fmla="*/ 283462 w 525457"/>
                <a:gd name="connsiteY2" fmla="*/ 314920 h 902493"/>
                <a:gd name="connsiteX3" fmla="*/ 367760 w 525457"/>
                <a:gd name="connsiteY3" fmla="*/ 2381 h 902493"/>
                <a:gd name="connsiteX4" fmla="*/ 525457 w 525457"/>
                <a:gd name="connsiteY4" fmla="*/ 26194 h 902493"/>
                <a:gd name="connsiteX5" fmla="*/ 511169 w 525457"/>
                <a:gd name="connsiteY5" fmla="*/ 902493 h 902493"/>
                <a:gd name="connsiteX6" fmla="*/ 14287 w 525457"/>
                <a:gd name="connsiteY6" fmla="*/ 900112 h 902493"/>
                <a:gd name="connsiteX7" fmla="*/ 0 w 525457"/>
                <a:gd name="connsiteY7" fmla="*/ 26193 h 902493"/>
                <a:gd name="connsiteX0" fmla="*/ 0 w 525457"/>
                <a:gd name="connsiteY0" fmla="*/ 26193 h 902493"/>
                <a:gd name="connsiteX1" fmla="*/ 149492 w 525457"/>
                <a:gd name="connsiteY1" fmla="*/ 0 h 902493"/>
                <a:gd name="connsiteX2" fmla="*/ 264412 w 525457"/>
                <a:gd name="connsiteY2" fmla="*/ 172045 h 902493"/>
                <a:gd name="connsiteX3" fmla="*/ 367760 w 525457"/>
                <a:gd name="connsiteY3" fmla="*/ 2381 h 902493"/>
                <a:gd name="connsiteX4" fmla="*/ 525457 w 525457"/>
                <a:gd name="connsiteY4" fmla="*/ 26194 h 902493"/>
                <a:gd name="connsiteX5" fmla="*/ 511169 w 525457"/>
                <a:gd name="connsiteY5" fmla="*/ 902493 h 902493"/>
                <a:gd name="connsiteX6" fmla="*/ 14287 w 525457"/>
                <a:gd name="connsiteY6" fmla="*/ 900112 h 902493"/>
                <a:gd name="connsiteX7" fmla="*/ 0 w 525457"/>
                <a:gd name="connsiteY7" fmla="*/ 26193 h 902493"/>
                <a:gd name="connsiteX0" fmla="*/ 0 w 525457"/>
                <a:gd name="connsiteY0" fmla="*/ 26193 h 902493"/>
                <a:gd name="connsiteX1" fmla="*/ 149492 w 525457"/>
                <a:gd name="connsiteY1" fmla="*/ 0 h 902493"/>
                <a:gd name="connsiteX2" fmla="*/ 264412 w 525457"/>
                <a:gd name="connsiteY2" fmla="*/ 172045 h 902493"/>
                <a:gd name="connsiteX3" fmla="*/ 367760 w 525457"/>
                <a:gd name="connsiteY3" fmla="*/ 2381 h 902493"/>
                <a:gd name="connsiteX4" fmla="*/ 525457 w 525457"/>
                <a:gd name="connsiteY4" fmla="*/ 26194 h 902493"/>
                <a:gd name="connsiteX5" fmla="*/ 511169 w 525457"/>
                <a:gd name="connsiteY5" fmla="*/ 902493 h 902493"/>
                <a:gd name="connsiteX6" fmla="*/ 14287 w 525457"/>
                <a:gd name="connsiteY6" fmla="*/ 900112 h 902493"/>
                <a:gd name="connsiteX7" fmla="*/ 0 w 525457"/>
                <a:gd name="connsiteY7" fmla="*/ 26193 h 902493"/>
                <a:gd name="connsiteX0" fmla="*/ 0 w 525457"/>
                <a:gd name="connsiteY0" fmla="*/ 26193 h 902493"/>
                <a:gd name="connsiteX1" fmla="*/ 149492 w 525457"/>
                <a:gd name="connsiteY1" fmla="*/ 0 h 902493"/>
                <a:gd name="connsiteX2" fmla="*/ 257268 w 525457"/>
                <a:gd name="connsiteY2" fmla="*/ 174427 h 902493"/>
                <a:gd name="connsiteX3" fmla="*/ 367760 w 525457"/>
                <a:gd name="connsiteY3" fmla="*/ 2381 h 902493"/>
                <a:gd name="connsiteX4" fmla="*/ 525457 w 525457"/>
                <a:gd name="connsiteY4" fmla="*/ 26194 h 902493"/>
                <a:gd name="connsiteX5" fmla="*/ 511169 w 525457"/>
                <a:gd name="connsiteY5" fmla="*/ 902493 h 902493"/>
                <a:gd name="connsiteX6" fmla="*/ 14287 w 525457"/>
                <a:gd name="connsiteY6" fmla="*/ 900112 h 902493"/>
                <a:gd name="connsiteX7" fmla="*/ 0 w 525457"/>
                <a:gd name="connsiteY7" fmla="*/ 26193 h 902493"/>
                <a:gd name="connsiteX0" fmla="*/ 0 w 525457"/>
                <a:gd name="connsiteY0" fmla="*/ 26193 h 902493"/>
                <a:gd name="connsiteX1" fmla="*/ 149492 w 525457"/>
                <a:gd name="connsiteY1" fmla="*/ 0 h 902493"/>
                <a:gd name="connsiteX2" fmla="*/ 257268 w 525457"/>
                <a:gd name="connsiteY2" fmla="*/ 174427 h 902493"/>
                <a:gd name="connsiteX3" fmla="*/ 367760 w 525457"/>
                <a:gd name="connsiteY3" fmla="*/ 2381 h 902493"/>
                <a:gd name="connsiteX4" fmla="*/ 525457 w 525457"/>
                <a:gd name="connsiteY4" fmla="*/ 26194 h 902493"/>
                <a:gd name="connsiteX5" fmla="*/ 511169 w 525457"/>
                <a:gd name="connsiteY5" fmla="*/ 902493 h 902493"/>
                <a:gd name="connsiteX6" fmla="*/ 14287 w 525457"/>
                <a:gd name="connsiteY6" fmla="*/ 900112 h 902493"/>
                <a:gd name="connsiteX7" fmla="*/ 0 w 525457"/>
                <a:gd name="connsiteY7" fmla="*/ 26193 h 902493"/>
                <a:gd name="connsiteX0" fmla="*/ 0 w 525457"/>
                <a:gd name="connsiteY0" fmla="*/ 30955 h 907255"/>
                <a:gd name="connsiteX1" fmla="*/ 149492 w 525457"/>
                <a:gd name="connsiteY1" fmla="*/ 0 h 907255"/>
                <a:gd name="connsiteX2" fmla="*/ 257268 w 525457"/>
                <a:gd name="connsiteY2" fmla="*/ 179189 h 907255"/>
                <a:gd name="connsiteX3" fmla="*/ 367760 w 525457"/>
                <a:gd name="connsiteY3" fmla="*/ 7143 h 907255"/>
                <a:gd name="connsiteX4" fmla="*/ 525457 w 525457"/>
                <a:gd name="connsiteY4" fmla="*/ 30956 h 907255"/>
                <a:gd name="connsiteX5" fmla="*/ 511169 w 525457"/>
                <a:gd name="connsiteY5" fmla="*/ 907255 h 907255"/>
                <a:gd name="connsiteX6" fmla="*/ 14287 w 525457"/>
                <a:gd name="connsiteY6" fmla="*/ 904874 h 907255"/>
                <a:gd name="connsiteX7" fmla="*/ 0 w 525457"/>
                <a:gd name="connsiteY7" fmla="*/ 30955 h 907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5457" h="907255">
                  <a:moveTo>
                    <a:pt x="0" y="30955"/>
                  </a:moveTo>
                  <a:lnTo>
                    <a:pt x="149492" y="0"/>
                  </a:lnTo>
                  <a:cubicBezTo>
                    <a:pt x="196736" y="48121"/>
                    <a:pt x="199808" y="93166"/>
                    <a:pt x="257268" y="179189"/>
                  </a:cubicBezTo>
                  <a:lnTo>
                    <a:pt x="367760" y="7143"/>
                  </a:lnTo>
                  <a:lnTo>
                    <a:pt x="525457" y="30956"/>
                  </a:lnTo>
                  <a:lnTo>
                    <a:pt x="511169" y="907255"/>
                  </a:lnTo>
                  <a:lnTo>
                    <a:pt x="14287" y="904874"/>
                  </a:lnTo>
                  <a:lnTo>
                    <a:pt x="0" y="30955"/>
                  </a:lnTo>
                  <a:close/>
                </a:path>
              </a:pathLst>
            </a:custGeom>
            <a:solidFill>
              <a:srgbClr val="AB0086"/>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4" name="Freeform 53"/>
            <p:cNvSpPr/>
            <p:nvPr/>
          </p:nvSpPr>
          <p:spPr bwMode="auto">
            <a:xfrm rot="5400000">
              <a:off x="7888615" y="3674338"/>
              <a:ext cx="333779" cy="262978"/>
            </a:xfrm>
            <a:custGeom>
              <a:avLst/>
              <a:gdLst>
                <a:gd name="connsiteX0" fmla="*/ 0 w 392904"/>
                <a:gd name="connsiteY0" fmla="*/ 184191 h 309562"/>
                <a:gd name="connsiteX1" fmla="*/ 0 w 392904"/>
                <a:gd name="connsiteY1" fmla="*/ 125371 h 309562"/>
                <a:gd name="connsiteX2" fmla="*/ 95323 w 392904"/>
                <a:gd name="connsiteY2" fmla="*/ 30048 h 309562"/>
                <a:gd name="connsiteX3" fmla="*/ 107911 w 392904"/>
                <a:gd name="connsiteY3" fmla="*/ 30048 h 309562"/>
                <a:gd name="connsiteX4" fmla="*/ 116458 w 392904"/>
                <a:gd name="connsiteY4" fmla="*/ 9416 h 309562"/>
                <a:gd name="connsiteX5" fmla="*/ 139189 w 392904"/>
                <a:gd name="connsiteY5" fmla="*/ 0 h 309562"/>
                <a:gd name="connsiteX6" fmla="*/ 182279 w 392904"/>
                <a:gd name="connsiteY6" fmla="*/ 0 h 309562"/>
                <a:gd name="connsiteX7" fmla="*/ 205010 w 392904"/>
                <a:gd name="connsiteY7" fmla="*/ 9416 h 309562"/>
                <a:gd name="connsiteX8" fmla="*/ 213557 w 392904"/>
                <a:gd name="connsiteY8" fmla="*/ 30048 h 309562"/>
                <a:gd name="connsiteX9" fmla="*/ 252339 w 392904"/>
                <a:gd name="connsiteY9" fmla="*/ 30048 h 309562"/>
                <a:gd name="connsiteX10" fmla="*/ 319742 w 392904"/>
                <a:gd name="connsiteY10" fmla="*/ 57968 h 309562"/>
                <a:gd name="connsiteX11" fmla="*/ 336441 w 392904"/>
                <a:gd name="connsiteY11" fmla="*/ 82735 h 309562"/>
                <a:gd name="connsiteX12" fmla="*/ 357186 w 392904"/>
                <a:gd name="connsiteY12" fmla="*/ 80848 h 309562"/>
                <a:gd name="connsiteX13" fmla="*/ 392904 w 392904"/>
                <a:gd name="connsiteY13" fmla="*/ 152286 h 309562"/>
                <a:gd name="connsiteX14" fmla="*/ 357186 w 392904"/>
                <a:gd name="connsiteY14" fmla="*/ 235629 h 309562"/>
                <a:gd name="connsiteX15" fmla="*/ 330992 w 392904"/>
                <a:gd name="connsiteY15" fmla="*/ 235629 h 309562"/>
                <a:gd name="connsiteX16" fmla="*/ 330992 w 392904"/>
                <a:gd name="connsiteY16" fmla="*/ 234909 h 309562"/>
                <a:gd name="connsiteX17" fmla="*/ 319742 w 392904"/>
                <a:gd name="connsiteY17" fmla="*/ 251594 h 309562"/>
                <a:gd name="connsiteX18" fmla="*/ 252339 w 392904"/>
                <a:gd name="connsiteY18" fmla="*/ 279514 h 309562"/>
                <a:gd name="connsiteX19" fmla="*/ 213557 w 392904"/>
                <a:gd name="connsiteY19" fmla="*/ 279514 h 309562"/>
                <a:gd name="connsiteX20" fmla="*/ 205010 w 392904"/>
                <a:gd name="connsiteY20" fmla="*/ 300146 h 309562"/>
                <a:gd name="connsiteX21" fmla="*/ 182279 w 392904"/>
                <a:gd name="connsiteY21" fmla="*/ 309562 h 309562"/>
                <a:gd name="connsiteX22" fmla="*/ 139189 w 392904"/>
                <a:gd name="connsiteY22" fmla="*/ 309562 h 309562"/>
                <a:gd name="connsiteX23" fmla="*/ 116458 w 392904"/>
                <a:gd name="connsiteY23" fmla="*/ 300146 h 309562"/>
                <a:gd name="connsiteX24" fmla="*/ 107911 w 392904"/>
                <a:gd name="connsiteY24" fmla="*/ 279514 h 309562"/>
                <a:gd name="connsiteX25" fmla="*/ 95323 w 392904"/>
                <a:gd name="connsiteY25" fmla="*/ 279514 h 309562"/>
                <a:gd name="connsiteX26" fmla="*/ 0 w 392904"/>
                <a:gd name="connsiteY26" fmla="*/ 184191 h 309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92904" h="309562">
                  <a:moveTo>
                    <a:pt x="0" y="184191"/>
                  </a:moveTo>
                  <a:lnTo>
                    <a:pt x="0" y="125371"/>
                  </a:lnTo>
                  <a:cubicBezTo>
                    <a:pt x="0" y="72726"/>
                    <a:pt x="42678" y="30048"/>
                    <a:pt x="95323" y="30048"/>
                  </a:cubicBezTo>
                  <a:lnTo>
                    <a:pt x="107911" y="30048"/>
                  </a:lnTo>
                  <a:lnTo>
                    <a:pt x="116458" y="9416"/>
                  </a:lnTo>
                  <a:cubicBezTo>
                    <a:pt x="122275" y="3598"/>
                    <a:pt x="130312" y="0"/>
                    <a:pt x="139189" y="0"/>
                  </a:cubicBezTo>
                  <a:lnTo>
                    <a:pt x="182279" y="0"/>
                  </a:lnTo>
                  <a:cubicBezTo>
                    <a:pt x="191156" y="0"/>
                    <a:pt x="199193" y="3598"/>
                    <a:pt x="205010" y="9416"/>
                  </a:cubicBezTo>
                  <a:lnTo>
                    <a:pt x="213557" y="30048"/>
                  </a:lnTo>
                  <a:lnTo>
                    <a:pt x="252339" y="30048"/>
                  </a:lnTo>
                  <a:cubicBezTo>
                    <a:pt x="278662" y="30048"/>
                    <a:pt x="302492" y="40718"/>
                    <a:pt x="319742" y="57968"/>
                  </a:cubicBezTo>
                  <a:lnTo>
                    <a:pt x="336441" y="82735"/>
                  </a:lnTo>
                  <a:lnTo>
                    <a:pt x="357186" y="80848"/>
                  </a:lnTo>
                  <a:lnTo>
                    <a:pt x="392904" y="152286"/>
                  </a:lnTo>
                  <a:lnTo>
                    <a:pt x="357186" y="235629"/>
                  </a:lnTo>
                  <a:lnTo>
                    <a:pt x="330992" y="235629"/>
                  </a:lnTo>
                  <a:lnTo>
                    <a:pt x="330992" y="234909"/>
                  </a:lnTo>
                  <a:lnTo>
                    <a:pt x="319742" y="251594"/>
                  </a:lnTo>
                  <a:cubicBezTo>
                    <a:pt x="302492" y="268845"/>
                    <a:pt x="278662" y="279514"/>
                    <a:pt x="252339" y="279514"/>
                  </a:cubicBezTo>
                  <a:lnTo>
                    <a:pt x="213557" y="279514"/>
                  </a:lnTo>
                  <a:lnTo>
                    <a:pt x="205010" y="300146"/>
                  </a:lnTo>
                  <a:cubicBezTo>
                    <a:pt x="199193" y="305964"/>
                    <a:pt x="191156" y="309562"/>
                    <a:pt x="182279" y="309562"/>
                  </a:cubicBezTo>
                  <a:lnTo>
                    <a:pt x="139189" y="309562"/>
                  </a:lnTo>
                  <a:cubicBezTo>
                    <a:pt x="130312" y="309562"/>
                    <a:pt x="122275" y="305964"/>
                    <a:pt x="116458" y="300146"/>
                  </a:cubicBezTo>
                  <a:lnTo>
                    <a:pt x="107911" y="279514"/>
                  </a:lnTo>
                  <a:lnTo>
                    <a:pt x="95323" y="279514"/>
                  </a:lnTo>
                  <a:cubicBezTo>
                    <a:pt x="42678" y="279514"/>
                    <a:pt x="0" y="236836"/>
                    <a:pt x="0" y="184191"/>
                  </a:cubicBezTo>
                  <a:close/>
                </a:path>
              </a:pathLst>
            </a:custGeom>
            <a:solidFill>
              <a:srgbClr val="FFC0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 name="Freeform 54"/>
            <p:cNvSpPr/>
            <p:nvPr/>
          </p:nvSpPr>
          <p:spPr bwMode="auto">
            <a:xfrm>
              <a:off x="7925757" y="3592066"/>
              <a:ext cx="256474" cy="166221"/>
            </a:xfrm>
            <a:custGeom>
              <a:avLst/>
              <a:gdLst>
                <a:gd name="connsiteX0" fmla="*/ 300038 w 300038"/>
                <a:gd name="connsiteY0" fmla="*/ 190500 h 190500"/>
                <a:gd name="connsiteX1" fmla="*/ 271463 w 300038"/>
                <a:gd name="connsiteY1" fmla="*/ 116681 h 190500"/>
                <a:gd name="connsiteX2" fmla="*/ 195263 w 300038"/>
                <a:gd name="connsiteY2" fmla="*/ 107156 h 190500"/>
                <a:gd name="connsiteX3" fmla="*/ 52388 w 300038"/>
                <a:gd name="connsiteY3" fmla="*/ 100012 h 190500"/>
                <a:gd name="connsiteX4" fmla="*/ 21431 w 300038"/>
                <a:gd name="connsiteY4" fmla="*/ 119062 h 190500"/>
                <a:gd name="connsiteX5" fmla="*/ 23813 w 300038"/>
                <a:gd name="connsiteY5" fmla="*/ 164306 h 190500"/>
                <a:gd name="connsiteX6" fmla="*/ 0 w 300038"/>
                <a:gd name="connsiteY6" fmla="*/ 171450 h 190500"/>
                <a:gd name="connsiteX7" fmla="*/ 97631 w 300038"/>
                <a:gd name="connsiteY7" fmla="*/ 0 h 190500"/>
                <a:gd name="connsiteX8" fmla="*/ 214313 w 300038"/>
                <a:gd name="connsiteY8" fmla="*/ 40481 h 190500"/>
                <a:gd name="connsiteX9" fmla="*/ 300038 w 300038"/>
                <a:gd name="connsiteY9" fmla="*/ 190500 h 190500"/>
                <a:gd name="connsiteX0" fmla="*/ 300038 w 300038"/>
                <a:gd name="connsiteY0" fmla="*/ 190500 h 190500"/>
                <a:gd name="connsiteX1" fmla="*/ 271463 w 300038"/>
                <a:gd name="connsiteY1" fmla="*/ 116681 h 190500"/>
                <a:gd name="connsiteX2" fmla="*/ 195263 w 300038"/>
                <a:gd name="connsiteY2" fmla="*/ 107156 h 190500"/>
                <a:gd name="connsiteX3" fmla="*/ 52388 w 300038"/>
                <a:gd name="connsiteY3" fmla="*/ 100012 h 190500"/>
                <a:gd name="connsiteX4" fmla="*/ 21431 w 300038"/>
                <a:gd name="connsiteY4" fmla="*/ 119062 h 190500"/>
                <a:gd name="connsiteX5" fmla="*/ 23813 w 300038"/>
                <a:gd name="connsiteY5" fmla="*/ 164306 h 190500"/>
                <a:gd name="connsiteX6" fmla="*/ 0 w 300038"/>
                <a:gd name="connsiteY6" fmla="*/ 171450 h 190500"/>
                <a:gd name="connsiteX7" fmla="*/ 97631 w 300038"/>
                <a:gd name="connsiteY7" fmla="*/ 0 h 190500"/>
                <a:gd name="connsiteX8" fmla="*/ 214313 w 300038"/>
                <a:gd name="connsiteY8" fmla="*/ 40481 h 190500"/>
                <a:gd name="connsiteX9" fmla="*/ 300038 w 300038"/>
                <a:gd name="connsiteY9" fmla="*/ 190500 h 190500"/>
                <a:gd name="connsiteX0" fmla="*/ 300038 w 300038"/>
                <a:gd name="connsiteY0" fmla="*/ 190500 h 190500"/>
                <a:gd name="connsiteX1" fmla="*/ 271463 w 300038"/>
                <a:gd name="connsiteY1" fmla="*/ 116681 h 190500"/>
                <a:gd name="connsiteX2" fmla="*/ 195263 w 300038"/>
                <a:gd name="connsiteY2" fmla="*/ 107156 h 190500"/>
                <a:gd name="connsiteX3" fmla="*/ 52388 w 300038"/>
                <a:gd name="connsiteY3" fmla="*/ 100012 h 190500"/>
                <a:gd name="connsiteX4" fmla="*/ 21431 w 300038"/>
                <a:gd name="connsiteY4" fmla="*/ 119062 h 190500"/>
                <a:gd name="connsiteX5" fmla="*/ 23813 w 300038"/>
                <a:gd name="connsiteY5" fmla="*/ 164306 h 190500"/>
                <a:gd name="connsiteX6" fmla="*/ 0 w 300038"/>
                <a:gd name="connsiteY6" fmla="*/ 171450 h 190500"/>
                <a:gd name="connsiteX7" fmla="*/ 97631 w 300038"/>
                <a:gd name="connsiteY7" fmla="*/ 0 h 190500"/>
                <a:gd name="connsiteX8" fmla="*/ 214313 w 300038"/>
                <a:gd name="connsiteY8" fmla="*/ 40481 h 190500"/>
                <a:gd name="connsiteX9" fmla="*/ 300038 w 300038"/>
                <a:gd name="connsiteY9" fmla="*/ 190500 h 190500"/>
                <a:gd name="connsiteX0" fmla="*/ 300038 w 301649"/>
                <a:gd name="connsiteY0" fmla="*/ 190500 h 190500"/>
                <a:gd name="connsiteX1" fmla="*/ 271463 w 301649"/>
                <a:gd name="connsiteY1" fmla="*/ 116681 h 190500"/>
                <a:gd name="connsiteX2" fmla="*/ 195263 w 301649"/>
                <a:gd name="connsiteY2" fmla="*/ 107156 h 190500"/>
                <a:gd name="connsiteX3" fmla="*/ 52388 w 301649"/>
                <a:gd name="connsiteY3" fmla="*/ 100012 h 190500"/>
                <a:gd name="connsiteX4" fmla="*/ 21431 w 301649"/>
                <a:gd name="connsiteY4" fmla="*/ 119062 h 190500"/>
                <a:gd name="connsiteX5" fmla="*/ 23813 w 301649"/>
                <a:gd name="connsiteY5" fmla="*/ 164306 h 190500"/>
                <a:gd name="connsiteX6" fmla="*/ 0 w 301649"/>
                <a:gd name="connsiteY6" fmla="*/ 171450 h 190500"/>
                <a:gd name="connsiteX7" fmla="*/ 97631 w 301649"/>
                <a:gd name="connsiteY7" fmla="*/ 0 h 190500"/>
                <a:gd name="connsiteX8" fmla="*/ 214313 w 301649"/>
                <a:gd name="connsiteY8" fmla="*/ 40481 h 190500"/>
                <a:gd name="connsiteX9" fmla="*/ 300038 w 301649"/>
                <a:gd name="connsiteY9" fmla="*/ 190500 h 190500"/>
                <a:gd name="connsiteX0" fmla="*/ 300038 w 301649"/>
                <a:gd name="connsiteY0" fmla="*/ 194507 h 194507"/>
                <a:gd name="connsiteX1" fmla="*/ 271463 w 301649"/>
                <a:gd name="connsiteY1" fmla="*/ 120688 h 194507"/>
                <a:gd name="connsiteX2" fmla="*/ 195263 w 301649"/>
                <a:gd name="connsiteY2" fmla="*/ 111163 h 194507"/>
                <a:gd name="connsiteX3" fmla="*/ 52388 w 301649"/>
                <a:gd name="connsiteY3" fmla="*/ 104019 h 194507"/>
                <a:gd name="connsiteX4" fmla="*/ 21431 w 301649"/>
                <a:gd name="connsiteY4" fmla="*/ 123069 h 194507"/>
                <a:gd name="connsiteX5" fmla="*/ 23813 w 301649"/>
                <a:gd name="connsiteY5" fmla="*/ 168313 h 194507"/>
                <a:gd name="connsiteX6" fmla="*/ 0 w 301649"/>
                <a:gd name="connsiteY6" fmla="*/ 175457 h 194507"/>
                <a:gd name="connsiteX7" fmla="*/ 97631 w 301649"/>
                <a:gd name="connsiteY7" fmla="*/ 4007 h 194507"/>
                <a:gd name="connsiteX8" fmla="*/ 214313 w 301649"/>
                <a:gd name="connsiteY8" fmla="*/ 44488 h 194507"/>
                <a:gd name="connsiteX9" fmla="*/ 300038 w 301649"/>
                <a:gd name="connsiteY9" fmla="*/ 194507 h 194507"/>
                <a:gd name="connsiteX0" fmla="*/ 300038 w 301649"/>
                <a:gd name="connsiteY0" fmla="*/ 195665 h 195665"/>
                <a:gd name="connsiteX1" fmla="*/ 271463 w 301649"/>
                <a:gd name="connsiteY1" fmla="*/ 121846 h 195665"/>
                <a:gd name="connsiteX2" fmla="*/ 195263 w 301649"/>
                <a:gd name="connsiteY2" fmla="*/ 112321 h 195665"/>
                <a:gd name="connsiteX3" fmla="*/ 52388 w 301649"/>
                <a:gd name="connsiteY3" fmla="*/ 105177 h 195665"/>
                <a:gd name="connsiteX4" fmla="*/ 21431 w 301649"/>
                <a:gd name="connsiteY4" fmla="*/ 124227 h 195665"/>
                <a:gd name="connsiteX5" fmla="*/ 23813 w 301649"/>
                <a:gd name="connsiteY5" fmla="*/ 169471 h 195665"/>
                <a:gd name="connsiteX6" fmla="*/ 0 w 301649"/>
                <a:gd name="connsiteY6" fmla="*/ 176615 h 195665"/>
                <a:gd name="connsiteX7" fmla="*/ 97631 w 301649"/>
                <a:gd name="connsiteY7" fmla="*/ 5165 h 195665"/>
                <a:gd name="connsiteX8" fmla="*/ 214313 w 301649"/>
                <a:gd name="connsiteY8" fmla="*/ 45646 h 195665"/>
                <a:gd name="connsiteX9" fmla="*/ 300038 w 301649"/>
                <a:gd name="connsiteY9" fmla="*/ 195665 h 195665"/>
                <a:gd name="connsiteX0" fmla="*/ 300038 w 301649"/>
                <a:gd name="connsiteY0" fmla="*/ 195665 h 195665"/>
                <a:gd name="connsiteX1" fmla="*/ 271463 w 301649"/>
                <a:gd name="connsiteY1" fmla="*/ 121846 h 195665"/>
                <a:gd name="connsiteX2" fmla="*/ 195263 w 301649"/>
                <a:gd name="connsiteY2" fmla="*/ 112321 h 195665"/>
                <a:gd name="connsiteX3" fmla="*/ 52388 w 301649"/>
                <a:gd name="connsiteY3" fmla="*/ 105177 h 195665"/>
                <a:gd name="connsiteX4" fmla="*/ 45243 w 301649"/>
                <a:gd name="connsiteY4" fmla="*/ 150420 h 195665"/>
                <a:gd name="connsiteX5" fmla="*/ 23813 w 301649"/>
                <a:gd name="connsiteY5" fmla="*/ 169471 h 195665"/>
                <a:gd name="connsiteX6" fmla="*/ 0 w 301649"/>
                <a:gd name="connsiteY6" fmla="*/ 176615 h 195665"/>
                <a:gd name="connsiteX7" fmla="*/ 97631 w 301649"/>
                <a:gd name="connsiteY7" fmla="*/ 5165 h 195665"/>
                <a:gd name="connsiteX8" fmla="*/ 214313 w 301649"/>
                <a:gd name="connsiteY8" fmla="*/ 45646 h 195665"/>
                <a:gd name="connsiteX9" fmla="*/ 300038 w 301649"/>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5688 w 302094"/>
                <a:gd name="connsiteY4" fmla="*/ 150420 h 195665"/>
                <a:gd name="connsiteX5" fmla="*/ 24258 w 302094"/>
                <a:gd name="connsiteY5" fmla="*/ 169471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5688 w 302094"/>
                <a:gd name="connsiteY4" fmla="*/ 150420 h 195665"/>
                <a:gd name="connsiteX5" fmla="*/ 21877 w 302094"/>
                <a:gd name="connsiteY5" fmla="*/ 131371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3307 w 302094"/>
                <a:gd name="connsiteY4" fmla="*/ 126608 h 195665"/>
                <a:gd name="connsiteX5" fmla="*/ 21877 w 302094"/>
                <a:gd name="connsiteY5" fmla="*/ 131371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3307 w 302094"/>
                <a:gd name="connsiteY4" fmla="*/ 126608 h 195665"/>
                <a:gd name="connsiteX5" fmla="*/ 12352 w 302094"/>
                <a:gd name="connsiteY5" fmla="*/ 171852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3307 w 302094"/>
                <a:gd name="connsiteY4" fmla="*/ 126608 h 195665"/>
                <a:gd name="connsiteX5" fmla="*/ 12352 w 302094"/>
                <a:gd name="connsiteY5" fmla="*/ 171852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3307 w 302094"/>
                <a:gd name="connsiteY4" fmla="*/ 126608 h 195665"/>
                <a:gd name="connsiteX5" fmla="*/ 12352 w 302094"/>
                <a:gd name="connsiteY5" fmla="*/ 171852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3307 w 302094"/>
                <a:gd name="connsiteY4" fmla="*/ 126608 h 195665"/>
                <a:gd name="connsiteX5" fmla="*/ 12352 w 302094"/>
                <a:gd name="connsiteY5" fmla="*/ 171852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3307 w 302094"/>
                <a:gd name="connsiteY4" fmla="*/ 126608 h 195665"/>
                <a:gd name="connsiteX5" fmla="*/ 12352 w 302094"/>
                <a:gd name="connsiteY5" fmla="*/ 171852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1906"/>
                <a:gd name="connsiteY0" fmla="*/ 195665 h 195665"/>
                <a:gd name="connsiteX1" fmla="*/ 271908 w 301906"/>
                <a:gd name="connsiteY1" fmla="*/ 121846 h 195665"/>
                <a:gd name="connsiteX2" fmla="*/ 195708 w 301906"/>
                <a:gd name="connsiteY2" fmla="*/ 112321 h 195665"/>
                <a:gd name="connsiteX3" fmla="*/ 52833 w 301906"/>
                <a:gd name="connsiteY3" fmla="*/ 105177 h 195665"/>
                <a:gd name="connsiteX4" fmla="*/ 43307 w 301906"/>
                <a:gd name="connsiteY4" fmla="*/ 126608 h 195665"/>
                <a:gd name="connsiteX5" fmla="*/ 12352 w 301906"/>
                <a:gd name="connsiteY5" fmla="*/ 171852 h 195665"/>
                <a:gd name="connsiteX6" fmla="*/ 445 w 301906"/>
                <a:gd name="connsiteY6" fmla="*/ 176615 h 195665"/>
                <a:gd name="connsiteX7" fmla="*/ 98076 w 301906"/>
                <a:gd name="connsiteY7" fmla="*/ 5165 h 195665"/>
                <a:gd name="connsiteX8" fmla="*/ 214758 w 301906"/>
                <a:gd name="connsiteY8" fmla="*/ 45646 h 195665"/>
                <a:gd name="connsiteX9" fmla="*/ 300483 w 301906"/>
                <a:gd name="connsiteY9" fmla="*/ 195665 h 195665"/>
                <a:gd name="connsiteX0" fmla="*/ 300483 w 301906"/>
                <a:gd name="connsiteY0" fmla="*/ 195665 h 195665"/>
                <a:gd name="connsiteX1" fmla="*/ 271908 w 301906"/>
                <a:gd name="connsiteY1" fmla="*/ 121846 h 195665"/>
                <a:gd name="connsiteX2" fmla="*/ 195708 w 301906"/>
                <a:gd name="connsiteY2" fmla="*/ 112321 h 195665"/>
                <a:gd name="connsiteX3" fmla="*/ 52833 w 301906"/>
                <a:gd name="connsiteY3" fmla="*/ 105177 h 195665"/>
                <a:gd name="connsiteX4" fmla="*/ 43307 w 301906"/>
                <a:gd name="connsiteY4" fmla="*/ 126608 h 195665"/>
                <a:gd name="connsiteX5" fmla="*/ 12352 w 301906"/>
                <a:gd name="connsiteY5" fmla="*/ 171852 h 195665"/>
                <a:gd name="connsiteX6" fmla="*/ 445 w 301906"/>
                <a:gd name="connsiteY6" fmla="*/ 176615 h 195665"/>
                <a:gd name="connsiteX7" fmla="*/ 98076 w 301906"/>
                <a:gd name="connsiteY7" fmla="*/ 5165 h 195665"/>
                <a:gd name="connsiteX8" fmla="*/ 214758 w 301906"/>
                <a:gd name="connsiteY8" fmla="*/ 45646 h 195665"/>
                <a:gd name="connsiteX9" fmla="*/ 300483 w 301906"/>
                <a:gd name="connsiteY9" fmla="*/ 195665 h 195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1906" h="195665">
                  <a:moveTo>
                    <a:pt x="300483" y="195665"/>
                  </a:moveTo>
                  <a:cubicBezTo>
                    <a:pt x="231426" y="159153"/>
                    <a:pt x="281433" y="146452"/>
                    <a:pt x="271908" y="121846"/>
                  </a:cubicBezTo>
                  <a:cubicBezTo>
                    <a:pt x="246508" y="130578"/>
                    <a:pt x="221108" y="115496"/>
                    <a:pt x="195708" y="112321"/>
                  </a:cubicBezTo>
                  <a:cubicBezTo>
                    <a:pt x="117127" y="138515"/>
                    <a:pt x="86170" y="124227"/>
                    <a:pt x="52833" y="105177"/>
                  </a:cubicBezTo>
                  <a:lnTo>
                    <a:pt x="43307" y="126608"/>
                  </a:lnTo>
                  <a:cubicBezTo>
                    <a:pt x="32989" y="141689"/>
                    <a:pt x="32195" y="178203"/>
                    <a:pt x="12352" y="171852"/>
                  </a:cubicBezTo>
                  <a:lnTo>
                    <a:pt x="445" y="176615"/>
                  </a:lnTo>
                  <a:cubicBezTo>
                    <a:pt x="-2730" y="105177"/>
                    <a:pt x="9176" y="22627"/>
                    <a:pt x="98076" y="5165"/>
                  </a:cubicBezTo>
                  <a:cubicBezTo>
                    <a:pt x="186976" y="-12297"/>
                    <a:pt x="204439" y="17864"/>
                    <a:pt x="214758" y="45646"/>
                  </a:cubicBezTo>
                  <a:cubicBezTo>
                    <a:pt x="302864" y="31358"/>
                    <a:pt x="305246" y="133753"/>
                    <a:pt x="300483" y="195665"/>
                  </a:cubicBezTo>
                  <a:close/>
                </a:path>
              </a:pathLst>
            </a:custGeom>
            <a:solidFill>
              <a:srgbClr val="3F3F3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60" name="Group 59"/>
          <p:cNvGrpSpPr/>
          <p:nvPr/>
        </p:nvGrpSpPr>
        <p:grpSpPr>
          <a:xfrm>
            <a:off x="7203454" y="2013140"/>
            <a:ext cx="1053447" cy="3229180"/>
            <a:chOff x="6228320" y="3755489"/>
            <a:chExt cx="701277" cy="2028281"/>
          </a:xfrm>
        </p:grpSpPr>
        <p:sp>
          <p:nvSpPr>
            <p:cNvPr id="61" name="Freeform 60"/>
            <p:cNvSpPr/>
            <p:nvPr/>
          </p:nvSpPr>
          <p:spPr bwMode="auto">
            <a:xfrm>
              <a:off x="6457584" y="5188711"/>
              <a:ext cx="119352" cy="574507"/>
            </a:xfrm>
            <a:custGeom>
              <a:avLst/>
              <a:gdLst>
                <a:gd name="connsiteX0" fmla="*/ 0 w 140494"/>
                <a:gd name="connsiteY0" fmla="*/ 14288 h 676275"/>
                <a:gd name="connsiteX1" fmla="*/ 19050 w 140494"/>
                <a:gd name="connsiteY1" fmla="*/ 676275 h 676275"/>
                <a:gd name="connsiteX2" fmla="*/ 133350 w 140494"/>
                <a:gd name="connsiteY2" fmla="*/ 664369 h 676275"/>
                <a:gd name="connsiteX3" fmla="*/ 140494 w 140494"/>
                <a:gd name="connsiteY3" fmla="*/ 0 h 676275"/>
                <a:gd name="connsiteX4" fmla="*/ 0 w 140494"/>
                <a:gd name="connsiteY4" fmla="*/ 14288 h 676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494" h="676275">
                  <a:moveTo>
                    <a:pt x="0" y="14288"/>
                  </a:moveTo>
                  <a:lnTo>
                    <a:pt x="19050" y="676275"/>
                  </a:lnTo>
                  <a:lnTo>
                    <a:pt x="133350" y="664369"/>
                  </a:lnTo>
                  <a:cubicBezTo>
                    <a:pt x="135731" y="442913"/>
                    <a:pt x="138113" y="221456"/>
                    <a:pt x="140494" y="0"/>
                  </a:cubicBezTo>
                  <a:lnTo>
                    <a:pt x="0" y="14288"/>
                  </a:lnTo>
                  <a:close/>
                </a:path>
              </a:pathLst>
            </a:custGeom>
            <a:solidFill>
              <a:srgbClr val="FFC0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2" name="Freeform 61"/>
            <p:cNvSpPr/>
            <p:nvPr/>
          </p:nvSpPr>
          <p:spPr bwMode="auto">
            <a:xfrm>
              <a:off x="6597165" y="5188711"/>
              <a:ext cx="119352" cy="574507"/>
            </a:xfrm>
            <a:custGeom>
              <a:avLst/>
              <a:gdLst>
                <a:gd name="connsiteX0" fmla="*/ 0 w 140494"/>
                <a:gd name="connsiteY0" fmla="*/ 14288 h 676275"/>
                <a:gd name="connsiteX1" fmla="*/ 19050 w 140494"/>
                <a:gd name="connsiteY1" fmla="*/ 676275 h 676275"/>
                <a:gd name="connsiteX2" fmla="*/ 133350 w 140494"/>
                <a:gd name="connsiteY2" fmla="*/ 664369 h 676275"/>
                <a:gd name="connsiteX3" fmla="*/ 140494 w 140494"/>
                <a:gd name="connsiteY3" fmla="*/ 0 h 676275"/>
                <a:gd name="connsiteX4" fmla="*/ 0 w 140494"/>
                <a:gd name="connsiteY4" fmla="*/ 14288 h 676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494" h="676275">
                  <a:moveTo>
                    <a:pt x="0" y="14288"/>
                  </a:moveTo>
                  <a:lnTo>
                    <a:pt x="19050" y="676275"/>
                  </a:lnTo>
                  <a:lnTo>
                    <a:pt x="133350" y="664369"/>
                  </a:lnTo>
                  <a:cubicBezTo>
                    <a:pt x="135731" y="442913"/>
                    <a:pt x="138113" y="221456"/>
                    <a:pt x="140494" y="0"/>
                  </a:cubicBezTo>
                  <a:lnTo>
                    <a:pt x="0" y="14288"/>
                  </a:lnTo>
                  <a:close/>
                </a:path>
              </a:pathLst>
            </a:custGeom>
            <a:solidFill>
              <a:srgbClr val="FFC0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3" name="Freeform 62"/>
            <p:cNvSpPr/>
            <p:nvPr/>
          </p:nvSpPr>
          <p:spPr bwMode="auto">
            <a:xfrm>
              <a:off x="6394873" y="4778060"/>
              <a:ext cx="370193" cy="434925"/>
            </a:xfrm>
            <a:custGeom>
              <a:avLst/>
              <a:gdLst>
                <a:gd name="connsiteX0" fmla="*/ 0 w 435769"/>
                <a:gd name="connsiteY0" fmla="*/ 14287 h 511968"/>
                <a:gd name="connsiteX1" fmla="*/ 23813 w 435769"/>
                <a:gd name="connsiteY1" fmla="*/ 511968 h 511968"/>
                <a:gd name="connsiteX2" fmla="*/ 421482 w 435769"/>
                <a:gd name="connsiteY2" fmla="*/ 511968 h 511968"/>
                <a:gd name="connsiteX3" fmla="*/ 435769 w 435769"/>
                <a:gd name="connsiteY3" fmla="*/ 0 h 511968"/>
                <a:gd name="connsiteX4" fmla="*/ 0 w 435769"/>
                <a:gd name="connsiteY4" fmla="*/ 14287 h 5119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769" h="511968">
                  <a:moveTo>
                    <a:pt x="0" y="14287"/>
                  </a:moveTo>
                  <a:lnTo>
                    <a:pt x="23813" y="511968"/>
                  </a:lnTo>
                  <a:lnTo>
                    <a:pt x="421482" y="511968"/>
                  </a:lnTo>
                  <a:lnTo>
                    <a:pt x="435769" y="0"/>
                  </a:lnTo>
                  <a:lnTo>
                    <a:pt x="0" y="14287"/>
                  </a:lnTo>
                  <a:close/>
                </a:path>
              </a:pathLst>
            </a:custGeom>
            <a:solidFill>
              <a:srgbClr val="FD7425">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64" name="Group 63"/>
            <p:cNvGrpSpPr/>
            <p:nvPr/>
          </p:nvGrpSpPr>
          <p:grpSpPr>
            <a:xfrm>
              <a:off x="6459021" y="3866899"/>
              <a:ext cx="261974" cy="207692"/>
              <a:chOff x="6420344" y="3981032"/>
              <a:chExt cx="339328" cy="111506"/>
            </a:xfrm>
          </p:grpSpPr>
          <p:sp>
            <p:nvSpPr>
              <p:cNvPr id="71" name="Freeform 70"/>
              <p:cNvSpPr/>
              <p:nvPr/>
            </p:nvSpPr>
            <p:spPr bwMode="auto">
              <a:xfrm>
                <a:off x="6420344" y="3981032"/>
                <a:ext cx="120854" cy="111506"/>
              </a:xfrm>
              <a:custGeom>
                <a:avLst/>
                <a:gdLst>
                  <a:gd name="connsiteX0" fmla="*/ 41275 w 123825"/>
                  <a:gd name="connsiteY0" fmla="*/ 0 h 127000"/>
                  <a:gd name="connsiteX1" fmla="*/ 0 w 123825"/>
                  <a:gd name="connsiteY1" fmla="*/ 34925 h 127000"/>
                  <a:gd name="connsiteX2" fmla="*/ 104775 w 123825"/>
                  <a:gd name="connsiteY2" fmla="*/ 127000 h 127000"/>
                  <a:gd name="connsiteX3" fmla="*/ 123825 w 123825"/>
                  <a:gd name="connsiteY3" fmla="*/ 15875 h 127000"/>
                  <a:gd name="connsiteX4" fmla="*/ 41275 w 123825"/>
                  <a:gd name="connsiteY4" fmla="*/ 0 h 127000"/>
                  <a:gd name="connsiteX0" fmla="*/ 57150 w 139700"/>
                  <a:gd name="connsiteY0" fmla="*/ 0 h 127000"/>
                  <a:gd name="connsiteX1" fmla="*/ 0 w 139700"/>
                  <a:gd name="connsiteY1" fmla="*/ 34925 h 127000"/>
                  <a:gd name="connsiteX2" fmla="*/ 120650 w 139700"/>
                  <a:gd name="connsiteY2" fmla="*/ 127000 h 127000"/>
                  <a:gd name="connsiteX3" fmla="*/ 139700 w 139700"/>
                  <a:gd name="connsiteY3" fmla="*/ 15875 h 127000"/>
                  <a:gd name="connsiteX4" fmla="*/ 57150 w 139700"/>
                  <a:gd name="connsiteY4" fmla="*/ 0 h 127000"/>
                  <a:gd name="connsiteX0" fmla="*/ 57150 w 139700"/>
                  <a:gd name="connsiteY0" fmla="*/ 0 h 127000"/>
                  <a:gd name="connsiteX1" fmla="*/ 0 w 139700"/>
                  <a:gd name="connsiteY1" fmla="*/ 34925 h 127000"/>
                  <a:gd name="connsiteX2" fmla="*/ 120650 w 139700"/>
                  <a:gd name="connsiteY2" fmla="*/ 127000 h 127000"/>
                  <a:gd name="connsiteX3" fmla="*/ 139700 w 139700"/>
                  <a:gd name="connsiteY3" fmla="*/ 15875 h 127000"/>
                  <a:gd name="connsiteX4" fmla="*/ 57150 w 139700"/>
                  <a:gd name="connsiteY4" fmla="*/ 0 h 127000"/>
                  <a:gd name="connsiteX0" fmla="*/ 59779 w 142329"/>
                  <a:gd name="connsiteY0" fmla="*/ 0 h 127000"/>
                  <a:gd name="connsiteX1" fmla="*/ 2629 w 142329"/>
                  <a:gd name="connsiteY1" fmla="*/ 34925 h 127000"/>
                  <a:gd name="connsiteX2" fmla="*/ 123279 w 142329"/>
                  <a:gd name="connsiteY2" fmla="*/ 127000 h 127000"/>
                  <a:gd name="connsiteX3" fmla="*/ 142329 w 142329"/>
                  <a:gd name="connsiteY3" fmla="*/ 15875 h 127000"/>
                  <a:gd name="connsiteX4" fmla="*/ 59779 w 142329"/>
                  <a:gd name="connsiteY4" fmla="*/ 0 h 127000"/>
                  <a:gd name="connsiteX0" fmla="*/ 59712 w 142262"/>
                  <a:gd name="connsiteY0" fmla="*/ 0 h 131258"/>
                  <a:gd name="connsiteX1" fmla="*/ 2562 w 142262"/>
                  <a:gd name="connsiteY1" fmla="*/ 34925 h 131258"/>
                  <a:gd name="connsiteX2" fmla="*/ 123212 w 142262"/>
                  <a:gd name="connsiteY2" fmla="*/ 127000 h 131258"/>
                  <a:gd name="connsiteX3" fmla="*/ 142262 w 142262"/>
                  <a:gd name="connsiteY3" fmla="*/ 15875 h 131258"/>
                  <a:gd name="connsiteX4" fmla="*/ 59712 w 142262"/>
                  <a:gd name="connsiteY4" fmla="*/ 0 h 1312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262" h="131258">
                    <a:moveTo>
                      <a:pt x="59712" y="0"/>
                    </a:moveTo>
                    <a:cubicBezTo>
                      <a:pt x="78762" y="94192"/>
                      <a:pt x="21612" y="23283"/>
                      <a:pt x="2562" y="34925"/>
                    </a:cubicBezTo>
                    <a:cubicBezTo>
                      <a:pt x="-17546" y="144992"/>
                      <a:pt x="86170" y="134408"/>
                      <a:pt x="123212" y="127000"/>
                    </a:cubicBezTo>
                    <a:lnTo>
                      <a:pt x="142262" y="15875"/>
                    </a:lnTo>
                    <a:lnTo>
                      <a:pt x="59712" y="0"/>
                    </a:lnTo>
                    <a:close/>
                  </a:path>
                </a:pathLst>
              </a:custGeom>
              <a:solidFill>
                <a:srgbClr val="3F3F3F">
                  <a:lumMod val="95000"/>
                  <a:lumOff val="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2" name="Freeform 71"/>
              <p:cNvSpPr/>
              <p:nvPr/>
            </p:nvSpPr>
            <p:spPr bwMode="auto">
              <a:xfrm flipH="1">
                <a:off x="6638818" y="3981032"/>
                <a:ext cx="120854" cy="111506"/>
              </a:xfrm>
              <a:custGeom>
                <a:avLst/>
                <a:gdLst>
                  <a:gd name="connsiteX0" fmla="*/ 41275 w 123825"/>
                  <a:gd name="connsiteY0" fmla="*/ 0 h 127000"/>
                  <a:gd name="connsiteX1" fmla="*/ 0 w 123825"/>
                  <a:gd name="connsiteY1" fmla="*/ 34925 h 127000"/>
                  <a:gd name="connsiteX2" fmla="*/ 104775 w 123825"/>
                  <a:gd name="connsiteY2" fmla="*/ 127000 h 127000"/>
                  <a:gd name="connsiteX3" fmla="*/ 123825 w 123825"/>
                  <a:gd name="connsiteY3" fmla="*/ 15875 h 127000"/>
                  <a:gd name="connsiteX4" fmla="*/ 41275 w 123825"/>
                  <a:gd name="connsiteY4" fmla="*/ 0 h 127000"/>
                  <a:gd name="connsiteX0" fmla="*/ 57150 w 139700"/>
                  <a:gd name="connsiteY0" fmla="*/ 0 h 127000"/>
                  <a:gd name="connsiteX1" fmla="*/ 0 w 139700"/>
                  <a:gd name="connsiteY1" fmla="*/ 34925 h 127000"/>
                  <a:gd name="connsiteX2" fmla="*/ 120650 w 139700"/>
                  <a:gd name="connsiteY2" fmla="*/ 127000 h 127000"/>
                  <a:gd name="connsiteX3" fmla="*/ 139700 w 139700"/>
                  <a:gd name="connsiteY3" fmla="*/ 15875 h 127000"/>
                  <a:gd name="connsiteX4" fmla="*/ 57150 w 139700"/>
                  <a:gd name="connsiteY4" fmla="*/ 0 h 127000"/>
                  <a:gd name="connsiteX0" fmla="*/ 57150 w 139700"/>
                  <a:gd name="connsiteY0" fmla="*/ 0 h 127000"/>
                  <a:gd name="connsiteX1" fmla="*/ 0 w 139700"/>
                  <a:gd name="connsiteY1" fmla="*/ 34925 h 127000"/>
                  <a:gd name="connsiteX2" fmla="*/ 120650 w 139700"/>
                  <a:gd name="connsiteY2" fmla="*/ 127000 h 127000"/>
                  <a:gd name="connsiteX3" fmla="*/ 139700 w 139700"/>
                  <a:gd name="connsiteY3" fmla="*/ 15875 h 127000"/>
                  <a:gd name="connsiteX4" fmla="*/ 57150 w 139700"/>
                  <a:gd name="connsiteY4" fmla="*/ 0 h 127000"/>
                  <a:gd name="connsiteX0" fmla="*/ 59779 w 142329"/>
                  <a:gd name="connsiteY0" fmla="*/ 0 h 127000"/>
                  <a:gd name="connsiteX1" fmla="*/ 2629 w 142329"/>
                  <a:gd name="connsiteY1" fmla="*/ 34925 h 127000"/>
                  <a:gd name="connsiteX2" fmla="*/ 123279 w 142329"/>
                  <a:gd name="connsiteY2" fmla="*/ 127000 h 127000"/>
                  <a:gd name="connsiteX3" fmla="*/ 142329 w 142329"/>
                  <a:gd name="connsiteY3" fmla="*/ 15875 h 127000"/>
                  <a:gd name="connsiteX4" fmla="*/ 59779 w 142329"/>
                  <a:gd name="connsiteY4" fmla="*/ 0 h 127000"/>
                  <a:gd name="connsiteX0" fmla="*/ 59712 w 142262"/>
                  <a:gd name="connsiteY0" fmla="*/ 0 h 131258"/>
                  <a:gd name="connsiteX1" fmla="*/ 2562 w 142262"/>
                  <a:gd name="connsiteY1" fmla="*/ 34925 h 131258"/>
                  <a:gd name="connsiteX2" fmla="*/ 123212 w 142262"/>
                  <a:gd name="connsiteY2" fmla="*/ 127000 h 131258"/>
                  <a:gd name="connsiteX3" fmla="*/ 142262 w 142262"/>
                  <a:gd name="connsiteY3" fmla="*/ 15875 h 131258"/>
                  <a:gd name="connsiteX4" fmla="*/ 59712 w 142262"/>
                  <a:gd name="connsiteY4" fmla="*/ 0 h 1312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262" h="131258">
                    <a:moveTo>
                      <a:pt x="59712" y="0"/>
                    </a:moveTo>
                    <a:cubicBezTo>
                      <a:pt x="78762" y="94192"/>
                      <a:pt x="21612" y="23283"/>
                      <a:pt x="2562" y="34925"/>
                    </a:cubicBezTo>
                    <a:cubicBezTo>
                      <a:pt x="-17546" y="144992"/>
                      <a:pt x="86170" y="134408"/>
                      <a:pt x="123212" y="127000"/>
                    </a:cubicBezTo>
                    <a:lnTo>
                      <a:pt x="142262" y="15875"/>
                    </a:lnTo>
                    <a:lnTo>
                      <a:pt x="59712" y="0"/>
                    </a:lnTo>
                    <a:close/>
                  </a:path>
                </a:pathLst>
              </a:custGeom>
              <a:solidFill>
                <a:srgbClr val="3F3F3F">
                  <a:lumMod val="95000"/>
                  <a:lumOff val="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65" name="Rounded Rectangle 64"/>
            <p:cNvSpPr/>
            <p:nvPr/>
          </p:nvSpPr>
          <p:spPr bwMode="auto">
            <a:xfrm>
              <a:off x="6244458" y="4624318"/>
              <a:ext cx="64733" cy="105191"/>
            </a:xfrm>
            <a:prstGeom prst="roundRect">
              <a:avLst>
                <a:gd name="adj" fmla="val 50000"/>
              </a:avLst>
            </a:prstGeom>
            <a:solidFill>
              <a:srgbClr val="FFC0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 name="Freeform 65"/>
            <p:cNvSpPr/>
            <p:nvPr/>
          </p:nvSpPr>
          <p:spPr bwMode="auto">
            <a:xfrm>
              <a:off x="6228320" y="4105103"/>
              <a:ext cx="701277" cy="693185"/>
            </a:xfrm>
            <a:custGeom>
              <a:avLst/>
              <a:gdLst>
                <a:gd name="connsiteX0" fmla="*/ 336550 w 825500"/>
                <a:gd name="connsiteY0" fmla="*/ 0 h 815975"/>
                <a:gd name="connsiteX1" fmla="*/ 415925 w 825500"/>
                <a:gd name="connsiteY1" fmla="*/ 574675 h 815975"/>
                <a:gd name="connsiteX2" fmla="*/ 492125 w 825500"/>
                <a:gd name="connsiteY2" fmla="*/ 3175 h 815975"/>
                <a:gd name="connsiteX3" fmla="*/ 676275 w 825500"/>
                <a:gd name="connsiteY3" fmla="*/ 19050 h 815975"/>
                <a:gd name="connsiteX4" fmla="*/ 825500 w 825500"/>
                <a:gd name="connsiteY4" fmla="*/ 654050 h 815975"/>
                <a:gd name="connsiteX5" fmla="*/ 717550 w 825500"/>
                <a:gd name="connsiteY5" fmla="*/ 657225 h 815975"/>
                <a:gd name="connsiteX6" fmla="*/ 676275 w 825500"/>
                <a:gd name="connsiteY6" fmla="*/ 285750 h 815975"/>
                <a:gd name="connsiteX7" fmla="*/ 638175 w 825500"/>
                <a:gd name="connsiteY7" fmla="*/ 815975 h 815975"/>
                <a:gd name="connsiteX8" fmla="*/ 187325 w 825500"/>
                <a:gd name="connsiteY8" fmla="*/ 815975 h 815975"/>
                <a:gd name="connsiteX9" fmla="*/ 171450 w 825500"/>
                <a:gd name="connsiteY9" fmla="*/ 285750 h 815975"/>
                <a:gd name="connsiteX10" fmla="*/ 98425 w 825500"/>
                <a:gd name="connsiteY10" fmla="*/ 657225 h 815975"/>
                <a:gd name="connsiteX11" fmla="*/ 0 w 825500"/>
                <a:gd name="connsiteY11" fmla="*/ 657225 h 815975"/>
                <a:gd name="connsiteX12" fmla="*/ 149225 w 825500"/>
                <a:gd name="connsiteY12" fmla="*/ 28575 h 815975"/>
                <a:gd name="connsiteX13" fmla="*/ 336550 w 825500"/>
                <a:gd name="connsiteY13" fmla="*/ 0 h 815975"/>
                <a:gd name="connsiteX0" fmla="*/ 336550 w 825500"/>
                <a:gd name="connsiteY0" fmla="*/ 0 h 815975"/>
                <a:gd name="connsiteX1" fmla="*/ 415925 w 825500"/>
                <a:gd name="connsiteY1" fmla="*/ 574675 h 815975"/>
                <a:gd name="connsiteX2" fmla="*/ 492125 w 825500"/>
                <a:gd name="connsiteY2" fmla="*/ 3175 h 815975"/>
                <a:gd name="connsiteX3" fmla="*/ 676275 w 825500"/>
                <a:gd name="connsiteY3" fmla="*/ 19050 h 815975"/>
                <a:gd name="connsiteX4" fmla="*/ 825500 w 825500"/>
                <a:gd name="connsiteY4" fmla="*/ 654050 h 815975"/>
                <a:gd name="connsiteX5" fmla="*/ 717550 w 825500"/>
                <a:gd name="connsiteY5" fmla="*/ 657225 h 815975"/>
                <a:gd name="connsiteX6" fmla="*/ 676275 w 825500"/>
                <a:gd name="connsiteY6" fmla="*/ 285750 h 815975"/>
                <a:gd name="connsiteX7" fmla="*/ 638175 w 825500"/>
                <a:gd name="connsiteY7" fmla="*/ 815975 h 815975"/>
                <a:gd name="connsiteX8" fmla="*/ 187325 w 825500"/>
                <a:gd name="connsiteY8" fmla="*/ 815975 h 815975"/>
                <a:gd name="connsiteX9" fmla="*/ 171450 w 825500"/>
                <a:gd name="connsiteY9" fmla="*/ 285750 h 815975"/>
                <a:gd name="connsiteX10" fmla="*/ 98425 w 825500"/>
                <a:gd name="connsiteY10" fmla="*/ 657225 h 815975"/>
                <a:gd name="connsiteX11" fmla="*/ 0 w 825500"/>
                <a:gd name="connsiteY11" fmla="*/ 657225 h 815975"/>
                <a:gd name="connsiteX12" fmla="*/ 149225 w 825500"/>
                <a:gd name="connsiteY12" fmla="*/ 28575 h 815975"/>
                <a:gd name="connsiteX13" fmla="*/ 336550 w 825500"/>
                <a:gd name="connsiteY13" fmla="*/ 0 h 815975"/>
                <a:gd name="connsiteX0" fmla="*/ 336550 w 825500"/>
                <a:gd name="connsiteY0" fmla="*/ 0 h 815975"/>
                <a:gd name="connsiteX1" fmla="*/ 415925 w 825500"/>
                <a:gd name="connsiteY1" fmla="*/ 574675 h 815975"/>
                <a:gd name="connsiteX2" fmla="*/ 492125 w 825500"/>
                <a:gd name="connsiteY2" fmla="*/ 3175 h 815975"/>
                <a:gd name="connsiteX3" fmla="*/ 676275 w 825500"/>
                <a:gd name="connsiteY3" fmla="*/ 19050 h 815975"/>
                <a:gd name="connsiteX4" fmla="*/ 825500 w 825500"/>
                <a:gd name="connsiteY4" fmla="*/ 654050 h 815975"/>
                <a:gd name="connsiteX5" fmla="*/ 717550 w 825500"/>
                <a:gd name="connsiteY5" fmla="*/ 657225 h 815975"/>
                <a:gd name="connsiteX6" fmla="*/ 676275 w 825500"/>
                <a:gd name="connsiteY6" fmla="*/ 285750 h 815975"/>
                <a:gd name="connsiteX7" fmla="*/ 638175 w 825500"/>
                <a:gd name="connsiteY7" fmla="*/ 815975 h 815975"/>
                <a:gd name="connsiteX8" fmla="*/ 187325 w 825500"/>
                <a:gd name="connsiteY8" fmla="*/ 815975 h 815975"/>
                <a:gd name="connsiteX9" fmla="*/ 171450 w 825500"/>
                <a:gd name="connsiteY9" fmla="*/ 285750 h 815975"/>
                <a:gd name="connsiteX10" fmla="*/ 98425 w 825500"/>
                <a:gd name="connsiteY10" fmla="*/ 657225 h 815975"/>
                <a:gd name="connsiteX11" fmla="*/ 0 w 825500"/>
                <a:gd name="connsiteY11" fmla="*/ 657225 h 815975"/>
                <a:gd name="connsiteX12" fmla="*/ 149225 w 825500"/>
                <a:gd name="connsiteY12" fmla="*/ 28575 h 815975"/>
                <a:gd name="connsiteX13" fmla="*/ 336550 w 825500"/>
                <a:gd name="connsiteY13" fmla="*/ 0 h 815975"/>
                <a:gd name="connsiteX0" fmla="*/ 336550 w 825500"/>
                <a:gd name="connsiteY0" fmla="*/ 0 h 815975"/>
                <a:gd name="connsiteX1" fmla="*/ 415925 w 825500"/>
                <a:gd name="connsiteY1" fmla="*/ 574675 h 815975"/>
                <a:gd name="connsiteX2" fmla="*/ 492125 w 825500"/>
                <a:gd name="connsiteY2" fmla="*/ 3175 h 815975"/>
                <a:gd name="connsiteX3" fmla="*/ 676275 w 825500"/>
                <a:gd name="connsiteY3" fmla="*/ 19050 h 815975"/>
                <a:gd name="connsiteX4" fmla="*/ 825500 w 825500"/>
                <a:gd name="connsiteY4" fmla="*/ 654050 h 815975"/>
                <a:gd name="connsiteX5" fmla="*/ 717550 w 825500"/>
                <a:gd name="connsiteY5" fmla="*/ 657225 h 815975"/>
                <a:gd name="connsiteX6" fmla="*/ 676275 w 825500"/>
                <a:gd name="connsiteY6" fmla="*/ 285750 h 815975"/>
                <a:gd name="connsiteX7" fmla="*/ 638175 w 825500"/>
                <a:gd name="connsiteY7" fmla="*/ 815975 h 815975"/>
                <a:gd name="connsiteX8" fmla="*/ 187325 w 825500"/>
                <a:gd name="connsiteY8" fmla="*/ 815975 h 815975"/>
                <a:gd name="connsiteX9" fmla="*/ 171450 w 825500"/>
                <a:gd name="connsiteY9" fmla="*/ 285750 h 815975"/>
                <a:gd name="connsiteX10" fmla="*/ 98425 w 825500"/>
                <a:gd name="connsiteY10" fmla="*/ 657225 h 815975"/>
                <a:gd name="connsiteX11" fmla="*/ 0 w 825500"/>
                <a:gd name="connsiteY11" fmla="*/ 657225 h 815975"/>
                <a:gd name="connsiteX12" fmla="*/ 149225 w 825500"/>
                <a:gd name="connsiteY12" fmla="*/ 28575 h 815975"/>
                <a:gd name="connsiteX13" fmla="*/ 336550 w 825500"/>
                <a:gd name="connsiteY13" fmla="*/ 0 h 815975"/>
                <a:gd name="connsiteX0" fmla="*/ 336550 w 825500"/>
                <a:gd name="connsiteY0" fmla="*/ 0 h 815975"/>
                <a:gd name="connsiteX1" fmla="*/ 415925 w 825500"/>
                <a:gd name="connsiteY1" fmla="*/ 574675 h 815975"/>
                <a:gd name="connsiteX2" fmla="*/ 492125 w 825500"/>
                <a:gd name="connsiteY2" fmla="*/ 3175 h 815975"/>
                <a:gd name="connsiteX3" fmla="*/ 676275 w 825500"/>
                <a:gd name="connsiteY3" fmla="*/ 19050 h 815975"/>
                <a:gd name="connsiteX4" fmla="*/ 825500 w 825500"/>
                <a:gd name="connsiteY4" fmla="*/ 654050 h 815975"/>
                <a:gd name="connsiteX5" fmla="*/ 717550 w 825500"/>
                <a:gd name="connsiteY5" fmla="*/ 657225 h 815975"/>
                <a:gd name="connsiteX6" fmla="*/ 676275 w 825500"/>
                <a:gd name="connsiteY6" fmla="*/ 285750 h 815975"/>
                <a:gd name="connsiteX7" fmla="*/ 638175 w 825500"/>
                <a:gd name="connsiteY7" fmla="*/ 815975 h 815975"/>
                <a:gd name="connsiteX8" fmla="*/ 187325 w 825500"/>
                <a:gd name="connsiteY8" fmla="*/ 815975 h 815975"/>
                <a:gd name="connsiteX9" fmla="*/ 171450 w 825500"/>
                <a:gd name="connsiteY9" fmla="*/ 285750 h 815975"/>
                <a:gd name="connsiteX10" fmla="*/ 98425 w 825500"/>
                <a:gd name="connsiteY10" fmla="*/ 657225 h 815975"/>
                <a:gd name="connsiteX11" fmla="*/ 0 w 825500"/>
                <a:gd name="connsiteY11" fmla="*/ 657225 h 815975"/>
                <a:gd name="connsiteX12" fmla="*/ 149225 w 825500"/>
                <a:gd name="connsiteY12" fmla="*/ 28575 h 815975"/>
                <a:gd name="connsiteX13" fmla="*/ 336550 w 825500"/>
                <a:gd name="connsiteY13" fmla="*/ 0 h 815975"/>
                <a:gd name="connsiteX0" fmla="*/ 336550 w 825500"/>
                <a:gd name="connsiteY0" fmla="*/ 0 h 815975"/>
                <a:gd name="connsiteX1" fmla="*/ 415925 w 825500"/>
                <a:gd name="connsiteY1" fmla="*/ 574675 h 815975"/>
                <a:gd name="connsiteX2" fmla="*/ 492125 w 825500"/>
                <a:gd name="connsiteY2" fmla="*/ 3175 h 815975"/>
                <a:gd name="connsiteX3" fmla="*/ 676275 w 825500"/>
                <a:gd name="connsiteY3" fmla="*/ 19050 h 815975"/>
                <a:gd name="connsiteX4" fmla="*/ 825500 w 825500"/>
                <a:gd name="connsiteY4" fmla="*/ 654050 h 815975"/>
                <a:gd name="connsiteX5" fmla="*/ 717550 w 825500"/>
                <a:gd name="connsiteY5" fmla="*/ 657225 h 815975"/>
                <a:gd name="connsiteX6" fmla="*/ 666750 w 825500"/>
                <a:gd name="connsiteY6" fmla="*/ 285750 h 815975"/>
                <a:gd name="connsiteX7" fmla="*/ 638175 w 825500"/>
                <a:gd name="connsiteY7" fmla="*/ 815975 h 815975"/>
                <a:gd name="connsiteX8" fmla="*/ 187325 w 825500"/>
                <a:gd name="connsiteY8" fmla="*/ 815975 h 815975"/>
                <a:gd name="connsiteX9" fmla="*/ 171450 w 825500"/>
                <a:gd name="connsiteY9" fmla="*/ 285750 h 815975"/>
                <a:gd name="connsiteX10" fmla="*/ 98425 w 825500"/>
                <a:gd name="connsiteY10" fmla="*/ 657225 h 815975"/>
                <a:gd name="connsiteX11" fmla="*/ 0 w 825500"/>
                <a:gd name="connsiteY11" fmla="*/ 657225 h 815975"/>
                <a:gd name="connsiteX12" fmla="*/ 149225 w 825500"/>
                <a:gd name="connsiteY12" fmla="*/ 28575 h 815975"/>
                <a:gd name="connsiteX13" fmla="*/ 336550 w 825500"/>
                <a:gd name="connsiteY13" fmla="*/ 0 h 815975"/>
                <a:gd name="connsiteX0" fmla="*/ 336550 w 825500"/>
                <a:gd name="connsiteY0" fmla="*/ 0 h 815975"/>
                <a:gd name="connsiteX1" fmla="*/ 415925 w 825500"/>
                <a:gd name="connsiteY1" fmla="*/ 574675 h 815975"/>
                <a:gd name="connsiteX2" fmla="*/ 492125 w 825500"/>
                <a:gd name="connsiteY2" fmla="*/ 3175 h 815975"/>
                <a:gd name="connsiteX3" fmla="*/ 676275 w 825500"/>
                <a:gd name="connsiteY3" fmla="*/ 19050 h 815975"/>
                <a:gd name="connsiteX4" fmla="*/ 825500 w 825500"/>
                <a:gd name="connsiteY4" fmla="*/ 654050 h 815975"/>
                <a:gd name="connsiteX5" fmla="*/ 717550 w 825500"/>
                <a:gd name="connsiteY5" fmla="*/ 657225 h 815975"/>
                <a:gd name="connsiteX6" fmla="*/ 666750 w 825500"/>
                <a:gd name="connsiteY6" fmla="*/ 285750 h 815975"/>
                <a:gd name="connsiteX7" fmla="*/ 638175 w 825500"/>
                <a:gd name="connsiteY7" fmla="*/ 815975 h 815975"/>
                <a:gd name="connsiteX8" fmla="*/ 187325 w 825500"/>
                <a:gd name="connsiteY8" fmla="*/ 815975 h 815975"/>
                <a:gd name="connsiteX9" fmla="*/ 171450 w 825500"/>
                <a:gd name="connsiteY9" fmla="*/ 285750 h 815975"/>
                <a:gd name="connsiteX10" fmla="*/ 98425 w 825500"/>
                <a:gd name="connsiteY10" fmla="*/ 657225 h 815975"/>
                <a:gd name="connsiteX11" fmla="*/ 0 w 825500"/>
                <a:gd name="connsiteY11" fmla="*/ 657225 h 815975"/>
                <a:gd name="connsiteX12" fmla="*/ 149225 w 825500"/>
                <a:gd name="connsiteY12" fmla="*/ 28575 h 815975"/>
                <a:gd name="connsiteX13" fmla="*/ 336550 w 825500"/>
                <a:gd name="connsiteY13" fmla="*/ 0 h 815975"/>
                <a:gd name="connsiteX0" fmla="*/ 336550 w 825500"/>
                <a:gd name="connsiteY0" fmla="*/ 0 h 815975"/>
                <a:gd name="connsiteX1" fmla="*/ 415925 w 825500"/>
                <a:gd name="connsiteY1" fmla="*/ 574675 h 815975"/>
                <a:gd name="connsiteX2" fmla="*/ 492125 w 825500"/>
                <a:gd name="connsiteY2" fmla="*/ 3175 h 815975"/>
                <a:gd name="connsiteX3" fmla="*/ 676275 w 825500"/>
                <a:gd name="connsiteY3" fmla="*/ 19050 h 815975"/>
                <a:gd name="connsiteX4" fmla="*/ 825500 w 825500"/>
                <a:gd name="connsiteY4" fmla="*/ 654050 h 815975"/>
                <a:gd name="connsiteX5" fmla="*/ 717550 w 825500"/>
                <a:gd name="connsiteY5" fmla="*/ 657225 h 815975"/>
                <a:gd name="connsiteX6" fmla="*/ 666750 w 825500"/>
                <a:gd name="connsiteY6" fmla="*/ 285750 h 815975"/>
                <a:gd name="connsiteX7" fmla="*/ 638175 w 825500"/>
                <a:gd name="connsiteY7" fmla="*/ 815975 h 815975"/>
                <a:gd name="connsiteX8" fmla="*/ 187325 w 825500"/>
                <a:gd name="connsiteY8" fmla="*/ 815975 h 815975"/>
                <a:gd name="connsiteX9" fmla="*/ 171450 w 825500"/>
                <a:gd name="connsiteY9" fmla="*/ 285750 h 815975"/>
                <a:gd name="connsiteX10" fmla="*/ 98425 w 825500"/>
                <a:gd name="connsiteY10" fmla="*/ 657225 h 815975"/>
                <a:gd name="connsiteX11" fmla="*/ 0 w 825500"/>
                <a:gd name="connsiteY11" fmla="*/ 657225 h 815975"/>
                <a:gd name="connsiteX12" fmla="*/ 149225 w 825500"/>
                <a:gd name="connsiteY12" fmla="*/ 28575 h 815975"/>
                <a:gd name="connsiteX13" fmla="*/ 336550 w 825500"/>
                <a:gd name="connsiteY13" fmla="*/ 0 h 815975"/>
                <a:gd name="connsiteX0" fmla="*/ 336550 w 825500"/>
                <a:gd name="connsiteY0" fmla="*/ 0 h 815975"/>
                <a:gd name="connsiteX1" fmla="*/ 415925 w 825500"/>
                <a:gd name="connsiteY1" fmla="*/ 574675 h 815975"/>
                <a:gd name="connsiteX2" fmla="*/ 492125 w 825500"/>
                <a:gd name="connsiteY2" fmla="*/ 3175 h 815975"/>
                <a:gd name="connsiteX3" fmla="*/ 676275 w 825500"/>
                <a:gd name="connsiteY3" fmla="*/ 19050 h 815975"/>
                <a:gd name="connsiteX4" fmla="*/ 825500 w 825500"/>
                <a:gd name="connsiteY4" fmla="*/ 654050 h 815975"/>
                <a:gd name="connsiteX5" fmla="*/ 717550 w 825500"/>
                <a:gd name="connsiteY5" fmla="*/ 657225 h 815975"/>
                <a:gd name="connsiteX6" fmla="*/ 666750 w 825500"/>
                <a:gd name="connsiteY6" fmla="*/ 285750 h 815975"/>
                <a:gd name="connsiteX7" fmla="*/ 638175 w 825500"/>
                <a:gd name="connsiteY7" fmla="*/ 815975 h 815975"/>
                <a:gd name="connsiteX8" fmla="*/ 187325 w 825500"/>
                <a:gd name="connsiteY8" fmla="*/ 815975 h 815975"/>
                <a:gd name="connsiteX9" fmla="*/ 171450 w 825500"/>
                <a:gd name="connsiteY9" fmla="*/ 285750 h 815975"/>
                <a:gd name="connsiteX10" fmla="*/ 98425 w 825500"/>
                <a:gd name="connsiteY10" fmla="*/ 657225 h 815975"/>
                <a:gd name="connsiteX11" fmla="*/ 0 w 825500"/>
                <a:gd name="connsiteY11" fmla="*/ 657225 h 815975"/>
                <a:gd name="connsiteX12" fmla="*/ 149225 w 825500"/>
                <a:gd name="connsiteY12" fmla="*/ 28575 h 815975"/>
                <a:gd name="connsiteX13" fmla="*/ 336550 w 825500"/>
                <a:gd name="connsiteY13" fmla="*/ 0 h 815975"/>
                <a:gd name="connsiteX0" fmla="*/ 336550 w 825500"/>
                <a:gd name="connsiteY0" fmla="*/ 0 h 815975"/>
                <a:gd name="connsiteX1" fmla="*/ 415925 w 825500"/>
                <a:gd name="connsiteY1" fmla="*/ 574675 h 815975"/>
                <a:gd name="connsiteX2" fmla="*/ 492125 w 825500"/>
                <a:gd name="connsiteY2" fmla="*/ 3175 h 815975"/>
                <a:gd name="connsiteX3" fmla="*/ 676275 w 825500"/>
                <a:gd name="connsiteY3" fmla="*/ 19050 h 815975"/>
                <a:gd name="connsiteX4" fmla="*/ 825500 w 825500"/>
                <a:gd name="connsiteY4" fmla="*/ 654050 h 815975"/>
                <a:gd name="connsiteX5" fmla="*/ 717550 w 825500"/>
                <a:gd name="connsiteY5" fmla="*/ 657225 h 815975"/>
                <a:gd name="connsiteX6" fmla="*/ 666750 w 825500"/>
                <a:gd name="connsiteY6" fmla="*/ 285750 h 815975"/>
                <a:gd name="connsiteX7" fmla="*/ 638175 w 825500"/>
                <a:gd name="connsiteY7" fmla="*/ 815975 h 815975"/>
                <a:gd name="connsiteX8" fmla="*/ 187325 w 825500"/>
                <a:gd name="connsiteY8" fmla="*/ 815975 h 815975"/>
                <a:gd name="connsiteX9" fmla="*/ 171450 w 825500"/>
                <a:gd name="connsiteY9" fmla="*/ 285750 h 815975"/>
                <a:gd name="connsiteX10" fmla="*/ 98425 w 825500"/>
                <a:gd name="connsiteY10" fmla="*/ 657225 h 815975"/>
                <a:gd name="connsiteX11" fmla="*/ 0 w 825500"/>
                <a:gd name="connsiteY11" fmla="*/ 657225 h 815975"/>
                <a:gd name="connsiteX12" fmla="*/ 149225 w 825500"/>
                <a:gd name="connsiteY12" fmla="*/ 28575 h 815975"/>
                <a:gd name="connsiteX13" fmla="*/ 336550 w 825500"/>
                <a:gd name="connsiteY13" fmla="*/ 0 h 815975"/>
                <a:gd name="connsiteX0" fmla="*/ 336550 w 825500"/>
                <a:gd name="connsiteY0" fmla="*/ 0 h 815975"/>
                <a:gd name="connsiteX1" fmla="*/ 415925 w 825500"/>
                <a:gd name="connsiteY1" fmla="*/ 574675 h 815975"/>
                <a:gd name="connsiteX2" fmla="*/ 492125 w 825500"/>
                <a:gd name="connsiteY2" fmla="*/ 3175 h 815975"/>
                <a:gd name="connsiteX3" fmla="*/ 676275 w 825500"/>
                <a:gd name="connsiteY3" fmla="*/ 19050 h 815975"/>
                <a:gd name="connsiteX4" fmla="*/ 825500 w 825500"/>
                <a:gd name="connsiteY4" fmla="*/ 654050 h 815975"/>
                <a:gd name="connsiteX5" fmla="*/ 717550 w 825500"/>
                <a:gd name="connsiteY5" fmla="*/ 657225 h 815975"/>
                <a:gd name="connsiteX6" fmla="*/ 666750 w 825500"/>
                <a:gd name="connsiteY6" fmla="*/ 285750 h 815975"/>
                <a:gd name="connsiteX7" fmla="*/ 638175 w 825500"/>
                <a:gd name="connsiteY7" fmla="*/ 815975 h 815975"/>
                <a:gd name="connsiteX8" fmla="*/ 187325 w 825500"/>
                <a:gd name="connsiteY8" fmla="*/ 815975 h 815975"/>
                <a:gd name="connsiteX9" fmla="*/ 171450 w 825500"/>
                <a:gd name="connsiteY9" fmla="*/ 285750 h 815975"/>
                <a:gd name="connsiteX10" fmla="*/ 98425 w 825500"/>
                <a:gd name="connsiteY10" fmla="*/ 657225 h 815975"/>
                <a:gd name="connsiteX11" fmla="*/ 0 w 825500"/>
                <a:gd name="connsiteY11" fmla="*/ 657225 h 815975"/>
                <a:gd name="connsiteX12" fmla="*/ 149225 w 825500"/>
                <a:gd name="connsiteY12" fmla="*/ 28575 h 815975"/>
                <a:gd name="connsiteX13" fmla="*/ 336550 w 825500"/>
                <a:gd name="connsiteY13" fmla="*/ 0 h 815975"/>
                <a:gd name="connsiteX0" fmla="*/ 336550 w 825500"/>
                <a:gd name="connsiteY0" fmla="*/ 0 h 815975"/>
                <a:gd name="connsiteX1" fmla="*/ 415925 w 825500"/>
                <a:gd name="connsiteY1" fmla="*/ 574675 h 815975"/>
                <a:gd name="connsiteX2" fmla="*/ 492125 w 825500"/>
                <a:gd name="connsiteY2" fmla="*/ 3175 h 815975"/>
                <a:gd name="connsiteX3" fmla="*/ 676275 w 825500"/>
                <a:gd name="connsiteY3" fmla="*/ 19050 h 815975"/>
                <a:gd name="connsiteX4" fmla="*/ 825500 w 825500"/>
                <a:gd name="connsiteY4" fmla="*/ 654050 h 815975"/>
                <a:gd name="connsiteX5" fmla="*/ 717550 w 825500"/>
                <a:gd name="connsiteY5" fmla="*/ 657225 h 815975"/>
                <a:gd name="connsiteX6" fmla="*/ 666750 w 825500"/>
                <a:gd name="connsiteY6" fmla="*/ 285750 h 815975"/>
                <a:gd name="connsiteX7" fmla="*/ 638175 w 825500"/>
                <a:gd name="connsiteY7" fmla="*/ 815975 h 815975"/>
                <a:gd name="connsiteX8" fmla="*/ 187325 w 825500"/>
                <a:gd name="connsiteY8" fmla="*/ 815975 h 815975"/>
                <a:gd name="connsiteX9" fmla="*/ 171450 w 825500"/>
                <a:gd name="connsiteY9" fmla="*/ 285750 h 815975"/>
                <a:gd name="connsiteX10" fmla="*/ 104775 w 825500"/>
                <a:gd name="connsiteY10" fmla="*/ 660400 h 815975"/>
                <a:gd name="connsiteX11" fmla="*/ 0 w 825500"/>
                <a:gd name="connsiteY11" fmla="*/ 657225 h 815975"/>
                <a:gd name="connsiteX12" fmla="*/ 149225 w 825500"/>
                <a:gd name="connsiteY12" fmla="*/ 28575 h 815975"/>
                <a:gd name="connsiteX13" fmla="*/ 336550 w 825500"/>
                <a:gd name="connsiteY13" fmla="*/ 0 h 815975"/>
                <a:gd name="connsiteX0" fmla="*/ 336550 w 825500"/>
                <a:gd name="connsiteY0" fmla="*/ 0 h 815975"/>
                <a:gd name="connsiteX1" fmla="*/ 415925 w 825500"/>
                <a:gd name="connsiteY1" fmla="*/ 574675 h 815975"/>
                <a:gd name="connsiteX2" fmla="*/ 492125 w 825500"/>
                <a:gd name="connsiteY2" fmla="*/ 3175 h 815975"/>
                <a:gd name="connsiteX3" fmla="*/ 676275 w 825500"/>
                <a:gd name="connsiteY3" fmla="*/ 19050 h 815975"/>
                <a:gd name="connsiteX4" fmla="*/ 825500 w 825500"/>
                <a:gd name="connsiteY4" fmla="*/ 654050 h 815975"/>
                <a:gd name="connsiteX5" fmla="*/ 717550 w 825500"/>
                <a:gd name="connsiteY5" fmla="*/ 657225 h 815975"/>
                <a:gd name="connsiteX6" fmla="*/ 666750 w 825500"/>
                <a:gd name="connsiteY6" fmla="*/ 285750 h 815975"/>
                <a:gd name="connsiteX7" fmla="*/ 638175 w 825500"/>
                <a:gd name="connsiteY7" fmla="*/ 815975 h 815975"/>
                <a:gd name="connsiteX8" fmla="*/ 187325 w 825500"/>
                <a:gd name="connsiteY8" fmla="*/ 815975 h 815975"/>
                <a:gd name="connsiteX9" fmla="*/ 171450 w 825500"/>
                <a:gd name="connsiteY9" fmla="*/ 285750 h 815975"/>
                <a:gd name="connsiteX10" fmla="*/ 104775 w 825500"/>
                <a:gd name="connsiteY10" fmla="*/ 660400 h 815975"/>
                <a:gd name="connsiteX11" fmla="*/ 0 w 825500"/>
                <a:gd name="connsiteY11" fmla="*/ 657225 h 815975"/>
                <a:gd name="connsiteX12" fmla="*/ 149225 w 825500"/>
                <a:gd name="connsiteY12" fmla="*/ 28575 h 815975"/>
                <a:gd name="connsiteX13" fmla="*/ 336550 w 825500"/>
                <a:gd name="connsiteY13" fmla="*/ 0 h 815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25500" h="815975">
                  <a:moveTo>
                    <a:pt x="336550" y="0"/>
                  </a:moveTo>
                  <a:lnTo>
                    <a:pt x="415925" y="574675"/>
                  </a:lnTo>
                  <a:lnTo>
                    <a:pt x="492125" y="3175"/>
                  </a:lnTo>
                  <a:lnTo>
                    <a:pt x="676275" y="19050"/>
                  </a:lnTo>
                  <a:cubicBezTo>
                    <a:pt x="799042" y="262467"/>
                    <a:pt x="817033" y="531283"/>
                    <a:pt x="825500" y="654050"/>
                  </a:cubicBezTo>
                  <a:lnTo>
                    <a:pt x="717550" y="657225"/>
                  </a:lnTo>
                  <a:cubicBezTo>
                    <a:pt x="729192" y="536575"/>
                    <a:pt x="693208" y="393700"/>
                    <a:pt x="666750" y="285750"/>
                  </a:cubicBezTo>
                  <a:lnTo>
                    <a:pt x="638175" y="815975"/>
                  </a:lnTo>
                  <a:lnTo>
                    <a:pt x="187325" y="815975"/>
                  </a:lnTo>
                  <a:lnTo>
                    <a:pt x="171450" y="285750"/>
                  </a:lnTo>
                  <a:cubicBezTo>
                    <a:pt x="134408" y="384175"/>
                    <a:pt x="110067" y="530225"/>
                    <a:pt x="104775" y="660400"/>
                  </a:cubicBezTo>
                  <a:lnTo>
                    <a:pt x="0" y="657225"/>
                  </a:lnTo>
                  <a:cubicBezTo>
                    <a:pt x="21167" y="508000"/>
                    <a:pt x="35983" y="276225"/>
                    <a:pt x="149225" y="28575"/>
                  </a:cubicBezTo>
                  <a:lnTo>
                    <a:pt x="336550" y="0"/>
                  </a:lnTo>
                  <a:close/>
                </a:path>
              </a:pathLst>
            </a:custGeom>
            <a:solidFill>
              <a:srgbClr val="FEA83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7" name="Freeform 66"/>
            <p:cNvSpPr/>
            <p:nvPr/>
          </p:nvSpPr>
          <p:spPr bwMode="auto">
            <a:xfrm>
              <a:off x="6460806" y="5725197"/>
              <a:ext cx="118153" cy="58573"/>
            </a:xfrm>
            <a:custGeom>
              <a:avLst/>
              <a:gdLst>
                <a:gd name="connsiteX0" fmla="*/ 93857 w 187714"/>
                <a:gd name="connsiteY0" fmla="*/ 0 h 93056"/>
                <a:gd name="connsiteX1" fmla="*/ 180525 w 187714"/>
                <a:gd name="connsiteY1" fmla="*/ 57448 h 93056"/>
                <a:gd name="connsiteX2" fmla="*/ 187714 w 187714"/>
                <a:gd name="connsiteY2" fmla="*/ 93056 h 93056"/>
                <a:gd name="connsiteX3" fmla="*/ 0 w 187714"/>
                <a:gd name="connsiteY3" fmla="*/ 93056 h 93056"/>
                <a:gd name="connsiteX4" fmla="*/ 7189 w 187714"/>
                <a:gd name="connsiteY4" fmla="*/ 57448 h 93056"/>
                <a:gd name="connsiteX5" fmla="*/ 93857 w 187714"/>
                <a:gd name="connsiteY5" fmla="*/ 0 h 93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7714" h="93056">
                  <a:moveTo>
                    <a:pt x="93857" y="0"/>
                  </a:moveTo>
                  <a:cubicBezTo>
                    <a:pt x="132818" y="0"/>
                    <a:pt x="166246" y="23688"/>
                    <a:pt x="180525" y="57448"/>
                  </a:cubicBezTo>
                  <a:lnTo>
                    <a:pt x="187714" y="93056"/>
                  </a:lnTo>
                  <a:lnTo>
                    <a:pt x="0" y="93056"/>
                  </a:lnTo>
                  <a:lnTo>
                    <a:pt x="7189" y="57448"/>
                  </a:lnTo>
                  <a:cubicBezTo>
                    <a:pt x="21468" y="23688"/>
                    <a:pt x="54896" y="0"/>
                    <a:pt x="93857" y="0"/>
                  </a:cubicBezTo>
                  <a:close/>
                </a:path>
              </a:pathLst>
            </a:custGeom>
            <a:solidFill>
              <a:srgbClr val="6633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836" b="0" i="0" u="none" strike="noStrike" kern="0" cap="none" spc="0" normalizeH="0" baseline="0" noProof="0" dirty="0" smtClean="0">
                <a:ln>
                  <a:noFill/>
                </a:ln>
                <a:solidFill>
                  <a:srgbClr val="FFFFFF"/>
                </a:solidFill>
                <a:effectLst/>
                <a:uLnTx/>
                <a:uFillTx/>
                <a:latin typeface="Segoe UI"/>
                <a:ea typeface="+mn-ea"/>
                <a:cs typeface="+mn-cs"/>
              </a:endParaRPr>
            </a:p>
          </p:txBody>
        </p:sp>
        <p:sp>
          <p:nvSpPr>
            <p:cNvPr id="68" name="Freeform 67"/>
            <p:cNvSpPr/>
            <p:nvPr/>
          </p:nvSpPr>
          <p:spPr bwMode="auto">
            <a:xfrm>
              <a:off x="6600387" y="5725197"/>
              <a:ext cx="118153" cy="58573"/>
            </a:xfrm>
            <a:custGeom>
              <a:avLst/>
              <a:gdLst>
                <a:gd name="connsiteX0" fmla="*/ 93857 w 187714"/>
                <a:gd name="connsiteY0" fmla="*/ 0 h 93056"/>
                <a:gd name="connsiteX1" fmla="*/ 180525 w 187714"/>
                <a:gd name="connsiteY1" fmla="*/ 57448 h 93056"/>
                <a:gd name="connsiteX2" fmla="*/ 187714 w 187714"/>
                <a:gd name="connsiteY2" fmla="*/ 93056 h 93056"/>
                <a:gd name="connsiteX3" fmla="*/ 0 w 187714"/>
                <a:gd name="connsiteY3" fmla="*/ 93056 h 93056"/>
                <a:gd name="connsiteX4" fmla="*/ 7189 w 187714"/>
                <a:gd name="connsiteY4" fmla="*/ 57448 h 93056"/>
                <a:gd name="connsiteX5" fmla="*/ 93857 w 187714"/>
                <a:gd name="connsiteY5" fmla="*/ 0 h 93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7714" h="93056">
                  <a:moveTo>
                    <a:pt x="93857" y="0"/>
                  </a:moveTo>
                  <a:cubicBezTo>
                    <a:pt x="132818" y="0"/>
                    <a:pt x="166246" y="23688"/>
                    <a:pt x="180525" y="57448"/>
                  </a:cubicBezTo>
                  <a:lnTo>
                    <a:pt x="187714" y="93056"/>
                  </a:lnTo>
                  <a:lnTo>
                    <a:pt x="0" y="93056"/>
                  </a:lnTo>
                  <a:lnTo>
                    <a:pt x="7189" y="57448"/>
                  </a:lnTo>
                  <a:cubicBezTo>
                    <a:pt x="21468" y="23688"/>
                    <a:pt x="54896" y="0"/>
                    <a:pt x="93857" y="0"/>
                  </a:cubicBezTo>
                  <a:close/>
                </a:path>
              </a:pathLst>
            </a:custGeom>
            <a:solidFill>
              <a:srgbClr val="6633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1836" b="0" i="0" u="none" strike="noStrike" kern="0" cap="none" spc="0" normalizeH="0" baseline="0" noProof="0" dirty="0" smtClean="0">
                <a:ln>
                  <a:noFill/>
                </a:ln>
                <a:solidFill>
                  <a:srgbClr val="FFFFFF"/>
                </a:solidFill>
                <a:effectLst/>
                <a:uLnTx/>
                <a:uFillTx/>
                <a:latin typeface="Segoe UI"/>
                <a:ea typeface="+mn-ea"/>
                <a:cs typeface="+mn-cs"/>
              </a:endParaRPr>
            </a:p>
          </p:txBody>
        </p:sp>
        <p:sp>
          <p:nvSpPr>
            <p:cNvPr id="69" name="Freeform 68"/>
            <p:cNvSpPr/>
            <p:nvPr/>
          </p:nvSpPr>
          <p:spPr bwMode="auto">
            <a:xfrm rot="5400000">
              <a:off x="6423163" y="3832184"/>
              <a:ext cx="333779" cy="262979"/>
            </a:xfrm>
            <a:custGeom>
              <a:avLst/>
              <a:gdLst>
                <a:gd name="connsiteX0" fmla="*/ 0 w 392904"/>
                <a:gd name="connsiteY0" fmla="*/ 184191 h 309562"/>
                <a:gd name="connsiteX1" fmla="*/ 0 w 392904"/>
                <a:gd name="connsiteY1" fmla="*/ 125371 h 309562"/>
                <a:gd name="connsiteX2" fmla="*/ 95323 w 392904"/>
                <a:gd name="connsiteY2" fmla="*/ 30048 h 309562"/>
                <a:gd name="connsiteX3" fmla="*/ 107911 w 392904"/>
                <a:gd name="connsiteY3" fmla="*/ 30048 h 309562"/>
                <a:gd name="connsiteX4" fmla="*/ 116458 w 392904"/>
                <a:gd name="connsiteY4" fmla="*/ 9416 h 309562"/>
                <a:gd name="connsiteX5" fmla="*/ 139189 w 392904"/>
                <a:gd name="connsiteY5" fmla="*/ 0 h 309562"/>
                <a:gd name="connsiteX6" fmla="*/ 182279 w 392904"/>
                <a:gd name="connsiteY6" fmla="*/ 0 h 309562"/>
                <a:gd name="connsiteX7" fmla="*/ 205010 w 392904"/>
                <a:gd name="connsiteY7" fmla="*/ 9416 h 309562"/>
                <a:gd name="connsiteX8" fmla="*/ 213557 w 392904"/>
                <a:gd name="connsiteY8" fmla="*/ 30048 h 309562"/>
                <a:gd name="connsiteX9" fmla="*/ 252339 w 392904"/>
                <a:gd name="connsiteY9" fmla="*/ 30048 h 309562"/>
                <a:gd name="connsiteX10" fmla="*/ 319742 w 392904"/>
                <a:gd name="connsiteY10" fmla="*/ 57968 h 309562"/>
                <a:gd name="connsiteX11" fmla="*/ 336441 w 392904"/>
                <a:gd name="connsiteY11" fmla="*/ 82735 h 309562"/>
                <a:gd name="connsiteX12" fmla="*/ 357186 w 392904"/>
                <a:gd name="connsiteY12" fmla="*/ 80848 h 309562"/>
                <a:gd name="connsiteX13" fmla="*/ 392904 w 392904"/>
                <a:gd name="connsiteY13" fmla="*/ 152286 h 309562"/>
                <a:gd name="connsiteX14" fmla="*/ 357186 w 392904"/>
                <a:gd name="connsiteY14" fmla="*/ 235629 h 309562"/>
                <a:gd name="connsiteX15" fmla="*/ 330992 w 392904"/>
                <a:gd name="connsiteY15" fmla="*/ 235629 h 309562"/>
                <a:gd name="connsiteX16" fmla="*/ 330992 w 392904"/>
                <a:gd name="connsiteY16" fmla="*/ 234909 h 309562"/>
                <a:gd name="connsiteX17" fmla="*/ 319742 w 392904"/>
                <a:gd name="connsiteY17" fmla="*/ 251594 h 309562"/>
                <a:gd name="connsiteX18" fmla="*/ 252339 w 392904"/>
                <a:gd name="connsiteY18" fmla="*/ 279514 h 309562"/>
                <a:gd name="connsiteX19" fmla="*/ 213557 w 392904"/>
                <a:gd name="connsiteY19" fmla="*/ 279514 h 309562"/>
                <a:gd name="connsiteX20" fmla="*/ 205010 w 392904"/>
                <a:gd name="connsiteY20" fmla="*/ 300146 h 309562"/>
                <a:gd name="connsiteX21" fmla="*/ 182279 w 392904"/>
                <a:gd name="connsiteY21" fmla="*/ 309562 h 309562"/>
                <a:gd name="connsiteX22" fmla="*/ 139189 w 392904"/>
                <a:gd name="connsiteY22" fmla="*/ 309562 h 309562"/>
                <a:gd name="connsiteX23" fmla="*/ 116458 w 392904"/>
                <a:gd name="connsiteY23" fmla="*/ 300146 h 309562"/>
                <a:gd name="connsiteX24" fmla="*/ 107911 w 392904"/>
                <a:gd name="connsiteY24" fmla="*/ 279514 h 309562"/>
                <a:gd name="connsiteX25" fmla="*/ 95323 w 392904"/>
                <a:gd name="connsiteY25" fmla="*/ 279514 h 309562"/>
                <a:gd name="connsiteX26" fmla="*/ 0 w 392904"/>
                <a:gd name="connsiteY26" fmla="*/ 184191 h 309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92904" h="309562">
                  <a:moveTo>
                    <a:pt x="0" y="184191"/>
                  </a:moveTo>
                  <a:lnTo>
                    <a:pt x="0" y="125371"/>
                  </a:lnTo>
                  <a:cubicBezTo>
                    <a:pt x="0" y="72726"/>
                    <a:pt x="42678" y="30048"/>
                    <a:pt x="95323" y="30048"/>
                  </a:cubicBezTo>
                  <a:lnTo>
                    <a:pt x="107911" y="30048"/>
                  </a:lnTo>
                  <a:lnTo>
                    <a:pt x="116458" y="9416"/>
                  </a:lnTo>
                  <a:cubicBezTo>
                    <a:pt x="122275" y="3598"/>
                    <a:pt x="130312" y="0"/>
                    <a:pt x="139189" y="0"/>
                  </a:cubicBezTo>
                  <a:lnTo>
                    <a:pt x="182279" y="0"/>
                  </a:lnTo>
                  <a:cubicBezTo>
                    <a:pt x="191156" y="0"/>
                    <a:pt x="199193" y="3598"/>
                    <a:pt x="205010" y="9416"/>
                  </a:cubicBezTo>
                  <a:lnTo>
                    <a:pt x="213557" y="30048"/>
                  </a:lnTo>
                  <a:lnTo>
                    <a:pt x="252339" y="30048"/>
                  </a:lnTo>
                  <a:cubicBezTo>
                    <a:pt x="278662" y="30048"/>
                    <a:pt x="302492" y="40718"/>
                    <a:pt x="319742" y="57968"/>
                  </a:cubicBezTo>
                  <a:lnTo>
                    <a:pt x="336441" y="82735"/>
                  </a:lnTo>
                  <a:lnTo>
                    <a:pt x="357186" y="80848"/>
                  </a:lnTo>
                  <a:lnTo>
                    <a:pt x="392904" y="152286"/>
                  </a:lnTo>
                  <a:lnTo>
                    <a:pt x="357186" y="235629"/>
                  </a:lnTo>
                  <a:lnTo>
                    <a:pt x="330992" y="235629"/>
                  </a:lnTo>
                  <a:lnTo>
                    <a:pt x="330992" y="234909"/>
                  </a:lnTo>
                  <a:lnTo>
                    <a:pt x="319742" y="251594"/>
                  </a:lnTo>
                  <a:cubicBezTo>
                    <a:pt x="302492" y="268845"/>
                    <a:pt x="278662" y="279514"/>
                    <a:pt x="252339" y="279514"/>
                  </a:cubicBezTo>
                  <a:lnTo>
                    <a:pt x="213557" y="279514"/>
                  </a:lnTo>
                  <a:lnTo>
                    <a:pt x="205010" y="300146"/>
                  </a:lnTo>
                  <a:cubicBezTo>
                    <a:pt x="199193" y="305964"/>
                    <a:pt x="191156" y="309562"/>
                    <a:pt x="182279" y="309562"/>
                  </a:cubicBezTo>
                  <a:lnTo>
                    <a:pt x="139189" y="309562"/>
                  </a:lnTo>
                  <a:cubicBezTo>
                    <a:pt x="130312" y="309562"/>
                    <a:pt x="122275" y="305964"/>
                    <a:pt x="116458" y="300146"/>
                  </a:cubicBezTo>
                  <a:lnTo>
                    <a:pt x="107911" y="279514"/>
                  </a:lnTo>
                  <a:lnTo>
                    <a:pt x="95323" y="279514"/>
                  </a:lnTo>
                  <a:cubicBezTo>
                    <a:pt x="42678" y="279514"/>
                    <a:pt x="0" y="236836"/>
                    <a:pt x="0" y="184191"/>
                  </a:cubicBezTo>
                  <a:close/>
                </a:path>
              </a:pathLst>
            </a:custGeom>
            <a:solidFill>
              <a:srgbClr val="FFC0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0" name="Freeform 69"/>
            <p:cNvSpPr/>
            <p:nvPr/>
          </p:nvSpPr>
          <p:spPr bwMode="auto">
            <a:xfrm>
              <a:off x="6427944" y="3755489"/>
              <a:ext cx="309885" cy="182222"/>
            </a:xfrm>
            <a:custGeom>
              <a:avLst/>
              <a:gdLst>
                <a:gd name="connsiteX0" fmla="*/ 300038 w 300038"/>
                <a:gd name="connsiteY0" fmla="*/ 190500 h 190500"/>
                <a:gd name="connsiteX1" fmla="*/ 271463 w 300038"/>
                <a:gd name="connsiteY1" fmla="*/ 116681 h 190500"/>
                <a:gd name="connsiteX2" fmla="*/ 195263 w 300038"/>
                <a:gd name="connsiteY2" fmla="*/ 107156 h 190500"/>
                <a:gd name="connsiteX3" fmla="*/ 52388 w 300038"/>
                <a:gd name="connsiteY3" fmla="*/ 100012 h 190500"/>
                <a:gd name="connsiteX4" fmla="*/ 21431 w 300038"/>
                <a:gd name="connsiteY4" fmla="*/ 119062 h 190500"/>
                <a:gd name="connsiteX5" fmla="*/ 23813 w 300038"/>
                <a:gd name="connsiteY5" fmla="*/ 164306 h 190500"/>
                <a:gd name="connsiteX6" fmla="*/ 0 w 300038"/>
                <a:gd name="connsiteY6" fmla="*/ 171450 h 190500"/>
                <a:gd name="connsiteX7" fmla="*/ 97631 w 300038"/>
                <a:gd name="connsiteY7" fmla="*/ 0 h 190500"/>
                <a:gd name="connsiteX8" fmla="*/ 214313 w 300038"/>
                <a:gd name="connsiteY8" fmla="*/ 40481 h 190500"/>
                <a:gd name="connsiteX9" fmla="*/ 300038 w 300038"/>
                <a:gd name="connsiteY9" fmla="*/ 190500 h 190500"/>
                <a:gd name="connsiteX0" fmla="*/ 300038 w 300038"/>
                <a:gd name="connsiteY0" fmla="*/ 190500 h 190500"/>
                <a:gd name="connsiteX1" fmla="*/ 271463 w 300038"/>
                <a:gd name="connsiteY1" fmla="*/ 116681 h 190500"/>
                <a:gd name="connsiteX2" fmla="*/ 195263 w 300038"/>
                <a:gd name="connsiteY2" fmla="*/ 107156 h 190500"/>
                <a:gd name="connsiteX3" fmla="*/ 52388 w 300038"/>
                <a:gd name="connsiteY3" fmla="*/ 100012 h 190500"/>
                <a:gd name="connsiteX4" fmla="*/ 21431 w 300038"/>
                <a:gd name="connsiteY4" fmla="*/ 119062 h 190500"/>
                <a:gd name="connsiteX5" fmla="*/ 23813 w 300038"/>
                <a:gd name="connsiteY5" fmla="*/ 164306 h 190500"/>
                <a:gd name="connsiteX6" fmla="*/ 0 w 300038"/>
                <a:gd name="connsiteY6" fmla="*/ 171450 h 190500"/>
                <a:gd name="connsiteX7" fmla="*/ 97631 w 300038"/>
                <a:gd name="connsiteY7" fmla="*/ 0 h 190500"/>
                <a:gd name="connsiteX8" fmla="*/ 214313 w 300038"/>
                <a:gd name="connsiteY8" fmla="*/ 40481 h 190500"/>
                <a:gd name="connsiteX9" fmla="*/ 300038 w 300038"/>
                <a:gd name="connsiteY9" fmla="*/ 190500 h 190500"/>
                <a:gd name="connsiteX0" fmla="*/ 300038 w 300038"/>
                <a:gd name="connsiteY0" fmla="*/ 190500 h 190500"/>
                <a:gd name="connsiteX1" fmla="*/ 271463 w 300038"/>
                <a:gd name="connsiteY1" fmla="*/ 116681 h 190500"/>
                <a:gd name="connsiteX2" fmla="*/ 195263 w 300038"/>
                <a:gd name="connsiteY2" fmla="*/ 107156 h 190500"/>
                <a:gd name="connsiteX3" fmla="*/ 52388 w 300038"/>
                <a:gd name="connsiteY3" fmla="*/ 100012 h 190500"/>
                <a:gd name="connsiteX4" fmla="*/ 21431 w 300038"/>
                <a:gd name="connsiteY4" fmla="*/ 119062 h 190500"/>
                <a:gd name="connsiteX5" fmla="*/ 23813 w 300038"/>
                <a:gd name="connsiteY5" fmla="*/ 164306 h 190500"/>
                <a:gd name="connsiteX6" fmla="*/ 0 w 300038"/>
                <a:gd name="connsiteY6" fmla="*/ 171450 h 190500"/>
                <a:gd name="connsiteX7" fmla="*/ 97631 w 300038"/>
                <a:gd name="connsiteY7" fmla="*/ 0 h 190500"/>
                <a:gd name="connsiteX8" fmla="*/ 214313 w 300038"/>
                <a:gd name="connsiteY8" fmla="*/ 40481 h 190500"/>
                <a:gd name="connsiteX9" fmla="*/ 300038 w 300038"/>
                <a:gd name="connsiteY9" fmla="*/ 190500 h 190500"/>
                <a:gd name="connsiteX0" fmla="*/ 300038 w 301649"/>
                <a:gd name="connsiteY0" fmla="*/ 190500 h 190500"/>
                <a:gd name="connsiteX1" fmla="*/ 271463 w 301649"/>
                <a:gd name="connsiteY1" fmla="*/ 116681 h 190500"/>
                <a:gd name="connsiteX2" fmla="*/ 195263 w 301649"/>
                <a:gd name="connsiteY2" fmla="*/ 107156 h 190500"/>
                <a:gd name="connsiteX3" fmla="*/ 52388 w 301649"/>
                <a:gd name="connsiteY3" fmla="*/ 100012 h 190500"/>
                <a:gd name="connsiteX4" fmla="*/ 21431 w 301649"/>
                <a:gd name="connsiteY4" fmla="*/ 119062 h 190500"/>
                <a:gd name="connsiteX5" fmla="*/ 23813 w 301649"/>
                <a:gd name="connsiteY5" fmla="*/ 164306 h 190500"/>
                <a:gd name="connsiteX6" fmla="*/ 0 w 301649"/>
                <a:gd name="connsiteY6" fmla="*/ 171450 h 190500"/>
                <a:gd name="connsiteX7" fmla="*/ 97631 w 301649"/>
                <a:gd name="connsiteY7" fmla="*/ 0 h 190500"/>
                <a:gd name="connsiteX8" fmla="*/ 214313 w 301649"/>
                <a:gd name="connsiteY8" fmla="*/ 40481 h 190500"/>
                <a:gd name="connsiteX9" fmla="*/ 300038 w 301649"/>
                <a:gd name="connsiteY9" fmla="*/ 190500 h 190500"/>
                <a:gd name="connsiteX0" fmla="*/ 300038 w 301649"/>
                <a:gd name="connsiteY0" fmla="*/ 194507 h 194507"/>
                <a:gd name="connsiteX1" fmla="*/ 271463 w 301649"/>
                <a:gd name="connsiteY1" fmla="*/ 120688 h 194507"/>
                <a:gd name="connsiteX2" fmla="*/ 195263 w 301649"/>
                <a:gd name="connsiteY2" fmla="*/ 111163 h 194507"/>
                <a:gd name="connsiteX3" fmla="*/ 52388 w 301649"/>
                <a:gd name="connsiteY3" fmla="*/ 104019 h 194507"/>
                <a:gd name="connsiteX4" fmla="*/ 21431 w 301649"/>
                <a:gd name="connsiteY4" fmla="*/ 123069 h 194507"/>
                <a:gd name="connsiteX5" fmla="*/ 23813 w 301649"/>
                <a:gd name="connsiteY5" fmla="*/ 168313 h 194507"/>
                <a:gd name="connsiteX6" fmla="*/ 0 w 301649"/>
                <a:gd name="connsiteY6" fmla="*/ 175457 h 194507"/>
                <a:gd name="connsiteX7" fmla="*/ 97631 w 301649"/>
                <a:gd name="connsiteY7" fmla="*/ 4007 h 194507"/>
                <a:gd name="connsiteX8" fmla="*/ 214313 w 301649"/>
                <a:gd name="connsiteY8" fmla="*/ 44488 h 194507"/>
                <a:gd name="connsiteX9" fmla="*/ 300038 w 301649"/>
                <a:gd name="connsiteY9" fmla="*/ 194507 h 194507"/>
                <a:gd name="connsiteX0" fmla="*/ 300038 w 301649"/>
                <a:gd name="connsiteY0" fmla="*/ 195665 h 195665"/>
                <a:gd name="connsiteX1" fmla="*/ 271463 w 301649"/>
                <a:gd name="connsiteY1" fmla="*/ 121846 h 195665"/>
                <a:gd name="connsiteX2" fmla="*/ 195263 w 301649"/>
                <a:gd name="connsiteY2" fmla="*/ 112321 h 195665"/>
                <a:gd name="connsiteX3" fmla="*/ 52388 w 301649"/>
                <a:gd name="connsiteY3" fmla="*/ 105177 h 195665"/>
                <a:gd name="connsiteX4" fmla="*/ 21431 w 301649"/>
                <a:gd name="connsiteY4" fmla="*/ 124227 h 195665"/>
                <a:gd name="connsiteX5" fmla="*/ 23813 w 301649"/>
                <a:gd name="connsiteY5" fmla="*/ 169471 h 195665"/>
                <a:gd name="connsiteX6" fmla="*/ 0 w 301649"/>
                <a:gd name="connsiteY6" fmla="*/ 176615 h 195665"/>
                <a:gd name="connsiteX7" fmla="*/ 97631 w 301649"/>
                <a:gd name="connsiteY7" fmla="*/ 5165 h 195665"/>
                <a:gd name="connsiteX8" fmla="*/ 214313 w 301649"/>
                <a:gd name="connsiteY8" fmla="*/ 45646 h 195665"/>
                <a:gd name="connsiteX9" fmla="*/ 300038 w 301649"/>
                <a:gd name="connsiteY9" fmla="*/ 195665 h 195665"/>
                <a:gd name="connsiteX0" fmla="*/ 300038 w 301649"/>
                <a:gd name="connsiteY0" fmla="*/ 195665 h 195665"/>
                <a:gd name="connsiteX1" fmla="*/ 271463 w 301649"/>
                <a:gd name="connsiteY1" fmla="*/ 121846 h 195665"/>
                <a:gd name="connsiteX2" fmla="*/ 195263 w 301649"/>
                <a:gd name="connsiteY2" fmla="*/ 112321 h 195665"/>
                <a:gd name="connsiteX3" fmla="*/ 52388 w 301649"/>
                <a:gd name="connsiteY3" fmla="*/ 105177 h 195665"/>
                <a:gd name="connsiteX4" fmla="*/ 45243 w 301649"/>
                <a:gd name="connsiteY4" fmla="*/ 150420 h 195665"/>
                <a:gd name="connsiteX5" fmla="*/ 23813 w 301649"/>
                <a:gd name="connsiteY5" fmla="*/ 169471 h 195665"/>
                <a:gd name="connsiteX6" fmla="*/ 0 w 301649"/>
                <a:gd name="connsiteY6" fmla="*/ 176615 h 195665"/>
                <a:gd name="connsiteX7" fmla="*/ 97631 w 301649"/>
                <a:gd name="connsiteY7" fmla="*/ 5165 h 195665"/>
                <a:gd name="connsiteX8" fmla="*/ 214313 w 301649"/>
                <a:gd name="connsiteY8" fmla="*/ 45646 h 195665"/>
                <a:gd name="connsiteX9" fmla="*/ 300038 w 301649"/>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5688 w 302094"/>
                <a:gd name="connsiteY4" fmla="*/ 150420 h 195665"/>
                <a:gd name="connsiteX5" fmla="*/ 24258 w 302094"/>
                <a:gd name="connsiteY5" fmla="*/ 169471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5688 w 302094"/>
                <a:gd name="connsiteY4" fmla="*/ 150420 h 195665"/>
                <a:gd name="connsiteX5" fmla="*/ 21877 w 302094"/>
                <a:gd name="connsiteY5" fmla="*/ 131371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3307 w 302094"/>
                <a:gd name="connsiteY4" fmla="*/ 126608 h 195665"/>
                <a:gd name="connsiteX5" fmla="*/ 21877 w 302094"/>
                <a:gd name="connsiteY5" fmla="*/ 131371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3307 w 302094"/>
                <a:gd name="connsiteY4" fmla="*/ 126608 h 195665"/>
                <a:gd name="connsiteX5" fmla="*/ 12352 w 302094"/>
                <a:gd name="connsiteY5" fmla="*/ 171852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3307 w 302094"/>
                <a:gd name="connsiteY4" fmla="*/ 126608 h 195665"/>
                <a:gd name="connsiteX5" fmla="*/ 12352 w 302094"/>
                <a:gd name="connsiteY5" fmla="*/ 171852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3307 w 302094"/>
                <a:gd name="connsiteY4" fmla="*/ 126608 h 195665"/>
                <a:gd name="connsiteX5" fmla="*/ 12352 w 302094"/>
                <a:gd name="connsiteY5" fmla="*/ 171852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3307 w 302094"/>
                <a:gd name="connsiteY4" fmla="*/ 126608 h 195665"/>
                <a:gd name="connsiteX5" fmla="*/ 12352 w 302094"/>
                <a:gd name="connsiteY5" fmla="*/ 171852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3307 w 302094"/>
                <a:gd name="connsiteY4" fmla="*/ 126608 h 195665"/>
                <a:gd name="connsiteX5" fmla="*/ 12352 w 302094"/>
                <a:gd name="connsiteY5" fmla="*/ 171852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1906"/>
                <a:gd name="connsiteY0" fmla="*/ 195665 h 195665"/>
                <a:gd name="connsiteX1" fmla="*/ 271908 w 301906"/>
                <a:gd name="connsiteY1" fmla="*/ 121846 h 195665"/>
                <a:gd name="connsiteX2" fmla="*/ 195708 w 301906"/>
                <a:gd name="connsiteY2" fmla="*/ 112321 h 195665"/>
                <a:gd name="connsiteX3" fmla="*/ 52833 w 301906"/>
                <a:gd name="connsiteY3" fmla="*/ 105177 h 195665"/>
                <a:gd name="connsiteX4" fmla="*/ 43307 w 301906"/>
                <a:gd name="connsiteY4" fmla="*/ 126608 h 195665"/>
                <a:gd name="connsiteX5" fmla="*/ 12352 w 301906"/>
                <a:gd name="connsiteY5" fmla="*/ 171852 h 195665"/>
                <a:gd name="connsiteX6" fmla="*/ 445 w 301906"/>
                <a:gd name="connsiteY6" fmla="*/ 176615 h 195665"/>
                <a:gd name="connsiteX7" fmla="*/ 98076 w 301906"/>
                <a:gd name="connsiteY7" fmla="*/ 5165 h 195665"/>
                <a:gd name="connsiteX8" fmla="*/ 214758 w 301906"/>
                <a:gd name="connsiteY8" fmla="*/ 45646 h 195665"/>
                <a:gd name="connsiteX9" fmla="*/ 300483 w 301906"/>
                <a:gd name="connsiteY9" fmla="*/ 195665 h 195665"/>
                <a:gd name="connsiteX0" fmla="*/ 300483 w 301906"/>
                <a:gd name="connsiteY0" fmla="*/ 195665 h 195665"/>
                <a:gd name="connsiteX1" fmla="*/ 271908 w 301906"/>
                <a:gd name="connsiteY1" fmla="*/ 121846 h 195665"/>
                <a:gd name="connsiteX2" fmla="*/ 195708 w 301906"/>
                <a:gd name="connsiteY2" fmla="*/ 112321 h 195665"/>
                <a:gd name="connsiteX3" fmla="*/ 52833 w 301906"/>
                <a:gd name="connsiteY3" fmla="*/ 105177 h 195665"/>
                <a:gd name="connsiteX4" fmla="*/ 43307 w 301906"/>
                <a:gd name="connsiteY4" fmla="*/ 126608 h 195665"/>
                <a:gd name="connsiteX5" fmla="*/ 12352 w 301906"/>
                <a:gd name="connsiteY5" fmla="*/ 171852 h 195665"/>
                <a:gd name="connsiteX6" fmla="*/ 445 w 301906"/>
                <a:gd name="connsiteY6" fmla="*/ 176615 h 195665"/>
                <a:gd name="connsiteX7" fmla="*/ 98076 w 301906"/>
                <a:gd name="connsiteY7" fmla="*/ 5165 h 195665"/>
                <a:gd name="connsiteX8" fmla="*/ 214758 w 301906"/>
                <a:gd name="connsiteY8" fmla="*/ 45646 h 195665"/>
                <a:gd name="connsiteX9" fmla="*/ 300483 w 301906"/>
                <a:gd name="connsiteY9" fmla="*/ 195665 h 195665"/>
                <a:gd name="connsiteX0" fmla="*/ 300157 w 305426"/>
                <a:gd name="connsiteY0" fmla="*/ 207197 h 207197"/>
                <a:gd name="connsiteX1" fmla="*/ 271582 w 305426"/>
                <a:gd name="connsiteY1" fmla="*/ 133378 h 207197"/>
                <a:gd name="connsiteX2" fmla="*/ 195382 w 305426"/>
                <a:gd name="connsiteY2" fmla="*/ 123853 h 207197"/>
                <a:gd name="connsiteX3" fmla="*/ 52507 w 305426"/>
                <a:gd name="connsiteY3" fmla="*/ 116709 h 207197"/>
                <a:gd name="connsiteX4" fmla="*/ 42981 w 305426"/>
                <a:gd name="connsiteY4" fmla="*/ 138140 h 207197"/>
                <a:gd name="connsiteX5" fmla="*/ 12026 w 305426"/>
                <a:gd name="connsiteY5" fmla="*/ 183384 h 207197"/>
                <a:gd name="connsiteX6" fmla="*/ 119 w 305426"/>
                <a:gd name="connsiteY6" fmla="*/ 188147 h 207197"/>
                <a:gd name="connsiteX7" fmla="*/ 97750 w 305426"/>
                <a:gd name="connsiteY7" fmla="*/ 16697 h 207197"/>
                <a:gd name="connsiteX8" fmla="*/ 236657 w 305426"/>
                <a:gd name="connsiteY8" fmla="*/ 25428 h 207197"/>
                <a:gd name="connsiteX9" fmla="*/ 300157 w 305426"/>
                <a:gd name="connsiteY9" fmla="*/ 207197 h 207197"/>
                <a:gd name="connsiteX0" fmla="*/ 301589 w 306858"/>
                <a:gd name="connsiteY0" fmla="*/ 228594 h 228594"/>
                <a:gd name="connsiteX1" fmla="*/ 273014 w 306858"/>
                <a:gd name="connsiteY1" fmla="*/ 154775 h 228594"/>
                <a:gd name="connsiteX2" fmla="*/ 196814 w 306858"/>
                <a:gd name="connsiteY2" fmla="*/ 145250 h 228594"/>
                <a:gd name="connsiteX3" fmla="*/ 53939 w 306858"/>
                <a:gd name="connsiteY3" fmla="*/ 138106 h 228594"/>
                <a:gd name="connsiteX4" fmla="*/ 44413 w 306858"/>
                <a:gd name="connsiteY4" fmla="*/ 159537 h 228594"/>
                <a:gd name="connsiteX5" fmla="*/ 13458 w 306858"/>
                <a:gd name="connsiteY5" fmla="*/ 204781 h 228594"/>
                <a:gd name="connsiteX6" fmla="*/ 1551 w 306858"/>
                <a:gd name="connsiteY6" fmla="*/ 209544 h 228594"/>
                <a:gd name="connsiteX7" fmla="*/ 35682 w 306858"/>
                <a:gd name="connsiteY7" fmla="*/ 9519 h 228594"/>
                <a:gd name="connsiteX8" fmla="*/ 238089 w 306858"/>
                <a:gd name="connsiteY8" fmla="*/ 46825 h 228594"/>
                <a:gd name="connsiteX9" fmla="*/ 301589 w 306858"/>
                <a:gd name="connsiteY9" fmla="*/ 228594 h 228594"/>
                <a:gd name="connsiteX0" fmla="*/ 309678 w 314947"/>
                <a:gd name="connsiteY0" fmla="*/ 254831 h 254831"/>
                <a:gd name="connsiteX1" fmla="*/ 281103 w 314947"/>
                <a:gd name="connsiteY1" fmla="*/ 181012 h 254831"/>
                <a:gd name="connsiteX2" fmla="*/ 204903 w 314947"/>
                <a:gd name="connsiteY2" fmla="*/ 171487 h 254831"/>
                <a:gd name="connsiteX3" fmla="*/ 62028 w 314947"/>
                <a:gd name="connsiteY3" fmla="*/ 164343 h 254831"/>
                <a:gd name="connsiteX4" fmla="*/ 52502 w 314947"/>
                <a:gd name="connsiteY4" fmla="*/ 185774 h 254831"/>
                <a:gd name="connsiteX5" fmla="*/ 21547 w 314947"/>
                <a:gd name="connsiteY5" fmla="*/ 231018 h 254831"/>
                <a:gd name="connsiteX6" fmla="*/ 9640 w 314947"/>
                <a:gd name="connsiteY6" fmla="*/ 235781 h 254831"/>
                <a:gd name="connsiteX7" fmla="*/ 43771 w 314947"/>
                <a:gd name="connsiteY7" fmla="*/ 35756 h 254831"/>
                <a:gd name="connsiteX8" fmla="*/ 246178 w 314947"/>
                <a:gd name="connsiteY8" fmla="*/ 73062 h 254831"/>
                <a:gd name="connsiteX9" fmla="*/ 309678 w 314947"/>
                <a:gd name="connsiteY9" fmla="*/ 254831 h 254831"/>
                <a:gd name="connsiteX0" fmla="*/ 322378 w 324871"/>
                <a:gd name="connsiteY0" fmla="*/ 280231 h 280231"/>
                <a:gd name="connsiteX1" fmla="*/ 281103 w 324871"/>
                <a:gd name="connsiteY1" fmla="*/ 181012 h 280231"/>
                <a:gd name="connsiteX2" fmla="*/ 204903 w 324871"/>
                <a:gd name="connsiteY2" fmla="*/ 171487 h 280231"/>
                <a:gd name="connsiteX3" fmla="*/ 62028 w 324871"/>
                <a:gd name="connsiteY3" fmla="*/ 164343 h 280231"/>
                <a:gd name="connsiteX4" fmla="*/ 52502 w 324871"/>
                <a:gd name="connsiteY4" fmla="*/ 185774 h 280231"/>
                <a:gd name="connsiteX5" fmla="*/ 21547 w 324871"/>
                <a:gd name="connsiteY5" fmla="*/ 231018 h 280231"/>
                <a:gd name="connsiteX6" fmla="*/ 9640 w 324871"/>
                <a:gd name="connsiteY6" fmla="*/ 235781 h 280231"/>
                <a:gd name="connsiteX7" fmla="*/ 43771 w 324871"/>
                <a:gd name="connsiteY7" fmla="*/ 35756 h 280231"/>
                <a:gd name="connsiteX8" fmla="*/ 246178 w 324871"/>
                <a:gd name="connsiteY8" fmla="*/ 73062 h 280231"/>
                <a:gd name="connsiteX9" fmla="*/ 322378 w 324871"/>
                <a:gd name="connsiteY9" fmla="*/ 280231 h 280231"/>
                <a:gd name="connsiteX0" fmla="*/ 322378 w 335881"/>
                <a:gd name="connsiteY0" fmla="*/ 280231 h 280231"/>
                <a:gd name="connsiteX1" fmla="*/ 281103 w 335881"/>
                <a:gd name="connsiteY1" fmla="*/ 181012 h 280231"/>
                <a:gd name="connsiteX2" fmla="*/ 204903 w 335881"/>
                <a:gd name="connsiteY2" fmla="*/ 171487 h 280231"/>
                <a:gd name="connsiteX3" fmla="*/ 62028 w 335881"/>
                <a:gd name="connsiteY3" fmla="*/ 164343 h 280231"/>
                <a:gd name="connsiteX4" fmla="*/ 52502 w 335881"/>
                <a:gd name="connsiteY4" fmla="*/ 185774 h 280231"/>
                <a:gd name="connsiteX5" fmla="*/ 21547 w 335881"/>
                <a:gd name="connsiteY5" fmla="*/ 231018 h 280231"/>
                <a:gd name="connsiteX6" fmla="*/ 9640 w 335881"/>
                <a:gd name="connsiteY6" fmla="*/ 235781 h 280231"/>
                <a:gd name="connsiteX7" fmla="*/ 43771 w 335881"/>
                <a:gd name="connsiteY7" fmla="*/ 35756 h 280231"/>
                <a:gd name="connsiteX8" fmla="*/ 246178 w 335881"/>
                <a:gd name="connsiteY8" fmla="*/ 73062 h 280231"/>
                <a:gd name="connsiteX9" fmla="*/ 322378 w 335881"/>
                <a:gd name="connsiteY9" fmla="*/ 280231 h 280231"/>
                <a:gd name="connsiteX0" fmla="*/ 320006 w 333509"/>
                <a:gd name="connsiteY0" fmla="*/ 256912 h 256912"/>
                <a:gd name="connsiteX1" fmla="*/ 278731 w 333509"/>
                <a:gd name="connsiteY1" fmla="*/ 157693 h 256912"/>
                <a:gd name="connsiteX2" fmla="*/ 202531 w 333509"/>
                <a:gd name="connsiteY2" fmla="*/ 148168 h 256912"/>
                <a:gd name="connsiteX3" fmla="*/ 59656 w 333509"/>
                <a:gd name="connsiteY3" fmla="*/ 141024 h 256912"/>
                <a:gd name="connsiteX4" fmla="*/ 50130 w 333509"/>
                <a:gd name="connsiteY4" fmla="*/ 162455 h 256912"/>
                <a:gd name="connsiteX5" fmla="*/ 19175 w 333509"/>
                <a:gd name="connsiteY5" fmla="*/ 207699 h 256912"/>
                <a:gd name="connsiteX6" fmla="*/ 918 w 333509"/>
                <a:gd name="connsiteY6" fmla="*/ 253737 h 256912"/>
                <a:gd name="connsiteX7" fmla="*/ 41399 w 333509"/>
                <a:gd name="connsiteY7" fmla="*/ 12437 h 256912"/>
                <a:gd name="connsiteX8" fmla="*/ 243806 w 333509"/>
                <a:gd name="connsiteY8" fmla="*/ 49743 h 256912"/>
                <a:gd name="connsiteX9" fmla="*/ 320006 w 333509"/>
                <a:gd name="connsiteY9" fmla="*/ 256912 h 256912"/>
                <a:gd name="connsiteX0" fmla="*/ 340397 w 353900"/>
                <a:gd name="connsiteY0" fmla="*/ 256912 h 256912"/>
                <a:gd name="connsiteX1" fmla="*/ 299122 w 353900"/>
                <a:gd name="connsiteY1" fmla="*/ 157693 h 256912"/>
                <a:gd name="connsiteX2" fmla="*/ 222922 w 353900"/>
                <a:gd name="connsiteY2" fmla="*/ 148168 h 256912"/>
                <a:gd name="connsiteX3" fmla="*/ 80047 w 353900"/>
                <a:gd name="connsiteY3" fmla="*/ 141024 h 256912"/>
                <a:gd name="connsiteX4" fmla="*/ 70521 w 353900"/>
                <a:gd name="connsiteY4" fmla="*/ 162455 h 256912"/>
                <a:gd name="connsiteX5" fmla="*/ 39566 w 353900"/>
                <a:gd name="connsiteY5" fmla="*/ 207699 h 256912"/>
                <a:gd name="connsiteX6" fmla="*/ 21309 w 353900"/>
                <a:gd name="connsiteY6" fmla="*/ 253737 h 256912"/>
                <a:gd name="connsiteX7" fmla="*/ 61790 w 353900"/>
                <a:gd name="connsiteY7" fmla="*/ 12437 h 256912"/>
                <a:gd name="connsiteX8" fmla="*/ 264197 w 353900"/>
                <a:gd name="connsiteY8" fmla="*/ 49743 h 256912"/>
                <a:gd name="connsiteX9" fmla="*/ 340397 w 353900"/>
                <a:gd name="connsiteY9" fmla="*/ 256912 h 256912"/>
                <a:gd name="connsiteX0" fmla="*/ 351275 w 364778"/>
                <a:gd name="connsiteY0" fmla="*/ 283264 h 283264"/>
                <a:gd name="connsiteX1" fmla="*/ 310000 w 364778"/>
                <a:gd name="connsiteY1" fmla="*/ 184045 h 283264"/>
                <a:gd name="connsiteX2" fmla="*/ 233800 w 364778"/>
                <a:gd name="connsiteY2" fmla="*/ 174520 h 283264"/>
                <a:gd name="connsiteX3" fmla="*/ 90925 w 364778"/>
                <a:gd name="connsiteY3" fmla="*/ 167376 h 283264"/>
                <a:gd name="connsiteX4" fmla="*/ 81399 w 364778"/>
                <a:gd name="connsiteY4" fmla="*/ 188807 h 283264"/>
                <a:gd name="connsiteX5" fmla="*/ 50444 w 364778"/>
                <a:gd name="connsiteY5" fmla="*/ 234051 h 283264"/>
                <a:gd name="connsiteX6" fmla="*/ 32187 w 364778"/>
                <a:gd name="connsiteY6" fmla="*/ 280089 h 283264"/>
                <a:gd name="connsiteX7" fmla="*/ 72668 w 364778"/>
                <a:gd name="connsiteY7" fmla="*/ 38789 h 283264"/>
                <a:gd name="connsiteX8" fmla="*/ 275075 w 364778"/>
                <a:gd name="connsiteY8" fmla="*/ 76095 h 283264"/>
                <a:gd name="connsiteX9" fmla="*/ 351275 w 364778"/>
                <a:gd name="connsiteY9" fmla="*/ 283264 h 283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4778" h="283264">
                  <a:moveTo>
                    <a:pt x="351275" y="283264"/>
                  </a:moveTo>
                  <a:cubicBezTo>
                    <a:pt x="282218" y="246752"/>
                    <a:pt x="319525" y="208651"/>
                    <a:pt x="310000" y="184045"/>
                  </a:cubicBezTo>
                  <a:cubicBezTo>
                    <a:pt x="284600" y="192777"/>
                    <a:pt x="259200" y="177695"/>
                    <a:pt x="233800" y="174520"/>
                  </a:cubicBezTo>
                  <a:cubicBezTo>
                    <a:pt x="155219" y="200714"/>
                    <a:pt x="124262" y="186426"/>
                    <a:pt x="90925" y="167376"/>
                  </a:cubicBezTo>
                  <a:lnTo>
                    <a:pt x="81399" y="188807"/>
                  </a:lnTo>
                  <a:cubicBezTo>
                    <a:pt x="71081" y="203888"/>
                    <a:pt x="70287" y="240402"/>
                    <a:pt x="50444" y="234051"/>
                  </a:cubicBezTo>
                  <a:lnTo>
                    <a:pt x="32187" y="280089"/>
                  </a:lnTo>
                  <a:cubicBezTo>
                    <a:pt x="-18613" y="186426"/>
                    <a:pt x="-12263" y="133113"/>
                    <a:pt x="72668" y="38789"/>
                  </a:cubicBezTo>
                  <a:cubicBezTo>
                    <a:pt x="157599" y="-55535"/>
                    <a:pt x="264756" y="48313"/>
                    <a:pt x="275075" y="76095"/>
                  </a:cubicBezTo>
                  <a:cubicBezTo>
                    <a:pt x="363181" y="61807"/>
                    <a:pt x="381438" y="253102"/>
                    <a:pt x="351275" y="283264"/>
                  </a:cubicBezTo>
                  <a:close/>
                </a:path>
              </a:pathLst>
            </a:custGeom>
            <a:solidFill>
              <a:srgbClr val="3F3F3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73" name="Group 72"/>
          <p:cNvGrpSpPr/>
          <p:nvPr/>
        </p:nvGrpSpPr>
        <p:grpSpPr>
          <a:xfrm>
            <a:off x="9037470" y="3048781"/>
            <a:ext cx="1086962" cy="755697"/>
            <a:chOff x="7548883" y="4114998"/>
            <a:chExt cx="1041646" cy="724192"/>
          </a:xfrm>
        </p:grpSpPr>
        <p:sp>
          <p:nvSpPr>
            <p:cNvPr id="74" name="Rounded Rectangle 73"/>
            <p:cNvSpPr/>
            <p:nvPr/>
          </p:nvSpPr>
          <p:spPr bwMode="auto">
            <a:xfrm>
              <a:off x="7656087" y="4122655"/>
              <a:ext cx="822186" cy="709833"/>
            </a:xfrm>
            <a:prstGeom prst="roundRect">
              <a:avLst>
                <a:gd name="adj" fmla="val 8466"/>
              </a:avLst>
            </a:pr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5" name="Freeform 20"/>
            <p:cNvSpPr>
              <a:spLocks noEditPoints="1"/>
            </p:cNvSpPr>
            <p:nvPr/>
          </p:nvSpPr>
          <p:spPr bwMode="black">
            <a:xfrm>
              <a:off x="7548883" y="4114998"/>
              <a:ext cx="1041646" cy="724192"/>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chemeClr val="accent2"/>
            </a:solidFill>
            <a:extLst/>
          </p:spPr>
          <p:txBody>
            <a:bodyPr vert="horz" wrap="square" lIns="82305" tIns="41153" rIns="82305" bIns="41153" numCol="1" anchor="t" anchorCtr="0" compatLnSpc="1">
              <a:prstTxWarp prst="textNoShape">
                <a:avLst/>
              </a:prstTxWarp>
            </a:bodyPr>
            <a:lstStyle/>
            <a:p>
              <a:pPr marL="0" marR="0" lvl="0" indent="0" defTabSz="932316"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smtClean="0">
                <a:ln>
                  <a:noFill/>
                </a:ln>
                <a:solidFill>
                  <a:srgbClr val="FFFFFF"/>
                </a:solidFill>
                <a:effectLst/>
                <a:uLnTx/>
                <a:uFillTx/>
              </a:endParaRPr>
            </a:p>
          </p:txBody>
        </p:sp>
        <p:grpSp>
          <p:nvGrpSpPr>
            <p:cNvPr id="76" name="Group 75"/>
            <p:cNvGrpSpPr/>
            <p:nvPr/>
          </p:nvGrpSpPr>
          <p:grpSpPr>
            <a:xfrm>
              <a:off x="7699506" y="4176604"/>
              <a:ext cx="430249" cy="272643"/>
              <a:chOff x="4514106" y="3476226"/>
              <a:chExt cx="697117" cy="441752"/>
            </a:xfrm>
          </p:grpSpPr>
          <p:sp>
            <p:nvSpPr>
              <p:cNvPr id="77" name="Rectangle 76"/>
              <p:cNvSpPr/>
              <p:nvPr/>
            </p:nvSpPr>
            <p:spPr bwMode="auto">
              <a:xfrm>
                <a:off x="4514106" y="3703469"/>
                <a:ext cx="219786" cy="213643"/>
              </a:xfrm>
              <a:prstGeom prst="rect">
                <a:avLst/>
              </a:prstGeom>
              <a:solidFill>
                <a:srgbClr val="4BACC6"/>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8" name="Rectangle 77"/>
              <p:cNvSpPr/>
              <p:nvPr/>
            </p:nvSpPr>
            <p:spPr bwMode="auto">
              <a:xfrm>
                <a:off x="4752723" y="3704335"/>
                <a:ext cx="219787" cy="213643"/>
              </a:xfrm>
              <a:prstGeom prst="rect">
                <a:avLst/>
              </a:prstGeom>
              <a:solidFill>
                <a:srgbClr val="ADD40D"/>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9" name="Rectangle 78"/>
              <p:cNvSpPr/>
              <p:nvPr/>
            </p:nvSpPr>
            <p:spPr bwMode="auto">
              <a:xfrm>
                <a:off x="4514106" y="3476226"/>
                <a:ext cx="219786" cy="213643"/>
              </a:xfrm>
              <a:prstGeom prst="rect">
                <a:avLst/>
              </a:prstGeom>
              <a:solidFill>
                <a:srgbClr val="AB0086"/>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0" name="Rectangle 79"/>
              <p:cNvSpPr/>
              <p:nvPr/>
            </p:nvSpPr>
            <p:spPr bwMode="auto">
              <a:xfrm>
                <a:off x="4752723" y="3476226"/>
                <a:ext cx="219786" cy="213643"/>
              </a:xfrm>
              <a:prstGeom prst="rect">
                <a:avLst/>
              </a:prstGeom>
              <a:solidFill>
                <a:srgbClr val="FD7425"/>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1" name="Rectangle 80"/>
              <p:cNvSpPr/>
              <p:nvPr/>
            </p:nvSpPr>
            <p:spPr bwMode="auto">
              <a:xfrm>
                <a:off x="4991436" y="3704335"/>
                <a:ext cx="219787" cy="213643"/>
              </a:xfrm>
              <a:prstGeom prst="rect">
                <a:avLst/>
              </a:prstGeom>
              <a:solidFill>
                <a:srgbClr val="FD7425"/>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82" name="Group 81"/>
          <p:cNvGrpSpPr/>
          <p:nvPr/>
        </p:nvGrpSpPr>
        <p:grpSpPr>
          <a:xfrm>
            <a:off x="8078605" y="2848095"/>
            <a:ext cx="486929" cy="825354"/>
            <a:chOff x="6810906" y="3924025"/>
            <a:chExt cx="481028" cy="815351"/>
          </a:xfrm>
        </p:grpSpPr>
        <p:sp>
          <p:nvSpPr>
            <p:cNvPr id="83" name="Rounded Rectangle 82"/>
            <p:cNvSpPr/>
            <p:nvPr/>
          </p:nvSpPr>
          <p:spPr bwMode="auto">
            <a:xfrm>
              <a:off x="6854074" y="4624318"/>
              <a:ext cx="64733" cy="105191"/>
            </a:xfrm>
            <a:prstGeom prst="roundRect">
              <a:avLst>
                <a:gd name="adj" fmla="val 50000"/>
              </a:avLst>
            </a:prstGeom>
            <a:solidFill>
              <a:srgbClr val="FFC0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4" name="Rounded Rectangle 83"/>
            <p:cNvSpPr/>
            <p:nvPr/>
          </p:nvSpPr>
          <p:spPr bwMode="auto">
            <a:xfrm>
              <a:off x="6826699" y="3934472"/>
              <a:ext cx="444901" cy="799096"/>
            </a:xfrm>
            <a:prstGeom prst="roundRect">
              <a:avLst>
                <a:gd name="adj" fmla="val 4692"/>
              </a:avLst>
            </a:pr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85" name="Group 84"/>
            <p:cNvGrpSpPr/>
            <p:nvPr/>
          </p:nvGrpSpPr>
          <p:grpSpPr>
            <a:xfrm>
              <a:off x="6810906" y="3924025"/>
              <a:ext cx="481028" cy="815351"/>
              <a:chOff x="6687194" y="3493929"/>
              <a:chExt cx="519006" cy="879723"/>
            </a:xfrm>
          </p:grpSpPr>
          <p:sp>
            <p:nvSpPr>
              <p:cNvPr id="86" name="Rectangle 79"/>
              <p:cNvSpPr/>
              <p:nvPr/>
            </p:nvSpPr>
            <p:spPr>
              <a:xfrm>
                <a:off x="6687194" y="3493929"/>
                <a:ext cx="519006" cy="879723"/>
              </a:xfrm>
              <a:custGeom>
                <a:avLst/>
                <a:gdLst/>
                <a:ahLst/>
                <a:cxnLst/>
                <a:rect l="l" t="t" r="r" b="b"/>
                <a:pathLst>
                  <a:path w="1407298" h="2385394">
                    <a:moveTo>
                      <a:pt x="703650" y="2179220"/>
                    </a:moveTo>
                    <a:cubicBezTo>
                      <a:pt x="660028" y="2179220"/>
                      <a:pt x="624666" y="2214582"/>
                      <a:pt x="624666" y="2258204"/>
                    </a:cubicBezTo>
                    <a:cubicBezTo>
                      <a:pt x="624666" y="2301826"/>
                      <a:pt x="660028" y="2337188"/>
                      <a:pt x="703650" y="2337188"/>
                    </a:cubicBezTo>
                    <a:cubicBezTo>
                      <a:pt x="747272" y="2337188"/>
                      <a:pt x="782634" y="2301826"/>
                      <a:pt x="782634" y="2258204"/>
                    </a:cubicBezTo>
                    <a:cubicBezTo>
                      <a:pt x="782634" y="2214582"/>
                      <a:pt x="747272" y="2179220"/>
                      <a:pt x="703650" y="2179220"/>
                    </a:cubicBezTo>
                    <a:close/>
                    <a:moveTo>
                      <a:pt x="177553" y="179867"/>
                    </a:moveTo>
                    <a:lnTo>
                      <a:pt x="172551" y="180877"/>
                    </a:lnTo>
                    <a:lnTo>
                      <a:pt x="165667" y="180877"/>
                    </a:lnTo>
                    <a:cubicBezTo>
                      <a:pt x="144630" y="180877"/>
                      <a:pt x="127577" y="197930"/>
                      <a:pt x="127577" y="218967"/>
                    </a:cubicBezTo>
                    <a:lnTo>
                      <a:pt x="127577" y="2097793"/>
                    </a:lnTo>
                    <a:cubicBezTo>
                      <a:pt x="127577" y="2118830"/>
                      <a:pt x="144630" y="2135883"/>
                      <a:pt x="165667" y="2135883"/>
                    </a:cubicBezTo>
                    <a:lnTo>
                      <a:pt x="1241631" y="2135883"/>
                    </a:lnTo>
                    <a:cubicBezTo>
                      <a:pt x="1262668" y="2135883"/>
                      <a:pt x="1279721" y="2118830"/>
                      <a:pt x="1279721" y="2097793"/>
                    </a:cubicBezTo>
                    <a:lnTo>
                      <a:pt x="1279721" y="218967"/>
                    </a:lnTo>
                    <a:cubicBezTo>
                      <a:pt x="1279721" y="197930"/>
                      <a:pt x="1262668" y="180877"/>
                      <a:pt x="1241631" y="180877"/>
                    </a:cubicBezTo>
                    <a:lnTo>
                      <a:pt x="1234749" y="180877"/>
                    </a:lnTo>
                    <a:cubicBezTo>
                      <a:pt x="1233161" y="179963"/>
                      <a:pt x="1231465" y="179867"/>
                      <a:pt x="1229746" y="179867"/>
                    </a:cubicBezTo>
                    <a:close/>
                    <a:moveTo>
                      <a:pt x="602415" y="56498"/>
                    </a:moveTo>
                    <a:cubicBezTo>
                      <a:pt x="588290" y="56498"/>
                      <a:pt x="576839" y="67949"/>
                      <a:pt x="576839" y="82074"/>
                    </a:cubicBezTo>
                    <a:cubicBezTo>
                      <a:pt x="576839" y="96199"/>
                      <a:pt x="588290" y="107650"/>
                      <a:pt x="602415" y="107650"/>
                    </a:cubicBezTo>
                    <a:lnTo>
                      <a:pt x="804884" y="107650"/>
                    </a:lnTo>
                    <a:cubicBezTo>
                      <a:pt x="819009" y="107650"/>
                      <a:pt x="830460" y="96199"/>
                      <a:pt x="830460" y="82074"/>
                    </a:cubicBezTo>
                    <a:cubicBezTo>
                      <a:pt x="830460" y="67949"/>
                      <a:pt x="819009" y="56498"/>
                      <a:pt x="804884" y="56498"/>
                    </a:cubicBezTo>
                    <a:close/>
                    <a:moveTo>
                      <a:pt x="76685" y="0"/>
                    </a:moveTo>
                    <a:lnTo>
                      <a:pt x="1330614" y="0"/>
                    </a:lnTo>
                    <a:cubicBezTo>
                      <a:pt x="1372966" y="0"/>
                      <a:pt x="1407298" y="34333"/>
                      <a:pt x="1407298" y="76684"/>
                    </a:cubicBezTo>
                    <a:lnTo>
                      <a:pt x="1407298" y="1757263"/>
                    </a:lnTo>
                    <a:lnTo>
                      <a:pt x="1407298" y="1766789"/>
                    </a:lnTo>
                    <a:lnTo>
                      <a:pt x="1407298" y="2308710"/>
                    </a:lnTo>
                    <a:cubicBezTo>
                      <a:pt x="1407298" y="2351061"/>
                      <a:pt x="1372966" y="2385394"/>
                      <a:pt x="1330614" y="2385394"/>
                    </a:cubicBezTo>
                    <a:lnTo>
                      <a:pt x="76685" y="2385394"/>
                    </a:lnTo>
                    <a:cubicBezTo>
                      <a:pt x="34333" y="2385394"/>
                      <a:pt x="0" y="2351061"/>
                      <a:pt x="0" y="2308710"/>
                    </a:cubicBezTo>
                    <a:lnTo>
                      <a:pt x="0" y="1766789"/>
                    </a:lnTo>
                    <a:lnTo>
                      <a:pt x="0" y="1757263"/>
                    </a:lnTo>
                    <a:lnTo>
                      <a:pt x="0" y="76684"/>
                    </a:lnTo>
                    <a:cubicBezTo>
                      <a:pt x="0" y="34333"/>
                      <a:pt x="34333" y="0"/>
                      <a:pt x="76685" y="0"/>
                    </a:cubicBezTo>
                    <a:close/>
                  </a:path>
                </a:pathLst>
              </a:custGeom>
              <a:solidFill>
                <a:srgbClr val="FD7425"/>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316"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FFFFFF"/>
                  </a:solidFill>
                  <a:effectLst/>
                  <a:uLnTx/>
                  <a:uFillTx/>
                  <a:latin typeface="Segoe UI"/>
                  <a:ea typeface="+mn-ea"/>
                  <a:cs typeface="+mn-cs"/>
                </a:endParaRPr>
              </a:p>
            </p:txBody>
          </p:sp>
          <p:grpSp>
            <p:nvGrpSpPr>
              <p:cNvPr id="87" name="Group 86"/>
              <p:cNvGrpSpPr/>
              <p:nvPr/>
            </p:nvGrpSpPr>
            <p:grpSpPr>
              <a:xfrm>
                <a:off x="6764987" y="3587992"/>
                <a:ext cx="314070" cy="462508"/>
                <a:chOff x="6764864" y="3556134"/>
                <a:chExt cx="314070" cy="462508"/>
              </a:xfrm>
            </p:grpSpPr>
            <p:sp>
              <p:nvSpPr>
                <p:cNvPr id="88" name="Rectangle 87"/>
                <p:cNvSpPr/>
                <p:nvPr/>
              </p:nvSpPr>
              <p:spPr bwMode="auto">
                <a:xfrm>
                  <a:off x="6764864" y="3556134"/>
                  <a:ext cx="147979" cy="143842"/>
                </a:xfrm>
                <a:prstGeom prst="rect">
                  <a:avLst/>
                </a:prstGeom>
                <a:solidFill>
                  <a:srgbClr val="4BACC6"/>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9" name="Rectangle 88"/>
                <p:cNvSpPr/>
                <p:nvPr/>
              </p:nvSpPr>
              <p:spPr bwMode="auto">
                <a:xfrm>
                  <a:off x="6764864" y="3716106"/>
                  <a:ext cx="147979" cy="143842"/>
                </a:xfrm>
                <a:prstGeom prst="rect">
                  <a:avLst/>
                </a:prstGeom>
                <a:solidFill>
                  <a:srgbClr val="ADD40D"/>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0" name="Rectangle 89"/>
                <p:cNvSpPr/>
                <p:nvPr/>
              </p:nvSpPr>
              <p:spPr bwMode="auto">
                <a:xfrm>
                  <a:off x="6930955" y="3556134"/>
                  <a:ext cx="147979" cy="143842"/>
                </a:xfrm>
                <a:prstGeom prst="rect">
                  <a:avLst/>
                </a:prstGeom>
                <a:solidFill>
                  <a:srgbClr val="4BACC6"/>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1" name="Rectangle 90"/>
                <p:cNvSpPr/>
                <p:nvPr/>
              </p:nvSpPr>
              <p:spPr bwMode="auto">
                <a:xfrm>
                  <a:off x="6930955" y="3716106"/>
                  <a:ext cx="147979" cy="143842"/>
                </a:xfrm>
                <a:prstGeom prst="rect">
                  <a:avLst/>
                </a:prstGeom>
                <a:solidFill>
                  <a:srgbClr val="ADD40D"/>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2" name="Rectangle 91"/>
                <p:cNvSpPr/>
                <p:nvPr/>
              </p:nvSpPr>
              <p:spPr bwMode="auto">
                <a:xfrm>
                  <a:off x="6764864" y="3874799"/>
                  <a:ext cx="147979" cy="143843"/>
                </a:xfrm>
                <a:prstGeom prst="rect">
                  <a:avLst/>
                </a:prstGeom>
                <a:solidFill>
                  <a:srgbClr val="4BACC6"/>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3" name="Rectangle 92"/>
                <p:cNvSpPr/>
                <p:nvPr/>
              </p:nvSpPr>
              <p:spPr bwMode="auto">
                <a:xfrm>
                  <a:off x="6930955" y="3874800"/>
                  <a:ext cx="147979" cy="143842"/>
                </a:xfrm>
                <a:prstGeom prst="rect">
                  <a:avLst/>
                </a:prstGeom>
                <a:solidFill>
                  <a:srgbClr val="ADD40D"/>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grpSp>
        <p:nvGrpSpPr>
          <p:cNvPr id="94" name="Group 93"/>
          <p:cNvGrpSpPr/>
          <p:nvPr/>
        </p:nvGrpSpPr>
        <p:grpSpPr>
          <a:xfrm>
            <a:off x="5444907" y="2013140"/>
            <a:ext cx="1303357" cy="3238575"/>
            <a:chOff x="5057658" y="3843294"/>
            <a:chExt cx="867642" cy="1946729"/>
          </a:xfrm>
        </p:grpSpPr>
        <p:sp>
          <p:nvSpPr>
            <p:cNvPr id="95" name="Freeform 94"/>
            <p:cNvSpPr/>
            <p:nvPr/>
          </p:nvSpPr>
          <p:spPr bwMode="auto">
            <a:xfrm flipH="1">
              <a:off x="5289906" y="4928327"/>
              <a:ext cx="397008" cy="796619"/>
            </a:xfrm>
            <a:custGeom>
              <a:avLst/>
              <a:gdLst>
                <a:gd name="connsiteX0" fmla="*/ 230981 w 464344"/>
                <a:gd name="connsiteY0" fmla="*/ 0 h 854869"/>
                <a:gd name="connsiteX1" fmla="*/ 0 w 464344"/>
                <a:gd name="connsiteY1" fmla="*/ 61913 h 854869"/>
                <a:gd name="connsiteX2" fmla="*/ 38100 w 464344"/>
                <a:gd name="connsiteY2" fmla="*/ 854869 h 854869"/>
                <a:gd name="connsiteX3" fmla="*/ 195262 w 464344"/>
                <a:gd name="connsiteY3" fmla="*/ 854869 h 854869"/>
                <a:gd name="connsiteX4" fmla="*/ 233363 w 464344"/>
                <a:gd name="connsiteY4" fmla="*/ 0 h 854869"/>
                <a:gd name="connsiteX5" fmla="*/ 269082 w 464344"/>
                <a:gd name="connsiteY5" fmla="*/ 854869 h 854869"/>
                <a:gd name="connsiteX6" fmla="*/ 426244 w 464344"/>
                <a:gd name="connsiteY6" fmla="*/ 854869 h 854869"/>
                <a:gd name="connsiteX7" fmla="*/ 464344 w 464344"/>
                <a:gd name="connsiteY7" fmla="*/ 61913 h 854869"/>
                <a:gd name="connsiteX0" fmla="*/ 230981 w 464344"/>
                <a:gd name="connsiteY0" fmla="*/ 0 h 854869"/>
                <a:gd name="connsiteX1" fmla="*/ 0 w 464344"/>
                <a:gd name="connsiteY1" fmla="*/ 1947 h 854869"/>
                <a:gd name="connsiteX2" fmla="*/ 38100 w 464344"/>
                <a:gd name="connsiteY2" fmla="*/ 854869 h 854869"/>
                <a:gd name="connsiteX3" fmla="*/ 195262 w 464344"/>
                <a:gd name="connsiteY3" fmla="*/ 854869 h 854869"/>
                <a:gd name="connsiteX4" fmla="*/ 230981 w 464344"/>
                <a:gd name="connsiteY4" fmla="*/ 0 h 854869"/>
                <a:gd name="connsiteX5" fmla="*/ 233363 w 464344"/>
                <a:gd name="connsiteY5" fmla="*/ 0 h 854869"/>
                <a:gd name="connsiteX6" fmla="*/ 269082 w 464344"/>
                <a:gd name="connsiteY6" fmla="*/ 854869 h 854869"/>
                <a:gd name="connsiteX7" fmla="*/ 426244 w 464344"/>
                <a:gd name="connsiteY7" fmla="*/ 854869 h 854869"/>
                <a:gd name="connsiteX8" fmla="*/ 464344 w 464344"/>
                <a:gd name="connsiteY8" fmla="*/ 61913 h 854869"/>
                <a:gd name="connsiteX9" fmla="*/ 233363 w 464344"/>
                <a:gd name="connsiteY9" fmla="*/ 0 h 854869"/>
                <a:gd name="connsiteX0" fmla="*/ 230981 w 467334"/>
                <a:gd name="connsiteY0" fmla="*/ 0 h 854869"/>
                <a:gd name="connsiteX1" fmla="*/ 0 w 467334"/>
                <a:gd name="connsiteY1" fmla="*/ 1947 h 854869"/>
                <a:gd name="connsiteX2" fmla="*/ 38100 w 467334"/>
                <a:gd name="connsiteY2" fmla="*/ 854869 h 854869"/>
                <a:gd name="connsiteX3" fmla="*/ 195262 w 467334"/>
                <a:gd name="connsiteY3" fmla="*/ 854869 h 854869"/>
                <a:gd name="connsiteX4" fmla="*/ 230981 w 467334"/>
                <a:gd name="connsiteY4" fmla="*/ 0 h 854869"/>
                <a:gd name="connsiteX5" fmla="*/ 233363 w 467334"/>
                <a:gd name="connsiteY5" fmla="*/ 0 h 854869"/>
                <a:gd name="connsiteX6" fmla="*/ 269082 w 467334"/>
                <a:gd name="connsiteY6" fmla="*/ 854869 h 854869"/>
                <a:gd name="connsiteX7" fmla="*/ 426244 w 467334"/>
                <a:gd name="connsiteY7" fmla="*/ 854869 h 854869"/>
                <a:gd name="connsiteX8" fmla="*/ 467334 w 467334"/>
                <a:gd name="connsiteY8" fmla="*/ 7398 h 854869"/>
                <a:gd name="connsiteX9" fmla="*/ 233363 w 467334"/>
                <a:gd name="connsiteY9" fmla="*/ 0 h 854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7334" h="854869">
                  <a:moveTo>
                    <a:pt x="230981" y="0"/>
                  </a:moveTo>
                  <a:lnTo>
                    <a:pt x="0" y="1947"/>
                  </a:lnTo>
                  <a:lnTo>
                    <a:pt x="38100" y="854869"/>
                  </a:lnTo>
                  <a:lnTo>
                    <a:pt x="195262" y="854869"/>
                  </a:lnTo>
                  <a:lnTo>
                    <a:pt x="230981" y="0"/>
                  </a:lnTo>
                  <a:close/>
                  <a:moveTo>
                    <a:pt x="233363" y="0"/>
                  </a:moveTo>
                  <a:lnTo>
                    <a:pt x="269082" y="854869"/>
                  </a:lnTo>
                  <a:lnTo>
                    <a:pt x="426244" y="854869"/>
                  </a:lnTo>
                  <a:lnTo>
                    <a:pt x="467334" y="7398"/>
                  </a:lnTo>
                  <a:lnTo>
                    <a:pt x="233363" y="0"/>
                  </a:lnTo>
                  <a:close/>
                </a:path>
              </a:pathLst>
            </a:custGeom>
            <a:solidFill>
              <a:srgbClr val="4B0045"/>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6" name="Rectangle 95"/>
            <p:cNvSpPr/>
            <p:nvPr/>
          </p:nvSpPr>
          <p:spPr bwMode="auto">
            <a:xfrm>
              <a:off x="5326837" y="4227990"/>
              <a:ext cx="331563" cy="485499"/>
            </a:xfrm>
            <a:prstGeom prst="rect">
              <a:avLst/>
            </a:pr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Freeform 96"/>
            <p:cNvSpPr/>
            <p:nvPr/>
          </p:nvSpPr>
          <p:spPr bwMode="auto">
            <a:xfrm>
              <a:off x="5232438" y="4197646"/>
              <a:ext cx="517187" cy="741347"/>
            </a:xfrm>
            <a:custGeom>
              <a:avLst/>
              <a:gdLst>
                <a:gd name="connsiteX0" fmla="*/ 0 w 608801"/>
                <a:gd name="connsiteY0" fmla="*/ 0 h 1019175"/>
                <a:gd name="connsiteX1" fmla="*/ 225692 w 608801"/>
                <a:gd name="connsiteY1" fmla="*/ 0 h 1019175"/>
                <a:gd name="connsiteX2" fmla="*/ 225420 w 608801"/>
                <a:gd name="connsiteY2" fmla="*/ 2381 h 1019175"/>
                <a:gd name="connsiteX3" fmla="*/ 306382 w 608801"/>
                <a:gd name="connsiteY3" fmla="*/ 569119 h 1019175"/>
                <a:gd name="connsiteX4" fmla="*/ 347756 w 608801"/>
                <a:gd name="connsiteY4" fmla="*/ 283964 h 1019175"/>
                <a:gd name="connsiteX5" fmla="*/ 379666 w 608801"/>
                <a:gd name="connsiteY5" fmla="*/ 0 h 1019175"/>
                <a:gd name="connsiteX6" fmla="*/ 608801 w 608801"/>
                <a:gd name="connsiteY6" fmla="*/ 0 h 1019175"/>
                <a:gd name="connsiteX7" fmla="*/ 608801 w 608801"/>
                <a:gd name="connsiteY7" fmla="*/ 1019175 h 1019175"/>
                <a:gd name="connsiteX8" fmla="*/ 0 w 608801"/>
                <a:gd name="connsiteY8" fmla="*/ 1019175 h 1019175"/>
                <a:gd name="connsiteX0" fmla="*/ 0 w 608801"/>
                <a:gd name="connsiteY0" fmla="*/ 0 h 1019175"/>
                <a:gd name="connsiteX1" fmla="*/ 225692 w 608801"/>
                <a:gd name="connsiteY1" fmla="*/ 0 h 1019175"/>
                <a:gd name="connsiteX2" fmla="*/ 225420 w 608801"/>
                <a:gd name="connsiteY2" fmla="*/ 2381 h 1019175"/>
                <a:gd name="connsiteX3" fmla="*/ 291433 w 608801"/>
                <a:gd name="connsiteY3" fmla="*/ 210328 h 1019175"/>
                <a:gd name="connsiteX4" fmla="*/ 347756 w 608801"/>
                <a:gd name="connsiteY4" fmla="*/ 283964 h 1019175"/>
                <a:gd name="connsiteX5" fmla="*/ 379666 w 608801"/>
                <a:gd name="connsiteY5" fmla="*/ 0 h 1019175"/>
                <a:gd name="connsiteX6" fmla="*/ 608801 w 608801"/>
                <a:gd name="connsiteY6" fmla="*/ 0 h 1019175"/>
                <a:gd name="connsiteX7" fmla="*/ 608801 w 608801"/>
                <a:gd name="connsiteY7" fmla="*/ 1019175 h 1019175"/>
                <a:gd name="connsiteX8" fmla="*/ 0 w 608801"/>
                <a:gd name="connsiteY8" fmla="*/ 1019175 h 1019175"/>
                <a:gd name="connsiteX9" fmla="*/ 0 w 608801"/>
                <a:gd name="connsiteY9" fmla="*/ 0 h 1019175"/>
                <a:gd name="connsiteX0" fmla="*/ 0 w 608801"/>
                <a:gd name="connsiteY0" fmla="*/ 0 h 1019175"/>
                <a:gd name="connsiteX1" fmla="*/ 225692 w 608801"/>
                <a:gd name="connsiteY1" fmla="*/ 0 h 1019175"/>
                <a:gd name="connsiteX2" fmla="*/ 225420 w 608801"/>
                <a:gd name="connsiteY2" fmla="*/ 2381 h 1019175"/>
                <a:gd name="connsiteX3" fmla="*/ 291433 w 608801"/>
                <a:gd name="connsiteY3" fmla="*/ 210328 h 1019175"/>
                <a:gd name="connsiteX4" fmla="*/ 317857 w 608801"/>
                <a:gd name="connsiteY4" fmla="*/ 74668 h 1019175"/>
                <a:gd name="connsiteX5" fmla="*/ 379666 w 608801"/>
                <a:gd name="connsiteY5" fmla="*/ 0 h 1019175"/>
                <a:gd name="connsiteX6" fmla="*/ 608801 w 608801"/>
                <a:gd name="connsiteY6" fmla="*/ 0 h 1019175"/>
                <a:gd name="connsiteX7" fmla="*/ 608801 w 608801"/>
                <a:gd name="connsiteY7" fmla="*/ 1019175 h 1019175"/>
                <a:gd name="connsiteX8" fmla="*/ 0 w 608801"/>
                <a:gd name="connsiteY8" fmla="*/ 1019175 h 1019175"/>
                <a:gd name="connsiteX9" fmla="*/ 0 w 608801"/>
                <a:gd name="connsiteY9" fmla="*/ 0 h 1019175"/>
                <a:gd name="connsiteX0" fmla="*/ 0 w 608801"/>
                <a:gd name="connsiteY0" fmla="*/ 0 h 1019175"/>
                <a:gd name="connsiteX1" fmla="*/ 225692 w 608801"/>
                <a:gd name="connsiteY1" fmla="*/ 0 h 1019175"/>
                <a:gd name="connsiteX2" fmla="*/ 225420 w 608801"/>
                <a:gd name="connsiteY2" fmla="*/ 2381 h 1019175"/>
                <a:gd name="connsiteX3" fmla="*/ 291433 w 608801"/>
                <a:gd name="connsiteY3" fmla="*/ 210328 h 1019175"/>
                <a:gd name="connsiteX4" fmla="*/ 317857 w 608801"/>
                <a:gd name="connsiteY4" fmla="*/ 74668 h 1019175"/>
                <a:gd name="connsiteX5" fmla="*/ 379666 w 608801"/>
                <a:gd name="connsiteY5" fmla="*/ 0 h 1019175"/>
                <a:gd name="connsiteX6" fmla="*/ 608801 w 608801"/>
                <a:gd name="connsiteY6" fmla="*/ 0 h 1019175"/>
                <a:gd name="connsiteX7" fmla="*/ 608801 w 608801"/>
                <a:gd name="connsiteY7" fmla="*/ 1019175 h 1019175"/>
                <a:gd name="connsiteX8" fmla="*/ 0 w 608801"/>
                <a:gd name="connsiteY8" fmla="*/ 1019175 h 1019175"/>
                <a:gd name="connsiteX9" fmla="*/ 0 w 608801"/>
                <a:gd name="connsiteY9" fmla="*/ 0 h 1019175"/>
                <a:gd name="connsiteX0" fmla="*/ 0 w 608801"/>
                <a:gd name="connsiteY0" fmla="*/ 0 h 1019175"/>
                <a:gd name="connsiteX1" fmla="*/ 225692 w 608801"/>
                <a:gd name="connsiteY1" fmla="*/ 0 h 1019175"/>
                <a:gd name="connsiteX2" fmla="*/ 225420 w 608801"/>
                <a:gd name="connsiteY2" fmla="*/ 2381 h 1019175"/>
                <a:gd name="connsiteX3" fmla="*/ 291433 w 608801"/>
                <a:gd name="connsiteY3" fmla="*/ 210328 h 1019175"/>
                <a:gd name="connsiteX4" fmla="*/ 317857 w 608801"/>
                <a:gd name="connsiteY4" fmla="*/ 74668 h 1019175"/>
                <a:gd name="connsiteX5" fmla="*/ 379666 w 608801"/>
                <a:gd name="connsiteY5" fmla="*/ 0 h 1019175"/>
                <a:gd name="connsiteX6" fmla="*/ 608801 w 608801"/>
                <a:gd name="connsiteY6" fmla="*/ 0 h 1019175"/>
                <a:gd name="connsiteX7" fmla="*/ 608801 w 608801"/>
                <a:gd name="connsiteY7" fmla="*/ 1019175 h 1019175"/>
                <a:gd name="connsiteX8" fmla="*/ 0 w 608801"/>
                <a:gd name="connsiteY8" fmla="*/ 1019175 h 1019175"/>
                <a:gd name="connsiteX9" fmla="*/ 0 w 608801"/>
                <a:gd name="connsiteY9" fmla="*/ 0 h 1019175"/>
                <a:gd name="connsiteX0" fmla="*/ 0 w 608801"/>
                <a:gd name="connsiteY0" fmla="*/ 0 h 1019175"/>
                <a:gd name="connsiteX1" fmla="*/ 225692 w 608801"/>
                <a:gd name="connsiteY1" fmla="*/ 0 h 1019175"/>
                <a:gd name="connsiteX2" fmla="*/ 225420 w 608801"/>
                <a:gd name="connsiteY2" fmla="*/ 2381 h 1019175"/>
                <a:gd name="connsiteX3" fmla="*/ 276483 w 608801"/>
                <a:gd name="connsiteY3" fmla="*/ 60831 h 1019175"/>
                <a:gd name="connsiteX4" fmla="*/ 317857 w 608801"/>
                <a:gd name="connsiteY4" fmla="*/ 74668 h 1019175"/>
                <a:gd name="connsiteX5" fmla="*/ 379666 w 608801"/>
                <a:gd name="connsiteY5" fmla="*/ 0 h 1019175"/>
                <a:gd name="connsiteX6" fmla="*/ 608801 w 608801"/>
                <a:gd name="connsiteY6" fmla="*/ 0 h 1019175"/>
                <a:gd name="connsiteX7" fmla="*/ 608801 w 608801"/>
                <a:gd name="connsiteY7" fmla="*/ 1019175 h 1019175"/>
                <a:gd name="connsiteX8" fmla="*/ 0 w 608801"/>
                <a:gd name="connsiteY8" fmla="*/ 1019175 h 1019175"/>
                <a:gd name="connsiteX9" fmla="*/ 0 w 608801"/>
                <a:gd name="connsiteY9" fmla="*/ 0 h 1019175"/>
                <a:gd name="connsiteX0" fmla="*/ 0 w 608801"/>
                <a:gd name="connsiteY0" fmla="*/ 0 h 1019175"/>
                <a:gd name="connsiteX1" fmla="*/ 225692 w 608801"/>
                <a:gd name="connsiteY1" fmla="*/ 0 h 1019175"/>
                <a:gd name="connsiteX2" fmla="*/ 225420 w 608801"/>
                <a:gd name="connsiteY2" fmla="*/ 2381 h 1019175"/>
                <a:gd name="connsiteX3" fmla="*/ 276483 w 608801"/>
                <a:gd name="connsiteY3" fmla="*/ 60831 h 1019175"/>
                <a:gd name="connsiteX4" fmla="*/ 317857 w 608801"/>
                <a:gd name="connsiteY4" fmla="*/ 74668 h 1019175"/>
                <a:gd name="connsiteX5" fmla="*/ 379666 w 608801"/>
                <a:gd name="connsiteY5" fmla="*/ 0 h 1019175"/>
                <a:gd name="connsiteX6" fmla="*/ 608801 w 608801"/>
                <a:gd name="connsiteY6" fmla="*/ 0 h 1019175"/>
                <a:gd name="connsiteX7" fmla="*/ 608801 w 608801"/>
                <a:gd name="connsiteY7" fmla="*/ 1019175 h 1019175"/>
                <a:gd name="connsiteX8" fmla="*/ 0 w 608801"/>
                <a:gd name="connsiteY8" fmla="*/ 1019175 h 1019175"/>
                <a:gd name="connsiteX9" fmla="*/ 0 w 608801"/>
                <a:gd name="connsiteY9" fmla="*/ 0 h 1019175"/>
                <a:gd name="connsiteX0" fmla="*/ 0 w 608801"/>
                <a:gd name="connsiteY0" fmla="*/ 0 h 1019175"/>
                <a:gd name="connsiteX1" fmla="*/ 225692 w 608801"/>
                <a:gd name="connsiteY1" fmla="*/ 0 h 1019175"/>
                <a:gd name="connsiteX2" fmla="*/ 225420 w 608801"/>
                <a:gd name="connsiteY2" fmla="*/ 2381 h 1019175"/>
                <a:gd name="connsiteX3" fmla="*/ 276483 w 608801"/>
                <a:gd name="connsiteY3" fmla="*/ 60831 h 1019175"/>
                <a:gd name="connsiteX4" fmla="*/ 317857 w 608801"/>
                <a:gd name="connsiteY4" fmla="*/ 74668 h 1019175"/>
                <a:gd name="connsiteX5" fmla="*/ 379666 w 608801"/>
                <a:gd name="connsiteY5" fmla="*/ 0 h 1019175"/>
                <a:gd name="connsiteX6" fmla="*/ 608801 w 608801"/>
                <a:gd name="connsiteY6" fmla="*/ 0 h 1019175"/>
                <a:gd name="connsiteX7" fmla="*/ 608801 w 608801"/>
                <a:gd name="connsiteY7" fmla="*/ 1019175 h 1019175"/>
                <a:gd name="connsiteX8" fmla="*/ 0 w 608801"/>
                <a:gd name="connsiteY8" fmla="*/ 1019175 h 1019175"/>
                <a:gd name="connsiteX9" fmla="*/ 0 w 608801"/>
                <a:gd name="connsiteY9" fmla="*/ 0 h 1019175"/>
                <a:gd name="connsiteX0" fmla="*/ 0 w 608801"/>
                <a:gd name="connsiteY0" fmla="*/ 0 h 1019175"/>
                <a:gd name="connsiteX1" fmla="*/ 225692 w 608801"/>
                <a:gd name="connsiteY1" fmla="*/ 0 h 1019175"/>
                <a:gd name="connsiteX2" fmla="*/ 225420 w 608801"/>
                <a:gd name="connsiteY2" fmla="*/ 2381 h 1019175"/>
                <a:gd name="connsiteX3" fmla="*/ 276483 w 608801"/>
                <a:gd name="connsiteY3" fmla="*/ 60831 h 1019175"/>
                <a:gd name="connsiteX4" fmla="*/ 344766 w 608801"/>
                <a:gd name="connsiteY4" fmla="*/ 65698 h 1019175"/>
                <a:gd name="connsiteX5" fmla="*/ 379666 w 608801"/>
                <a:gd name="connsiteY5" fmla="*/ 0 h 1019175"/>
                <a:gd name="connsiteX6" fmla="*/ 608801 w 608801"/>
                <a:gd name="connsiteY6" fmla="*/ 0 h 1019175"/>
                <a:gd name="connsiteX7" fmla="*/ 608801 w 608801"/>
                <a:gd name="connsiteY7" fmla="*/ 1019175 h 1019175"/>
                <a:gd name="connsiteX8" fmla="*/ 0 w 608801"/>
                <a:gd name="connsiteY8" fmla="*/ 1019175 h 1019175"/>
                <a:gd name="connsiteX9" fmla="*/ 0 w 608801"/>
                <a:gd name="connsiteY9" fmla="*/ 0 h 1019175"/>
                <a:gd name="connsiteX0" fmla="*/ 0 w 608801"/>
                <a:gd name="connsiteY0" fmla="*/ 0 h 1019175"/>
                <a:gd name="connsiteX1" fmla="*/ 225692 w 608801"/>
                <a:gd name="connsiteY1" fmla="*/ 0 h 1019175"/>
                <a:gd name="connsiteX2" fmla="*/ 225420 w 608801"/>
                <a:gd name="connsiteY2" fmla="*/ 2381 h 1019175"/>
                <a:gd name="connsiteX3" fmla="*/ 344766 w 608801"/>
                <a:gd name="connsiteY3" fmla="*/ 65698 h 1019175"/>
                <a:gd name="connsiteX4" fmla="*/ 379666 w 608801"/>
                <a:gd name="connsiteY4" fmla="*/ 0 h 1019175"/>
                <a:gd name="connsiteX5" fmla="*/ 608801 w 608801"/>
                <a:gd name="connsiteY5" fmla="*/ 0 h 1019175"/>
                <a:gd name="connsiteX6" fmla="*/ 608801 w 608801"/>
                <a:gd name="connsiteY6" fmla="*/ 1019175 h 1019175"/>
                <a:gd name="connsiteX7" fmla="*/ 0 w 608801"/>
                <a:gd name="connsiteY7" fmla="*/ 1019175 h 1019175"/>
                <a:gd name="connsiteX8" fmla="*/ 0 w 608801"/>
                <a:gd name="connsiteY8" fmla="*/ 0 h 1019175"/>
                <a:gd name="connsiteX0" fmla="*/ 0 w 608801"/>
                <a:gd name="connsiteY0" fmla="*/ 0 h 1019175"/>
                <a:gd name="connsiteX1" fmla="*/ 225692 w 608801"/>
                <a:gd name="connsiteY1" fmla="*/ 0 h 1019175"/>
                <a:gd name="connsiteX2" fmla="*/ 225420 w 608801"/>
                <a:gd name="connsiteY2" fmla="*/ 2381 h 1019175"/>
                <a:gd name="connsiteX3" fmla="*/ 299917 w 608801"/>
                <a:gd name="connsiteY3" fmla="*/ 44769 h 1019175"/>
                <a:gd name="connsiteX4" fmla="*/ 379666 w 608801"/>
                <a:gd name="connsiteY4" fmla="*/ 0 h 1019175"/>
                <a:gd name="connsiteX5" fmla="*/ 608801 w 608801"/>
                <a:gd name="connsiteY5" fmla="*/ 0 h 1019175"/>
                <a:gd name="connsiteX6" fmla="*/ 608801 w 608801"/>
                <a:gd name="connsiteY6" fmla="*/ 1019175 h 1019175"/>
                <a:gd name="connsiteX7" fmla="*/ 0 w 608801"/>
                <a:gd name="connsiteY7" fmla="*/ 1019175 h 1019175"/>
                <a:gd name="connsiteX8" fmla="*/ 0 w 608801"/>
                <a:gd name="connsiteY8" fmla="*/ 0 h 1019175"/>
                <a:gd name="connsiteX0" fmla="*/ 0 w 608801"/>
                <a:gd name="connsiteY0" fmla="*/ 0 h 1019175"/>
                <a:gd name="connsiteX1" fmla="*/ 225692 w 608801"/>
                <a:gd name="connsiteY1" fmla="*/ 0 h 1019175"/>
                <a:gd name="connsiteX2" fmla="*/ 225420 w 608801"/>
                <a:gd name="connsiteY2" fmla="*/ 2381 h 1019175"/>
                <a:gd name="connsiteX3" fmla="*/ 299917 w 608801"/>
                <a:gd name="connsiteY3" fmla="*/ 44769 h 1019175"/>
                <a:gd name="connsiteX4" fmla="*/ 379666 w 608801"/>
                <a:gd name="connsiteY4" fmla="*/ 0 h 1019175"/>
                <a:gd name="connsiteX5" fmla="*/ 608801 w 608801"/>
                <a:gd name="connsiteY5" fmla="*/ 0 h 1019175"/>
                <a:gd name="connsiteX6" fmla="*/ 566942 w 608801"/>
                <a:gd name="connsiteY6" fmla="*/ 863699 h 1019175"/>
                <a:gd name="connsiteX7" fmla="*/ 0 w 608801"/>
                <a:gd name="connsiteY7" fmla="*/ 1019175 h 1019175"/>
                <a:gd name="connsiteX8" fmla="*/ 0 w 608801"/>
                <a:gd name="connsiteY8" fmla="*/ 0 h 1019175"/>
                <a:gd name="connsiteX0" fmla="*/ 0 w 608801"/>
                <a:gd name="connsiteY0" fmla="*/ 0 h 872668"/>
                <a:gd name="connsiteX1" fmla="*/ 225692 w 608801"/>
                <a:gd name="connsiteY1" fmla="*/ 0 h 872668"/>
                <a:gd name="connsiteX2" fmla="*/ 225420 w 608801"/>
                <a:gd name="connsiteY2" fmla="*/ 2381 h 872668"/>
                <a:gd name="connsiteX3" fmla="*/ 299917 w 608801"/>
                <a:gd name="connsiteY3" fmla="*/ 44769 h 872668"/>
                <a:gd name="connsiteX4" fmla="*/ 379666 w 608801"/>
                <a:gd name="connsiteY4" fmla="*/ 0 h 872668"/>
                <a:gd name="connsiteX5" fmla="*/ 608801 w 608801"/>
                <a:gd name="connsiteY5" fmla="*/ 0 h 872668"/>
                <a:gd name="connsiteX6" fmla="*/ 566942 w 608801"/>
                <a:gd name="connsiteY6" fmla="*/ 863699 h 872668"/>
                <a:gd name="connsiteX7" fmla="*/ 26909 w 608801"/>
                <a:gd name="connsiteY7" fmla="*/ 872668 h 872668"/>
                <a:gd name="connsiteX8" fmla="*/ 0 w 608801"/>
                <a:gd name="connsiteY8" fmla="*/ 0 h 872668"/>
                <a:gd name="connsiteX0" fmla="*/ 0 w 608801"/>
                <a:gd name="connsiteY0" fmla="*/ 0 h 872668"/>
                <a:gd name="connsiteX1" fmla="*/ 225692 w 608801"/>
                <a:gd name="connsiteY1" fmla="*/ 0 h 872668"/>
                <a:gd name="connsiteX2" fmla="*/ 225420 w 608801"/>
                <a:gd name="connsiteY2" fmla="*/ 2381 h 872668"/>
                <a:gd name="connsiteX3" fmla="*/ 299917 w 608801"/>
                <a:gd name="connsiteY3" fmla="*/ 44769 h 872668"/>
                <a:gd name="connsiteX4" fmla="*/ 379666 w 608801"/>
                <a:gd name="connsiteY4" fmla="*/ 0 h 872668"/>
                <a:gd name="connsiteX5" fmla="*/ 608801 w 608801"/>
                <a:gd name="connsiteY5" fmla="*/ 0 h 872668"/>
                <a:gd name="connsiteX6" fmla="*/ 580002 w 608801"/>
                <a:gd name="connsiteY6" fmla="*/ 560264 h 872668"/>
                <a:gd name="connsiteX7" fmla="*/ 566942 w 608801"/>
                <a:gd name="connsiteY7" fmla="*/ 863699 h 872668"/>
                <a:gd name="connsiteX8" fmla="*/ 26909 w 608801"/>
                <a:gd name="connsiteY8" fmla="*/ 872668 h 872668"/>
                <a:gd name="connsiteX9" fmla="*/ 0 w 608801"/>
                <a:gd name="connsiteY9" fmla="*/ 0 h 872668"/>
                <a:gd name="connsiteX0" fmla="*/ 0 w 608801"/>
                <a:gd name="connsiteY0" fmla="*/ 0 h 872668"/>
                <a:gd name="connsiteX1" fmla="*/ 225692 w 608801"/>
                <a:gd name="connsiteY1" fmla="*/ 0 h 872668"/>
                <a:gd name="connsiteX2" fmla="*/ 225420 w 608801"/>
                <a:gd name="connsiteY2" fmla="*/ 2381 h 872668"/>
                <a:gd name="connsiteX3" fmla="*/ 299917 w 608801"/>
                <a:gd name="connsiteY3" fmla="*/ 44769 h 872668"/>
                <a:gd name="connsiteX4" fmla="*/ 379666 w 608801"/>
                <a:gd name="connsiteY4" fmla="*/ 0 h 872668"/>
                <a:gd name="connsiteX5" fmla="*/ 608801 w 608801"/>
                <a:gd name="connsiteY5" fmla="*/ 0 h 872668"/>
                <a:gd name="connsiteX6" fmla="*/ 580002 w 608801"/>
                <a:gd name="connsiteY6" fmla="*/ 560264 h 872668"/>
                <a:gd name="connsiteX7" fmla="*/ 566942 w 608801"/>
                <a:gd name="connsiteY7" fmla="*/ 863699 h 872668"/>
                <a:gd name="connsiteX8" fmla="*/ 26909 w 608801"/>
                <a:gd name="connsiteY8" fmla="*/ 872668 h 872668"/>
                <a:gd name="connsiteX9" fmla="*/ 11915 w 608801"/>
                <a:gd name="connsiteY9" fmla="*/ 560264 h 872668"/>
                <a:gd name="connsiteX10" fmla="*/ 0 w 608801"/>
                <a:gd name="connsiteY10" fmla="*/ 0 h 872668"/>
                <a:gd name="connsiteX0" fmla="*/ 0 w 608801"/>
                <a:gd name="connsiteY0" fmla="*/ 0 h 872668"/>
                <a:gd name="connsiteX1" fmla="*/ 225692 w 608801"/>
                <a:gd name="connsiteY1" fmla="*/ 0 h 872668"/>
                <a:gd name="connsiteX2" fmla="*/ 225420 w 608801"/>
                <a:gd name="connsiteY2" fmla="*/ 2381 h 872668"/>
                <a:gd name="connsiteX3" fmla="*/ 299917 w 608801"/>
                <a:gd name="connsiteY3" fmla="*/ 44769 h 872668"/>
                <a:gd name="connsiteX4" fmla="*/ 379666 w 608801"/>
                <a:gd name="connsiteY4" fmla="*/ 0 h 872668"/>
                <a:gd name="connsiteX5" fmla="*/ 608801 w 608801"/>
                <a:gd name="connsiteY5" fmla="*/ 0 h 872668"/>
                <a:gd name="connsiteX6" fmla="*/ 562063 w 608801"/>
                <a:gd name="connsiteY6" fmla="*/ 572223 h 872668"/>
                <a:gd name="connsiteX7" fmla="*/ 566942 w 608801"/>
                <a:gd name="connsiteY7" fmla="*/ 863699 h 872668"/>
                <a:gd name="connsiteX8" fmla="*/ 26909 w 608801"/>
                <a:gd name="connsiteY8" fmla="*/ 872668 h 872668"/>
                <a:gd name="connsiteX9" fmla="*/ 11915 w 608801"/>
                <a:gd name="connsiteY9" fmla="*/ 560264 h 872668"/>
                <a:gd name="connsiteX10" fmla="*/ 0 w 608801"/>
                <a:gd name="connsiteY10" fmla="*/ 0 h 872668"/>
                <a:gd name="connsiteX0" fmla="*/ 0 w 608801"/>
                <a:gd name="connsiteY0" fmla="*/ 0 h 872668"/>
                <a:gd name="connsiteX1" fmla="*/ 225692 w 608801"/>
                <a:gd name="connsiteY1" fmla="*/ 0 h 872668"/>
                <a:gd name="connsiteX2" fmla="*/ 225420 w 608801"/>
                <a:gd name="connsiteY2" fmla="*/ 2381 h 872668"/>
                <a:gd name="connsiteX3" fmla="*/ 299917 w 608801"/>
                <a:gd name="connsiteY3" fmla="*/ 44769 h 872668"/>
                <a:gd name="connsiteX4" fmla="*/ 379666 w 608801"/>
                <a:gd name="connsiteY4" fmla="*/ 0 h 872668"/>
                <a:gd name="connsiteX5" fmla="*/ 608801 w 608801"/>
                <a:gd name="connsiteY5" fmla="*/ 0 h 872668"/>
                <a:gd name="connsiteX6" fmla="*/ 562063 w 608801"/>
                <a:gd name="connsiteY6" fmla="*/ 572223 h 872668"/>
                <a:gd name="connsiteX7" fmla="*/ 566942 w 608801"/>
                <a:gd name="connsiteY7" fmla="*/ 863699 h 872668"/>
                <a:gd name="connsiteX8" fmla="*/ 26909 w 608801"/>
                <a:gd name="connsiteY8" fmla="*/ 872668 h 872668"/>
                <a:gd name="connsiteX9" fmla="*/ 35834 w 608801"/>
                <a:gd name="connsiteY9" fmla="*/ 572223 h 872668"/>
                <a:gd name="connsiteX10" fmla="*/ 0 w 608801"/>
                <a:gd name="connsiteY10" fmla="*/ 0 h 872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08801" h="872668">
                  <a:moveTo>
                    <a:pt x="0" y="0"/>
                  </a:moveTo>
                  <a:lnTo>
                    <a:pt x="225692" y="0"/>
                  </a:lnTo>
                  <a:cubicBezTo>
                    <a:pt x="225601" y="794"/>
                    <a:pt x="225511" y="1587"/>
                    <a:pt x="225420" y="2381"/>
                  </a:cubicBezTo>
                  <a:cubicBezTo>
                    <a:pt x="245266" y="13331"/>
                    <a:pt x="274209" y="45166"/>
                    <a:pt x="299917" y="44769"/>
                  </a:cubicBezTo>
                  <a:cubicBezTo>
                    <a:pt x="344440" y="34830"/>
                    <a:pt x="359063" y="24889"/>
                    <a:pt x="379666" y="0"/>
                  </a:cubicBezTo>
                  <a:lnTo>
                    <a:pt x="608801" y="0"/>
                  </a:lnTo>
                  <a:lnTo>
                    <a:pt x="562063" y="572223"/>
                  </a:lnTo>
                  <a:cubicBezTo>
                    <a:pt x="563689" y="669382"/>
                    <a:pt x="565316" y="766540"/>
                    <a:pt x="566942" y="863699"/>
                  </a:cubicBezTo>
                  <a:lnTo>
                    <a:pt x="26909" y="872668"/>
                  </a:lnTo>
                  <a:lnTo>
                    <a:pt x="35834" y="572223"/>
                  </a:lnTo>
                  <a:lnTo>
                    <a:pt x="0" y="0"/>
                  </a:lnTo>
                  <a:close/>
                </a:path>
              </a:pathLst>
            </a:custGeom>
            <a:solidFill>
              <a:schemeClr val="accent5"/>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8" name="Freeform 97"/>
            <p:cNvSpPr/>
            <p:nvPr/>
          </p:nvSpPr>
          <p:spPr bwMode="auto">
            <a:xfrm rot="5400000">
              <a:off x="5323706" y="3925565"/>
              <a:ext cx="333779" cy="262978"/>
            </a:xfrm>
            <a:custGeom>
              <a:avLst/>
              <a:gdLst>
                <a:gd name="connsiteX0" fmla="*/ 0 w 392904"/>
                <a:gd name="connsiteY0" fmla="*/ 184191 h 309562"/>
                <a:gd name="connsiteX1" fmla="*/ 0 w 392904"/>
                <a:gd name="connsiteY1" fmla="*/ 125371 h 309562"/>
                <a:gd name="connsiteX2" fmla="*/ 95323 w 392904"/>
                <a:gd name="connsiteY2" fmla="*/ 30048 h 309562"/>
                <a:gd name="connsiteX3" fmla="*/ 107911 w 392904"/>
                <a:gd name="connsiteY3" fmla="*/ 30048 h 309562"/>
                <a:gd name="connsiteX4" fmla="*/ 116458 w 392904"/>
                <a:gd name="connsiteY4" fmla="*/ 9416 h 309562"/>
                <a:gd name="connsiteX5" fmla="*/ 139189 w 392904"/>
                <a:gd name="connsiteY5" fmla="*/ 0 h 309562"/>
                <a:gd name="connsiteX6" fmla="*/ 182279 w 392904"/>
                <a:gd name="connsiteY6" fmla="*/ 0 h 309562"/>
                <a:gd name="connsiteX7" fmla="*/ 205010 w 392904"/>
                <a:gd name="connsiteY7" fmla="*/ 9416 h 309562"/>
                <a:gd name="connsiteX8" fmla="*/ 213557 w 392904"/>
                <a:gd name="connsiteY8" fmla="*/ 30048 h 309562"/>
                <a:gd name="connsiteX9" fmla="*/ 252339 w 392904"/>
                <a:gd name="connsiteY9" fmla="*/ 30048 h 309562"/>
                <a:gd name="connsiteX10" fmla="*/ 319742 w 392904"/>
                <a:gd name="connsiteY10" fmla="*/ 57968 h 309562"/>
                <a:gd name="connsiteX11" fmla="*/ 336441 w 392904"/>
                <a:gd name="connsiteY11" fmla="*/ 82735 h 309562"/>
                <a:gd name="connsiteX12" fmla="*/ 357186 w 392904"/>
                <a:gd name="connsiteY12" fmla="*/ 80848 h 309562"/>
                <a:gd name="connsiteX13" fmla="*/ 392904 w 392904"/>
                <a:gd name="connsiteY13" fmla="*/ 152286 h 309562"/>
                <a:gd name="connsiteX14" fmla="*/ 357186 w 392904"/>
                <a:gd name="connsiteY14" fmla="*/ 235629 h 309562"/>
                <a:gd name="connsiteX15" fmla="*/ 330992 w 392904"/>
                <a:gd name="connsiteY15" fmla="*/ 235629 h 309562"/>
                <a:gd name="connsiteX16" fmla="*/ 330992 w 392904"/>
                <a:gd name="connsiteY16" fmla="*/ 234909 h 309562"/>
                <a:gd name="connsiteX17" fmla="*/ 319742 w 392904"/>
                <a:gd name="connsiteY17" fmla="*/ 251594 h 309562"/>
                <a:gd name="connsiteX18" fmla="*/ 252339 w 392904"/>
                <a:gd name="connsiteY18" fmla="*/ 279514 h 309562"/>
                <a:gd name="connsiteX19" fmla="*/ 213557 w 392904"/>
                <a:gd name="connsiteY19" fmla="*/ 279514 h 309562"/>
                <a:gd name="connsiteX20" fmla="*/ 205010 w 392904"/>
                <a:gd name="connsiteY20" fmla="*/ 300146 h 309562"/>
                <a:gd name="connsiteX21" fmla="*/ 182279 w 392904"/>
                <a:gd name="connsiteY21" fmla="*/ 309562 h 309562"/>
                <a:gd name="connsiteX22" fmla="*/ 139189 w 392904"/>
                <a:gd name="connsiteY22" fmla="*/ 309562 h 309562"/>
                <a:gd name="connsiteX23" fmla="*/ 116458 w 392904"/>
                <a:gd name="connsiteY23" fmla="*/ 300146 h 309562"/>
                <a:gd name="connsiteX24" fmla="*/ 107911 w 392904"/>
                <a:gd name="connsiteY24" fmla="*/ 279514 h 309562"/>
                <a:gd name="connsiteX25" fmla="*/ 95323 w 392904"/>
                <a:gd name="connsiteY25" fmla="*/ 279514 h 309562"/>
                <a:gd name="connsiteX26" fmla="*/ 0 w 392904"/>
                <a:gd name="connsiteY26" fmla="*/ 184191 h 309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92904" h="309562">
                  <a:moveTo>
                    <a:pt x="0" y="184191"/>
                  </a:moveTo>
                  <a:lnTo>
                    <a:pt x="0" y="125371"/>
                  </a:lnTo>
                  <a:cubicBezTo>
                    <a:pt x="0" y="72726"/>
                    <a:pt x="42678" y="30048"/>
                    <a:pt x="95323" y="30048"/>
                  </a:cubicBezTo>
                  <a:lnTo>
                    <a:pt x="107911" y="30048"/>
                  </a:lnTo>
                  <a:lnTo>
                    <a:pt x="116458" y="9416"/>
                  </a:lnTo>
                  <a:cubicBezTo>
                    <a:pt x="122275" y="3598"/>
                    <a:pt x="130312" y="0"/>
                    <a:pt x="139189" y="0"/>
                  </a:cubicBezTo>
                  <a:lnTo>
                    <a:pt x="182279" y="0"/>
                  </a:lnTo>
                  <a:cubicBezTo>
                    <a:pt x="191156" y="0"/>
                    <a:pt x="199193" y="3598"/>
                    <a:pt x="205010" y="9416"/>
                  </a:cubicBezTo>
                  <a:lnTo>
                    <a:pt x="213557" y="30048"/>
                  </a:lnTo>
                  <a:lnTo>
                    <a:pt x="252339" y="30048"/>
                  </a:lnTo>
                  <a:cubicBezTo>
                    <a:pt x="278662" y="30048"/>
                    <a:pt x="302492" y="40718"/>
                    <a:pt x="319742" y="57968"/>
                  </a:cubicBezTo>
                  <a:lnTo>
                    <a:pt x="336441" y="82735"/>
                  </a:lnTo>
                  <a:lnTo>
                    <a:pt x="357186" y="80848"/>
                  </a:lnTo>
                  <a:lnTo>
                    <a:pt x="392904" y="152286"/>
                  </a:lnTo>
                  <a:lnTo>
                    <a:pt x="357186" y="235629"/>
                  </a:lnTo>
                  <a:lnTo>
                    <a:pt x="330992" y="235629"/>
                  </a:lnTo>
                  <a:lnTo>
                    <a:pt x="330992" y="234909"/>
                  </a:lnTo>
                  <a:lnTo>
                    <a:pt x="319742" y="251594"/>
                  </a:lnTo>
                  <a:cubicBezTo>
                    <a:pt x="302492" y="268845"/>
                    <a:pt x="278662" y="279514"/>
                    <a:pt x="252339" y="279514"/>
                  </a:cubicBezTo>
                  <a:lnTo>
                    <a:pt x="213557" y="279514"/>
                  </a:lnTo>
                  <a:lnTo>
                    <a:pt x="205010" y="300146"/>
                  </a:lnTo>
                  <a:cubicBezTo>
                    <a:pt x="199193" y="305964"/>
                    <a:pt x="191156" y="309562"/>
                    <a:pt x="182279" y="309562"/>
                  </a:cubicBezTo>
                  <a:lnTo>
                    <a:pt x="139189" y="309562"/>
                  </a:lnTo>
                  <a:cubicBezTo>
                    <a:pt x="130312" y="309562"/>
                    <a:pt x="122275" y="305964"/>
                    <a:pt x="116458" y="300146"/>
                  </a:cubicBezTo>
                  <a:lnTo>
                    <a:pt x="107911" y="279514"/>
                  </a:lnTo>
                  <a:lnTo>
                    <a:pt x="95323" y="279514"/>
                  </a:lnTo>
                  <a:cubicBezTo>
                    <a:pt x="42678" y="279514"/>
                    <a:pt x="0" y="236836"/>
                    <a:pt x="0" y="184191"/>
                  </a:cubicBezTo>
                  <a:close/>
                </a:path>
              </a:pathLst>
            </a:custGeom>
            <a:solidFill>
              <a:srgbClr val="FFC0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9" name="Freeform 98"/>
            <p:cNvSpPr/>
            <p:nvPr/>
          </p:nvSpPr>
          <p:spPr bwMode="auto">
            <a:xfrm>
              <a:off x="5360848" y="3843294"/>
              <a:ext cx="256474" cy="166221"/>
            </a:xfrm>
            <a:custGeom>
              <a:avLst/>
              <a:gdLst>
                <a:gd name="connsiteX0" fmla="*/ 300038 w 300038"/>
                <a:gd name="connsiteY0" fmla="*/ 190500 h 190500"/>
                <a:gd name="connsiteX1" fmla="*/ 271463 w 300038"/>
                <a:gd name="connsiteY1" fmla="*/ 116681 h 190500"/>
                <a:gd name="connsiteX2" fmla="*/ 195263 w 300038"/>
                <a:gd name="connsiteY2" fmla="*/ 107156 h 190500"/>
                <a:gd name="connsiteX3" fmla="*/ 52388 w 300038"/>
                <a:gd name="connsiteY3" fmla="*/ 100012 h 190500"/>
                <a:gd name="connsiteX4" fmla="*/ 21431 w 300038"/>
                <a:gd name="connsiteY4" fmla="*/ 119062 h 190500"/>
                <a:gd name="connsiteX5" fmla="*/ 23813 w 300038"/>
                <a:gd name="connsiteY5" fmla="*/ 164306 h 190500"/>
                <a:gd name="connsiteX6" fmla="*/ 0 w 300038"/>
                <a:gd name="connsiteY6" fmla="*/ 171450 h 190500"/>
                <a:gd name="connsiteX7" fmla="*/ 97631 w 300038"/>
                <a:gd name="connsiteY7" fmla="*/ 0 h 190500"/>
                <a:gd name="connsiteX8" fmla="*/ 214313 w 300038"/>
                <a:gd name="connsiteY8" fmla="*/ 40481 h 190500"/>
                <a:gd name="connsiteX9" fmla="*/ 300038 w 300038"/>
                <a:gd name="connsiteY9" fmla="*/ 190500 h 190500"/>
                <a:gd name="connsiteX0" fmla="*/ 300038 w 300038"/>
                <a:gd name="connsiteY0" fmla="*/ 190500 h 190500"/>
                <a:gd name="connsiteX1" fmla="*/ 271463 w 300038"/>
                <a:gd name="connsiteY1" fmla="*/ 116681 h 190500"/>
                <a:gd name="connsiteX2" fmla="*/ 195263 w 300038"/>
                <a:gd name="connsiteY2" fmla="*/ 107156 h 190500"/>
                <a:gd name="connsiteX3" fmla="*/ 52388 w 300038"/>
                <a:gd name="connsiteY3" fmla="*/ 100012 h 190500"/>
                <a:gd name="connsiteX4" fmla="*/ 21431 w 300038"/>
                <a:gd name="connsiteY4" fmla="*/ 119062 h 190500"/>
                <a:gd name="connsiteX5" fmla="*/ 23813 w 300038"/>
                <a:gd name="connsiteY5" fmla="*/ 164306 h 190500"/>
                <a:gd name="connsiteX6" fmla="*/ 0 w 300038"/>
                <a:gd name="connsiteY6" fmla="*/ 171450 h 190500"/>
                <a:gd name="connsiteX7" fmla="*/ 97631 w 300038"/>
                <a:gd name="connsiteY7" fmla="*/ 0 h 190500"/>
                <a:gd name="connsiteX8" fmla="*/ 214313 w 300038"/>
                <a:gd name="connsiteY8" fmla="*/ 40481 h 190500"/>
                <a:gd name="connsiteX9" fmla="*/ 300038 w 300038"/>
                <a:gd name="connsiteY9" fmla="*/ 190500 h 190500"/>
                <a:gd name="connsiteX0" fmla="*/ 300038 w 300038"/>
                <a:gd name="connsiteY0" fmla="*/ 190500 h 190500"/>
                <a:gd name="connsiteX1" fmla="*/ 271463 w 300038"/>
                <a:gd name="connsiteY1" fmla="*/ 116681 h 190500"/>
                <a:gd name="connsiteX2" fmla="*/ 195263 w 300038"/>
                <a:gd name="connsiteY2" fmla="*/ 107156 h 190500"/>
                <a:gd name="connsiteX3" fmla="*/ 52388 w 300038"/>
                <a:gd name="connsiteY3" fmla="*/ 100012 h 190500"/>
                <a:gd name="connsiteX4" fmla="*/ 21431 w 300038"/>
                <a:gd name="connsiteY4" fmla="*/ 119062 h 190500"/>
                <a:gd name="connsiteX5" fmla="*/ 23813 w 300038"/>
                <a:gd name="connsiteY5" fmla="*/ 164306 h 190500"/>
                <a:gd name="connsiteX6" fmla="*/ 0 w 300038"/>
                <a:gd name="connsiteY6" fmla="*/ 171450 h 190500"/>
                <a:gd name="connsiteX7" fmla="*/ 97631 w 300038"/>
                <a:gd name="connsiteY7" fmla="*/ 0 h 190500"/>
                <a:gd name="connsiteX8" fmla="*/ 214313 w 300038"/>
                <a:gd name="connsiteY8" fmla="*/ 40481 h 190500"/>
                <a:gd name="connsiteX9" fmla="*/ 300038 w 300038"/>
                <a:gd name="connsiteY9" fmla="*/ 190500 h 190500"/>
                <a:gd name="connsiteX0" fmla="*/ 300038 w 301649"/>
                <a:gd name="connsiteY0" fmla="*/ 190500 h 190500"/>
                <a:gd name="connsiteX1" fmla="*/ 271463 w 301649"/>
                <a:gd name="connsiteY1" fmla="*/ 116681 h 190500"/>
                <a:gd name="connsiteX2" fmla="*/ 195263 w 301649"/>
                <a:gd name="connsiteY2" fmla="*/ 107156 h 190500"/>
                <a:gd name="connsiteX3" fmla="*/ 52388 w 301649"/>
                <a:gd name="connsiteY3" fmla="*/ 100012 h 190500"/>
                <a:gd name="connsiteX4" fmla="*/ 21431 w 301649"/>
                <a:gd name="connsiteY4" fmla="*/ 119062 h 190500"/>
                <a:gd name="connsiteX5" fmla="*/ 23813 w 301649"/>
                <a:gd name="connsiteY5" fmla="*/ 164306 h 190500"/>
                <a:gd name="connsiteX6" fmla="*/ 0 w 301649"/>
                <a:gd name="connsiteY6" fmla="*/ 171450 h 190500"/>
                <a:gd name="connsiteX7" fmla="*/ 97631 w 301649"/>
                <a:gd name="connsiteY7" fmla="*/ 0 h 190500"/>
                <a:gd name="connsiteX8" fmla="*/ 214313 w 301649"/>
                <a:gd name="connsiteY8" fmla="*/ 40481 h 190500"/>
                <a:gd name="connsiteX9" fmla="*/ 300038 w 301649"/>
                <a:gd name="connsiteY9" fmla="*/ 190500 h 190500"/>
                <a:gd name="connsiteX0" fmla="*/ 300038 w 301649"/>
                <a:gd name="connsiteY0" fmla="*/ 194507 h 194507"/>
                <a:gd name="connsiteX1" fmla="*/ 271463 w 301649"/>
                <a:gd name="connsiteY1" fmla="*/ 120688 h 194507"/>
                <a:gd name="connsiteX2" fmla="*/ 195263 w 301649"/>
                <a:gd name="connsiteY2" fmla="*/ 111163 h 194507"/>
                <a:gd name="connsiteX3" fmla="*/ 52388 w 301649"/>
                <a:gd name="connsiteY3" fmla="*/ 104019 h 194507"/>
                <a:gd name="connsiteX4" fmla="*/ 21431 w 301649"/>
                <a:gd name="connsiteY4" fmla="*/ 123069 h 194507"/>
                <a:gd name="connsiteX5" fmla="*/ 23813 w 301649"/>
                <a:gd name="connsiteY5" fmla="*/ 168313 h 194507"/>
                <a:gd name="connsiteX6" fmla="*/ 0 w 301649"/>
                <a:gd name="connsiteY6" fmla="*/ 175457 h 194507"/>
                <a:gd name="connsiteX7" fmla="*/ 97631 w 301649"/>
                <a:gd name="connsiteY7" fmla="*/ 4007 h 194507"/>
                <a:gd name="connsiteX8" fmla="*/ 214313 w 301649"/>
                <a:gd name="connsiteY8" fmla="*/ 44488 h 194507"/>
                <a:gd name="connsiteX9" fmla="*/ 300038 w 301649"/>
                <a:gd name="connsiteY9" fmla="*/ 194507 h 194507"/>
                <a:gd name="connsiteX0" fmla="*/ 300038 w 301649"/>
                <a:gd name="connsiteY0" fmla="*/ 195665 h 195665"/>
                <a:gd name="connsiteX1" fmla="*/ 271463 w 301649"/>
                <a:gd name="connsiteY1" fmla="*/ 121846 h 195665"/>
                <a:gd name="connsiteX2" fmla="*/ 195263 w 301649"/>
                <a:gd name="connsiteY2" fmla="*/ 112321 h 195665"/>
                <a:gd name="connsiteX3" fmla="*/ 52388 w 301649"/>
                <a:gd name="connsiteY3" fmla="*/ 105177 h 195665"/>
                <a:gd name="connsiteX4" fmla="*/ 21431 w 301649"/>
                <a:gd name="connsiteY4" fmla="*/ 124227 h 195665"/>
                <a:gd name="connsiteX5" fmla="*/ 23813 w 301649"/>
                <a:gd name="connsiteY5" fmla="*/ 169471 h 195665"/>
                <a:gd name="connsiteX6" fmla="*/ 0 w 301649"/>
                <a:gd name="connsiteY6" fmla="*/ 176615 h 195665"/>
                <a:gd name="connsiteX7" fmla="*/ 97631 w 301649"/>
                <a:gd name="connsiteY7" fmla="*/ 5165 h 195665"/>
                <a:gd name="connsiteX8" fmla="*/ 214313 w 301649"/>
                <a:gd name="connsiteY8" fmla="*/ 45646 h 195665"/>
                <a:gd name="connsiteX9" fmla="*/ 300038 w 301649"/>
                <a:gd name="connsiteY9" fmla="*/ 195665 h 195665"/>
                <a:gd name="connsiteX0" fmla="*/ 300038 w 301649"/>
                <a:gd name="connsiteY0" fmla="*/ 195665 h 195665"/>
                <a:gd name="connsiteX1" fmla="*/ 271463 w 301649"/>
                <a:gd name="connsiteY1" fmla="*/ 121846 h 195665"/>
                <a:gd name="connsiteX2" fmla="*/ 195263 w 301649"/>
                <a:gd name="connsiteY2" fmla="*/ 112321 h 195665"/>
                <a:gd name="connsiteX3" fmla="*/ 52388 w 301649"/>
                <a:gd name="connsiteY3" fmla="*/ 105177 h 195665"/>
                <a:gd name="connsiteX4" fmla="*/ 45243 w 301649"/>
                <a:gd name="connsiteY4" fmla="*/ 150420 h 195665"/>
                <a:gd name="connsiteX5" fmla="*/ 23813 w 301649"/>
                <a:gd name="connsiteY5" fmla="*/ 169471 h 195665"/>
                <a:gd name="connsiteX6" fmla="*/ 0 w 301649"/>
                <a:gd name="connsiteY6" fmla="*/ 176615 h 195665"/>
                <a:gd name="connsiteX7" fmla="*/ 97631 w 301649"/>
                <a:gd name="connsiteY7" fmla="*/ 5165 h 195665"/>
                <a:gd name="connsiteX8" fmla="*/ 214313 w 301649"/>
                <a:gd name="connsiteY8" fmla="*/ 45646 h 195665"/>
                <a:gd name="connsiteX9" fmla="*/ 300038 w 301649"/>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5688 w 302094"/>
                <a:gd name="connsiteY4" fmla="*/ 150420 h 195665"/>
                <a:gd name="connsiteX5" fmla="*/ 24258 w 302094"/>
                <a:gd name="connsiteY5" fmla="*/ 169471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5688 w 302094"/>
                <a:gd name="connsiteY4" fmla="*/ 150420 h 195665"/>
                <a:gd name="connsiteX5" fmla="*/ 21877 w 302094"/>
                <a:gd name="connsiteY5" fmla="*/ 131371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3307 w 302094"/>
                <a:gd name="connsiteY4" fmla="*/ 126608 h 195665"/>
                <a:gd name="connsiteX5" fmla="*/ 21877 w 302094"/>
                <a:gd name="connsiteY5" fmla="*/ 131371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3307 w 302094"/>
                <a:gd name="connsiteY4" fmla="*/ 126608 h 195665"/>
                <a:gd name="connsiteX5" fmla="*/ 12352 w 302094"/>
                <a:gd name="connsiteY5" fmla="*/ 171852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3307 w 302094"/>
                <a:gd name="connsiteY4" fmla="*/ 126608 h 195665"/>
                <a:gd name="connsiteX5" fmla="*/ 12352 w 302094"/>
                <a:gd name="connsiteY5" fmla="*/ 171852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3307 w 302094"/>
                <a:gd name="connsiteY4" fmla="*/ 126608 h 195665"/>
                <a:gd name="connsiteX5" fmla="*/ 12352 w 302094"/>
                <a:gd name="connsiteY5" fmla="*/ 171852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3307 w 302094"/>
                <a:gd name="connsiteY4" fmla="*/ 126608 h 195665"/>
                <a:gd name="connsiteX5" fmla="*/ 12352 w 302094"/>
                <a:gd name="connsiteY5" fmla="*/ 171852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3307 w 302094"/>
                <a:gd name="connsiteY4" fmla="*/ 126608 h 195665"/>
                <a:gd name="connsiteX5" fmla="*/ 12352 w 302094"/>
                <a:gd name="connsiteY5" fmla="*/ 171852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1906"/>
                <a:gd name="connsiteY0" fmla="*/ 195665 h 195665"/>
                <a:gd name="connsiteX1" fmla="*/ 271908 w 301906"/>
                <a:gd name="connsiteY1" fmla="*/ 121846 h 195665"/>
                <a:gd name="connsiteX2" fmla="*/ 195708 w 301906"/>
                <a:gd name="connsiteY2" fmla="*/ 112321 h 195665"/>
                <a:gd name="connsiteX3" fmla="*/ 52833 w 301906"/>
                <a:gd name="connsiteY3" fmla="*/ 105177 h 195665"/>
                <a:gd name="connsiteX4" fmla="*/ 43307 w 301906"/>
                <a:gd name="connsiteY4" fmla="*/ 126608 h 195665"/>
                <a:gd name="connsiteX5" fmla="*/ 12352 w 301906"/>
                <a:gd name="connsiteY5" fmla="*/ 171852 h 195665"/>
                <a:gd name="connsiteX6" fmla="*/ 445 w 301906"/>
                <a:gd name="connsiteY6" fmla="*/ 176615 h 195665"/>
                <a:gd name="connsiteX7" fmla="*/ 98076 w 301906"/>
                <a:gd name="connsiteY7" fmla="*/ 5165 h 195665"/>
                <a:gd name="connsiteX8" fmla="*/ 214758 w 301906"/>
                <a:gd name="connsiteY8" fmla="*/ 45646 h 195665"/>
                <a:gd name="connsiteX9" fmla="*/ 300483 w 301906"/>
                <a:gd name="connsiteY9" fmla="*/ 195665 h 195665"/>
                <a:gd name="connsiteX0" fmla="*/ 300483 w 301906"/>
                <a:gd name="connsiteY0" fmla="*/ 195665 h 195665"/>
                <a:gd name="connsiteX1" fmla="*/ 271908 w 301906"/>
                <a:gd name="connsiteY1" fmla="*/ 121846 h 195665"/>
                <a:gd name="connsiteX2" fmla="*/ 195708 w 301906"/>
                <a:gd name="connsiteY2" fmla="*/ 112321 h 195665"/>
                <a:gd name="connsiteX3" fmla="*/ 52833 w 301906"/>
                <a:gd name="connsiteY3" fmla="*/ 105177 h 195665"/>
                <a:gd name="connsiteX4" fmla="*/ 43307 w 301906"/>
                <a:gd name="connsiteY4" fmla="*/ 126608 h 195665"/>
                <a:gd name="connsiteX5" fmla="*/ 12352 w 301906"/>
                <a:gd name="connsiteY5" fmla="*/ 171852 h 195665"/>
                <a:gd name="connsiteX6" fmla="*/ 445 w 301906"/>
                <a:gd name="connsiteY6" fmla="*/ 176615 h 195665"/>
                <a:gd name="connsiteX7" fmla="*/ 98076 w 301906"/>
                <a:gd name="connsiteY7" fmla="*/ 5165 h 195665"/>
                <a:gd name="connsiteX8" fmla="*/ 214758 w 301906"/>
                <a:gd name="connsiteY8" fmla="*/ 45646 h 195665"/>
                <a:gd name="connsiteX9" fmla="*/ 300483 w 301906"/>
                <a:gd name="connsiteY9" fmla="*/ 195665 h 195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1906" h="195665">
                  <a:moveTo>
                    <a:pt x="300483" y="195665"/>
                  </a:moveTo>
                  <a:cubicBezTo>
                    <a:pt x="231426" y="159153"/>
                    <a:pt x="281433" y="146452"/>
                    <a:pt x="271908" y="121846"/>
                  </a:cubicBezTo>
                  <a:cubicBezTo>
                    <a:pt x="246508" y="130578"/>
                    <a:pt x="221108" y="115496"/>
                    <a:pt x="195708" y="112321"/>
                  </a:cubicBezTo>
                  <a:cubicBezTo>
                    <a:pt x="117127" y="138515"/>
                    <a:pt x="86170" y="124227"/>
                    <a:pt x="52833" y="105177"/>
                  </a:cubicBezTo>
                  <a:lnTo>
                    <a:pt x="43307" y="126608"/>
                  </a:lnTo>
                  <a:cubicBezTo>
                    <a:pt x="32989" y="141689"/>
                    <a:pt x="32195" y="178203"/>
                    <a:pt x="12352" y="171852"/>
                  </a:cubicBezTo>
                  <a:lnTo>
                    <a:pt x="445" y="176615"/>
                  </a:lnTo>
                  <a:cubicBezTo>
                    <a:pt x="-2730" y="105177"/>
                    <a:pt x="9176" y="22627"/>
                    <a:pt x="98076" y="5165"/>
                  </a:cubicBezTo>
                  <a:cubicBezTo>
                    <a:pt x="186976" y="-12297"/>
                    <a:pt x="204439" y="17864"/>
                    <a:pt x="214758" y="45646"/>
                  </a:cubicBezTo>
                  <a:cubicBezTo>
                    <a:pt x="302864" y="31358"/>
                    <a:pt x="305246" y="133753"/>
                    <a:pt x="300483" y="195665"/>
                  </a:cubicBezTo>
                  <a:close/>
                </a:path>
              </a:pathLst>
            </a:custGeom>
            <a:solidFill>
              <a:srgbClr val="6633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0" name="Freeform 99"/>
            <p:cNvSpPr/>
            <p:nvPr/>
          </p:nvSpPr>
          <p:spPr bwMode="auto">
            <a:xfrm>
              <a:off x="5509657" y="5706361"/>
              <a:ext cx="159466" cy="79053"/>
            </a:xfrm>
            <a:custGeom>
              <a:avLst/>
              <a:gdLst>
                <a:gd name="connsiteX0" fmla="*/ 93857 w 187714"/>
                <a:gd name="connsiteY0" fmla="*/ 0 h 93056"/>
                <a:gd name="connsiteX1" fmla="*/ 180525 w 187714"/>
                <a:gd name="connsiteY1" fmla="*/ 57448 h 93056"/>
                <a:gd name="connsiteX2" fmla="*/ 187714 w 187714"/>
                <a:gd name="connsiteY2" fmla="*/ 93056 h 93056"/>
                <a:gd name="connsiteX3" fmla="*/ 0 w 187714"/>
                <a:gd name="connsiteY3" fmla="*/ 93056 h 93056"/>
                <a:gd name="connsiteX4" fmla="*/ 7189 w 187714"/>
                <a:gd name="connsiteY4" fmla="*/ 57448 h 93056"/>
                <a:gd name="connsiteX5" fmla="*/ 93857 w 187714"/>
                <a:gd name="connsiteY5" fmla="*/ 0 h 93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7714" h="93056">
                  <a:moveTo>
                    <a:pt x="93857" y="0"/>
                  </a:moveTo>
                  <a:cubicBezTo>
                    <a:pt x="132818" y="0"/>
                    <a:pt x="166246" y="23688"/>
                    <a:pt x="180525" y="57448"/>
                  </a:cubicBezTo>
                  <a:lnTo>
                    <a:pt x="187714" y="93056"/>
                  </a:lnTo>
                  <a:lnTo>
                    <a:pt x="0" y="93056"/>
                  </a:lnTo>
                  <a:lnTo>
                    <a:pt x="7189" y="57448"/>
                  </a:lnTo>
                  <a:cubicBezTo>
                    <a:pt x="21468" y="23688"/>
                    <a:pt x="54896" y="0"/>
                    <a:pt x="93857" y="0"/>
                  </a:cubicBezTo>
                  <a:close/>
                </a:path>
              </a:pathLst>
            </a:custGeom>
            <a:solidFill>
              <a:srgbClr val="3F3F3F">
                <a:lumMod val="95000"/>
                <a:lumOff val="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1" name="Freeform 100"/>
            <p:cNvSpPr/>
            <p:nvPr/>
          </p:nvSpPr>
          <p:spPr bwMode="auto">
            <a:xfrm>
              <a:off x="5309388" y="5710970"/>
              <a:ext cx="159466" cy="79053"/>
            </a:xfrm>
            <a:custGeom>
              <a:avLst/>
              <a:gdLst>
                <a:gd name="connsiteX0" fmla="*/ 93857 w 187714"/>
                <a:gd name="connsiteY0" fmla="*/ 0 h 93056"/>
                <a:gd name="connsiteX1" fmla="*/ 180525 w 187714"/>
                <a:gd name="connsiteY1" fmla="*/ 57448 h 93056"/>
                <a:gd name="connsiteX2" fmla="*/ 187714 w 187714"/>
                <a:gd name="connsiteY2" fmla="*/ 93056 h 93056"/>
                <a:gd name="connsiteX3" fmla="*/ 0 w 187714"/>
                <a:gd name="connsiteY3" fmla="*/ 93056 h 93056"/>
                <a:gd name="connsiteX4" fmla="*/ 7189 w 187714"/>
                <a:gd name="connsiteY4" fmla="*/ 57448 h 93056"/>
                <a:gd name="connsiteX5" fmla="*/ 93857 w 187714"/>
                <a:gd name="connsiteY5" fmla="*/ 0 h 93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7714" h="93056">
                  <a:moveTo>
                    <a:pt x="93857" y="0"/>
                  </a:moveTo>
                  <a:cubicBezTo>
                    <a:pt x="132818" y="0"/>
                    <a:pt x="166246" y="23688"/>
                    <a:pt x="180525" y="57448"/>
                  </a:cubicBezTo>
                  <a:lnTo>
                    <a:pt x="187714" y="93056"/>
                  </a:lnTo>
                  <a:lnTo>
                    <a:pt x="0" y="93056"/>
                  </a:lnTo>
                  <a:lnTo>
                    <a:pt x="7189" y="57448"/>
                  </a:lnTo>
                  <a:cubicBezTo>
                    <a:pt x="21468" y="23688"/>
                    <a:pt x="54896" y="0"/>
                    <a:pt x="93857" y="0"/>
                  </a:cubicBezTo>
                  <a:close/>
                </a:path>
              </a:pathLst>
            </a:custGeom>
            <a:solidFill>
              <a:srgbClr val="3F3F3F">
                <a:lumMod val="95000"/>
                <a:lumOff val="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2" name="Group 101"/>
            <p:cNvGrpSpPr/>
            <p:nvPr/>
          </p:nvGrpSpPr>
          <p:grpSpPr>
            <a:xfrm>
              <a:off x="5738249" y="4197646"/>
              <a:ext cx="187051" cy="780844"/>
              <a:chOff x="5891911" y="4348024"/>
              <a:chExt cx="187051" cy="780844"/>
            </a:xfrm>
          </p:grpSpPr>
          <p:sp>
            <p:nvSpPr>
              <p:cNvPr id="108" name="Rounded Rectangle 107"/>
              <p:cNvSpPr/>
              <p:nvPr/>
            </p:nvSpPr>
            <p:spPr bwMode="auto">
              <a:xfrm>
                <a:off x="5986406" y="4983218"/>
                <a:ext cx="90837" cy="145650"/>
              </a:xfrm>
              <a:prstGeom prst="roundRect">
                <a:avLst>
                  <a:gd name="adj" fmla="val 50000"/>
                </a:avLst>
              </a:prstGeom>
              <a:solidFill>
                <a:srgbClr val="FFC0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9" name="Freeform 108"/>
              <p:cNvSpPr/>
              <p:nvPr/>
            </p:nvSpPr>
            <p:spPr bwMode="auto">
              <a:xfrm>
                <a:off x="5891911" y="4348024"/>
                <a:ext cx="187051" cy="708019"/>
              </a:xfrm>
              <a:custGeom>
                <a:avLst/>
                <a:gdLst>
                  <a:gd name="connsiteX0" fmla="*/ 7144 w 238125"/>
                  <a:gd name="connsiteY0" fmla="*/ 0 h 833437"/>
                  <a:gd name="connsiteX1" fmla="*/ 238125 w 238125"/>
                  <a:gd name="connsiteY1" fmla="*/ 833437 h 833437"/>
                  <a:gd name="connsiteX2" fmla="*/ 109537 w 238125"/>
                  <a:gd name="connsiteY2" fmla="*/ 833437 h 833437"/>
                  <a:gd name="connsiteX3" fmla="*/ 0 w 238125"/>
                  <a:gd name="connsiteY3" fmla="*/ 361950 h 833437"/>
                  <a:gd name="connsiteX4" fmla="*/ 7144 w 238125"/>
                  <a:gd name="connsiteY4" fmla="*/ 0 h 833437"/>
                  <a:gd name="connsiteX0" fmla="*/ 7144 w 238125"/>
                  <a:gd name="connsiteY0" fmla="*/ 0 h 833437"/>
                  <a:gd name="connsiteX1" fmla="*/ 238125 w 238125"/>
                  <a:gd name="connsiteY1" fmla="*/ 833437 h 833437"/>
                  <a:gd name="connsiteX2" fmla="*/ 109537 w 238125"/>
                  <a:gd name="connsiteY2" fmla="*/ 833437 h 833437"/>
                  <a:gd name="connsiteX3" fmla="*/ 0 w 238125"/>
                  <a:gd name="connsiteY3" fmla="*/ 361950 h 833437"/>
                  <a:gd name="connsiteX4" fmla="*/ 7144 w 238125"/>
                  <a:gd name="connsiteY4" fmla="*/ 0 h 833437"/>
                  <a:gd name="connsiteX0" fmla="*/ 7144 w 238125"/>
                  <a:gd name="connsiteY0" fmla="*/ 0 h 833437"/>
                  <a:gd name="connsiteX1" fmla="*/ 238125 w 238125"/>
                  <a:gd name="connsiteY1" fmla="*/ 833437 h 833437"/>
                  <a:gd name="connsiteX2" fmla="*/ 109537 w 238125"/>
                  <a:gd name="connsiteY2" fmla="*/ 833437 h 833437"/>
                  <a:gd name="connsiteX3" fmla="*/ 0 w 238125"/>
                  <a:gd name="connsiteY3" fmla="*/ 361950 h 833437"/>
                  <a:gd name="connsiteX4" fmla="*/ 7144 w 238125"/>
                  <a:gd name="connsiteY4" fmla="*/ 0 h 833437"/>
                  <a:gd name="connsiteX0" fmla="*/ 7144 w 238125"/>
                  <a:gd name="connsiteY0" fmla="*/ 0 h 833437"/>
                  <a:gd name="connsiteX1" fmla="*/ 238125 w 238125"/>
                  <a:gd name="connsiteY1" fmla="*/ 833437 h 833437"/>
                  <a:gd name="connsiteX2" fmla="*/ 109537 w 238125"/>
                  <a:gd name="connsiteY2" fmla="*/ 833437 h 833437"/>
                  <a:gd name="connsiteX3" fmla="*/ 0 w 238125"/>
                  <a:gd name="connsiteY3" fmla="*/ 361950 h 833437"/>
                  <a:gd name="connsiteX4" fmla="*/ 7144 w 238125"/>
                  <a:gd name="connsiteY4" fmla="*/ 0 h 833437"/>
                  <a:gd name="connsiteX0" fmla="*/ 7144 w 238125"/>
                  <a:gd name="connsiteY0" fmla="*/ 0 h 833437"/>
                  <a:gd name="connsiteX1" fmla="*/ 238125 w 238125"/>
                  <a:gd name="connsiteY1" fmla="*/ 833437 h 833437"/>
                  <a:gd name="connsiteX2" fmla="*/ 109537 w 238125"/>
                  <a:gd name="connsiteY2" fmla="*/ 833437 h 833437"/>
                  <a:gd name="connsiteX3" fmla="*/ 0 w 238125"/>
                  <a:gd name="connsiteY3" fmla="*/ 361950 h 833437"/>
                  <a:gd name="connsiteX4" fmla="*/ 7144 w 238125"/>
                  <a:gd name="connsiteY4" fmla="*/ 0 h 833437"/>
                  <a:gd name="connsiteX0" fmla="*/ 7144 w 238125"/>
                  <a:gd name="connsiteY0" fmla="*/ 0 h 833437"/>
                  <a:gd name="connsiteX1" fmla="*/ 238125 w 238125"/>
                  <a:gd name="connsiteY1" fmla="*/ 833437 h 833437"/>
                  <a:gd name="connsiteX2" fmla="*/ 109537 w 238125"/>
                  <a:gd name="connsiteY2" fmla="*/ 833437 h 833437"/>
                  <a:gd name="connsiteX3" fmla="*/ 0 w 238125"/>
                  <a:gd name="connsiteY3" fmla="*/ 361950 h 833437"/>
                  <a:gd name="connsiteX4" fmla="*/ 7144 w 238125"/>
                  <a:gd name="connsiteY4" fmla="*/ 0 h 833437"/>
                  <a:gd name="connsiteX0" fmla="*/ 7144 w 220185"/>
                  <a:gd name="connsiteY0" fmla="*/ 0 h 833437"/>
                  <a:gd name="connsiteX1" fmla="*/ 220185 w 220185"/>
                  <a:gd name="connsiteY1" fmla="*/ 827457 h 833437"/>
                  <a:gd name="connsiteX2" fmla="*/ 109537 w 220185"/>
                  <a:gd name="connsiteY2" fmla="*/ 833437 h 833437"/>
                  <a:gd name="connsiteX3" fmla="*/ 0 w 220185"/>
                  <a:gd name="connsiteY3" fmla="*/ 361950 h 833437"/>
                  <a:gd name="connsiteX4" fmla="*/ 7144 w 220185"/>
                  <a:gd name="connsiteY4" fmla="*/ 0 h 833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185" h="833437">
                    <a:moveTo>
                      <a:pt x="7144" y="0"/>
                    </a:moveTo>
                    <a:cubicBezTo>
                      <a:pt x="103188" y="253999"/>
                      <a:pt x="197960" y="490114"/>
                      <a:pt x="220185" y="827457"/>
                    </a:cubicBezTo>
                    <a:cubicBezTo>
                      <a:pt x="177322" y="827457"/>
                      <a:pt x="152400" y="833437"/>
                      <a:pt x="109537" y="833437"/>
                    </a:cubicBezTo>
                    <a:cubicBezTo>
                      <a:pt x="94457" y="714376"/>
                      <a:pt x="74612" y="516731"/>
                      <a:pt x="0" y="361950"/>
                    </a:cubicBezTo>
                    <a:lnTo>
                      <a:pt x="7144" y="0"/>
                    </a:lnTo>
                    <a:close/>
                  </a:path>
                </a:pathLst>
              </a:custGeom>
              <a:solidFill>
                <a:srgbClr val="FFC0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03" name="Freeform 102"/>
            <p:cNvSpPr/>
            <p:nvPr/>
          </p:nvSpPr>
          <p:spPr bwMode="auto">
            <a:xfrm rot="208278">
              <a:off x="5730673" y="4196580"/>
              <a:ext cx="158467" cy="386689"/>
            </a:xfrm>
            <a:custGeom>
              <a:avLst/>
              <a:gdLst>
                <a:gd name="connsiteX0" fmla="*/ 7144 w 238125"/>
                <a:gd name="connsiteY0" fmla="*/ 0 h 833437"/>
                <a:gd name="connsiteX1" fmla="*/ 238125 w 238125"/>
                <a:gd name="connsiteY1" fmla="*/ 833437 h 833437"/>
                <a:gd name="connsiteX2" fmla="*/ 109537 w 238125"/>
                <a:gd name="connsiteY2" fmla="*/ 833437 h 833437"/>
                <a:gd name="connsiteX3" fmla="*/ 0 w 238125"/>
                <a:gd name="connsiteY3" fmla="*/ 361950 h 833437"/>
                <a:gd name="connsiteX4" fmla="*/ 7144 w 238125"/>
                <a:gd name="connsiteY4" fmla="*/ 0 h 833437"/>
                <a:gd name="connsiteX0" fmla="*/ 7144 w 238125"/>
                <a:gd name="connsiteY0" fmla="*/ 0 h 833437"/>
                <a:gd name="connsiteX1" fmla="*/ 238125 w 238125"/>
                <a:gd name="connsiteY1" fmla="*/ 833437 h 833437"/>
                <a:gd name="connsiteX2" fmla="*/ 109537 w 238125"/>
                <a:gd name="connsiteY2" fmla="*/ 833437 h 833437"/>
                <a:gd name="connsiteX3" fmla="*/ 0 w 238125"/>
                <a:gd name="connsiteY3" fmla="*/ 361950 h 833437"/>
                <a:gd name="connsiteX4" fmla="*/ 7144 w 238125"/>
                <a:gd name="connsiteY4" fmla="*/ 0 h 833437"/>
                <a:gd name="connsiteX0" fmla="*/ 7144 w 238125"/>
                <a:gd name="connsiteY0" fmla="*/ 0 h 833437"/>
                <a:gd name="connsiteX1" fmla="*/ 238125 w 238125"/>
                <a:gd name="connsiteY1" fmla="*/ 833437 h 833437"/>
                <a:gd name="connsiteX2" fmla="*/ 109537 w 238125"/>
                <a:gd name="connsiteY2" fmla="*/ 833437 h 833437"/>
                <a:gd name="connsiteX3" fmla="*/ 0 w 238125"/>
                <a:gd name="connsiteY3" fmla="*/ 361950 h 833437"/>
                <a:gd name="connsiteX4" fmla="*/ 7144 w 238125"/>
                <a:gd name="connsiteY4" fmla="*/ 0 h 833437"/>
                <a:gd name="connsiteX0" fmla="*/ 7144 w 238125"/>
                <a:gd name="connsiteY0" fmla="*/ 0 h 833437"/>
                <a:gd name="connsiteX1" fmla="*/ 238125 w 238125"/>
                <a:gd name="connsiteY1" fmla="*/ 833437 h 833437"/>
                <a:gd name="connsiteX2" fmla="*/ 109537 w 238125"/>
                <a:gd name="connsiteY2" fmla="*/ 833437 h 833437"/>
                <a:gd name="connsiteX3" fmla="*/ 0 w 238125"/>
                <a:gd name="connsiteY3" fmla="*/ 361950 h 833437"/>
                <a:gd name="connsiteX4" fmla="*/ 7144 w 238125"/>
                <a:gd name="connsiteY4" fmla="*/ 0 h 833437"/>
                <a:gd name="connsiteX0" fmla="*/ 7144 w 238125"/>
                <a:gd name="connsiteY0" fmla="*/ 0 h 833437"/>
                <a:gd name="connsiteX1" fmla="*/ 238125 w 238125"/>
                <a:gd name="connsiteY1" fmla="*/ 833437 h 833437"/>
                <a:gd name="connsiteX2" fmla="*/ 109537 w 238125"/>
                <a:gd name="connsiteY2" fmla="*/ 833437 h 833437"/>
                <a:gd name="connsiteX3" fmla="*/ 0 w 238125"/>
                <a:gd name="connsiteY3" fmla="*/ 361950 h 833437"/>
                <a:gd name="connsiteX4" fmla="*/ 7144 w 238125"/>
                <a:gd name="connsiteY4" fmla="*/ 0 h 833437"/>
                <a:gd name="connsiteX0" fmla="*/ 7144 w 238125"/>
                <a:gd name="connsiteY0" fmla="*/ 0 h 833437"/>
                <a:gd name="connsiteX1" fmla="*/ 238125 w 238125"/>
                <a:gd name="connsiteY1" fmla="*/ 833437 h 833437"/>
                <a:gd name="connsiteX2" fmla="*/ 109537 w 238125"/>
                <a:gd name="connsiteY2" fmla="*/ 833437 h 833437"/>
                <a:gd name="connsiteX3" fmla="*/ 0 w 238125"/>
                <a:gd name="connsiteY3" fmla="*/ 361950 h 833437"/>
                <a:gd name="connsiteX4" fmla="*/ 7144 w 238125"/>
                <a:gd name="connsiteY4" fmla="*/ 0 h 833437"/>
                <a:gd name="connsiteX0" fmla="*/ 7144 w 238125"/>
                <a:gd name="connsiteY0" fmla="*/ 0 h 833437"/>
                <a:gd name="connsiteX1" fmla="*/ 238125 w 238125"/>
                <a:gd name="connsiteY1" fmla="*/ 833437 h 833437"/>
                <a:gd name="connsiteX2" fmla="*/ 28808 w 238125"/>
                <a:gd name="connsiteY2" fmla="*/ 441756 h 833437"/>
                <a:gd name="connsiteX3" fmla="*/ 0 w 238125"/>
                <a:gd name="connsiteY3" fmla="*/ 361950 h 833437"/>
                <a:gd name="connsiteX4" fmla="*/ 7144 w 238125"/>
                <a:gd name="connsiteY4" fmla="*/ 0 h 833437"/>
                <a:gd name="connsiteX0" fmla="*/ 7144 w 196266"/>
                <a:gd name="connsiteY0" fmla="*/ 0 h 441756"/>
                <a:gd name="connsiteX1" fmla="*/ 196266 w 196266"/>
                <a:gd name="connsiteY1" fmla="*/ 393917 h 441756"/>
                <a:gd name="connsiteX2" fmla="*/ 28808 w 196266"/>
                <a:gd name="connsiteY2" fmla="*/ 441756 h 441756"/>
                <a:gd name="connsiteX3" fmla="*/ 0 w 196266"/>
                <a:gd name="connsiteY3" fmla="*/ 361950 h 441756"/>
                <a:gd name="connsiteX4" fmla="*/ 7144 w 196266"/>
                <a:gd name="connsiteY4" fmla="*/ 0 h 441756"/>
                <a:gd name="connsiteX0" fmla="*/ 7144 w 196266"/>
                <a:gd name="connsiteY0" fmla="*/ 0 h 441756"/>
                <a:gd name="connsiteX1" fmla="*/ 196266 w 196266"/>
                <a:gd name="connsiteY1" fmla="*/ 393917 h 441756"/>
                <a:gd name="connsiteX2" fmla="*/ 28808 w 196266"/>
                <a:gd name="connsiteY2" fmla="*/ 441756 h 441756"/>
                <a:gd name="connsiteX3" fmla="*/ 0 w 196266"/>
                <a:gd name="connsiteY3" fmla="*/ 361950 h 441756"/>
                <a:gd name="connsiteX4" fmla="*/ 7144 w 196266"/>
                <a:gd name="connsiteY4" fmla="*/ 0 h 441756"/>
                <a:gd name="connsiteX0" fmla="*/ 7144 w 196266"/>
                <a:gd name="connsiteY0" fmla="*/ 0 h 441756"/>
                <a:gd name="connsiteX1" fmla="*/ 196266 w 196266"/>
                <a:gd name="connsiteY1" fmla="*/ 393917 h 441756"/>
                <a:gd name="connsiteX2" fmla="*/ 28808 w 196266"/>
                <a:gd name="connsiteY2" fmla="*/ 441756 h 441756"/>
                <a:gd name="connsiteX3" fmla="*/ 0 w 196266"/>
                <a:gd name="connsiteY3" fmla="*/ 361950 h 441756"/>
                <a:gd name="connsiteX4" fmla="*/ 7144 w 196266"/>
                <a:gd name="connsiteY4" fmla="*/ 0 h 441756"/>
                <a:gd name="connsiteX0" fmla="*/ 7144 w 172346"/>
                <a:gd name="connsiteY0" fmla="*/ 0 h 441756"/>
                <a:gd name="connsiteX1" fmla="*/ 172346 w 172346"/>
                <a:gd name="connsiteY1" fmla="*/ 396907 h 441756"/>
                <a:gd name="connsiteX2" fmla="*/ 28808 w 172346"/>
                <a:gd name="connsiteY2" fmla="*/ 441756 h 441756"/>
                <a:gd name="connsiteX3" fmla="*/ 0 w 172346"/>
                <a:gd name="connsiteY3" fmla="*/ 361950 h 441756"/>
                <a:gd name="connsiteX4" fmla="*/ 7144 w 172346"/>
                <a:gd name="connsiteY4" fmla="*/ 0 h 441756"/>
                <a:gd name="connsiteX0" fmla="*/ 7144 w 172346"/>
                <a:gd name="connsiteY0" fmla="*/ 0 h 450726"/>
                <a:gd name="connsiteX1" fmla="*/ 172346 w 172346"/>
                <a:gd name="connsiteY1" fmla="*/ 396907 h 450726"/>
                <a:gd name="connsiteX2" fmla="*/ 10869 w 172346"/>
                <a:gd name="connsiteY2" fmla="*/ 450726 h 450726"/>
                <a:gd name="connsiteX3" fmla="*/ 0 w 172346"/>
                <a:gd name="connsiteY3" fmla="*/ 361950 h 450726"/>
                <a:gd name="connsiteX4" fmla="*/ 7144 w 172346"/>
                <a:gd name="connsiteY4" fmla="*/ 0 h 450726"/>
                <a:gd name="connsiteX0" fmla="*/ 1164 w 166366"/>
                <a:gd name="connsiteY0" fmla="*/ 0 h 455187"/>
                <a:gd name="connsiteX1" fmla="*/ 166366 w 166366"/>
                <a:gd name="connsiteY1" fmla="*/ 396907 h 455187"/>
                <a:gd name="connsiteX2" fmla="*/ 4889 w 166366"/>
                <a:gd name="connsiteY2" fmla="*/ 450726 h 455187"/>
                <a:gd name="connsiteX3" fmla="*/ 0 w 166366"/>
                <a:gd name="connsiteY3" fmla="*/ 397829 h 455187"/>
                <a:gd name="connsiteX4" fmla="*/ 1164 w 166366"/>
                <a:gd name="connsiteY4" fmla="*/ 0 h 455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366" h="455187">
                  <a:moveTo>
                    <a:pt x="1164" y="0"/>
                  </a:moveTo>
                  <a:cubicBezTo>
                    <a:pt x="97208" y="253999"/>
                    <a:pt x="123212" y="283810"/>
                    <a:pt x="166366" y="396907"/>
                  </a:cubicBezTo>
                  <a:cubicBezTo>
                    <a:pt x="111543" y="414847"/>
                    <a:pt x="47752" y="450726"/>
                    <a:pt x="4889" y="450726"/>
                  </a:cubicBezTo>
                  <a:cubicBezTo>
                    <a:pt x="-10191" y="331665"/>
                    <a:pt x="74612" y="552610"/>
                    <a:pt x="0" y="397829"/>
                  </a:cubicBezTo>
                  <a:lnTo>
                    <a:pt x="1164" y="0"/>
                  </a:lnTo>
                  <a:close/>
                </a:path>
              </a:pathLst>
            </a:custGeom>
            <a:solidFill>
              <a:schemeClr val="accent5"/>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04" name="Group 103"/>
            <p:cNvGrpSpPr/>
            <p:nvPr/>
          </p:nvGrpSpPr>
          <p:grpSpPr>
            <a:xfrm flipH="1">
              <a:off x="5057658" y="4193696"/>
              <a:ext cx="187051" cy="780844"/>
              <a:chOff x="5891911" y="4348024"/>
              <a:chExt cx="187051" cy="780844"/>
            </a:xfrm>
          </p:grpSpPr>
          <p:sp>
            <p:nvSpPr>
              <p:cNvPr id="106" name="Rounded Rectangle 105"/>
              <p:cNvSpPr/>
              <p:nvPr/>
            </p:nvSpPr>
            <p:spPr bwMode="auto">
              <a:xfrm>
                <a:off x="5986406" y="4983218"/>
                <a:ext cx="90837" cy="145650"/>
              </a:xfrm>
              <a:prstGeom prst="roundRect">
                <a:avLst>
                  <a:gd name="adj" fmla="val 50000"/>
                </a:avLst>
              </a:prstGeom>
              <a:solidFill>
                <a:srgbClr val="FFC0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7" name="Freeform 106"/>
              <p:cNvSpPr/>
              <p:nvPr/>
            </p:nvSpPr>
            <p:spPr bwMode="auto">
              <a:xfrm>
                <a:off x="5891911" y="4348024"/>
                <a:ext cx="187051" cy="708019"/>
              </a:xfrm>
              <a:custGeom>
                <a:avLst/>
                <a:gdLst>
                  <a:gd name="connsiteX0" fmla="*/ 7144 w 238125"/>
                  <a:gd name="connsiteY0" fmla="*/ 0 h 833437"/>
                  <a:gd name="connsiteX1" fmla="*/ 238125 w 238125"/>
                  <a:gd name="connsiteY1" fmla="*/ 833437 h 833437"/>
                  <a:gd name="connsiteX2" fmla="*/ 109537 w 238125"/>
                  <a:gd name="connsiteY2" fmla="*/ 833437 h 833437"/>
                  <a:gd name="connsiteX3" fmla="*/ 0 w 238125"/>
                  <a:gd name="connsiteY3" fmla="*/ 361950 h 833437"/>
                  <a:gd name="connsiteX4" fmla="*/ 7144 w 238125"/>
                  <a:gd name="connsiteY4" fmla="*/ 0 h 833437"/>
                  <a:gd name="connsiteX0" fmla="*/ 7144 w 238125"/>
                  <a:gd name="connsiteY0" fmla="*/ 0 h 833437"/>
                  <a:gd name="connsiteX1" fmla="*/ 238125 w 238125"/>
                  <a:gd name="connsiteY1" fmla="*/ 833437 h 833437"/>
                  <a:gd name="connsiteX2" fmla="*/ 109537 w 238125"/>
                  <a:gd name="connsiteY2" fmla="*/ 833437 h 833437"/>
                  <a:gd name="connsiteX3" fmla="*/ 0 w 238125"/>
                  <a:gd name="connsiteY3" fmla="*/ 361950 h 833437"/>
                  <a:gd name="connsiteX4" fmla="*/ 7144 w 238125"/>
                  <a:gd name="connsiteY4" fmla="*/ 0 h 833437"/>
                  <a:gd name="connsiteX0" fmla="*/ 7144 w 238125"/>
                  <a:gd name="connsiteY0" fmla="*/ 0 h 833437"/>
                  <a:gd name="connsiteX1" fmla="*/ 238125 w 238125"/>
                  <a:gd name="connsiteY1" fmla="*/ 833437 h 833437"/>
                  <a:gd name="connsiteX2" fmla="*/ 109537 w 238125"/>
                  <a:gd name="connsiteY2" fmla="*/ 833437 h 833437"/>
                  <a:gd name="connsiteX3" fmla="*/ 0 w 238125"/>
                  <a:gd name="connsiteY3" fmla="*/ 361950 h 833437"/>
                  <a:gd name="connsiteX4" fmla="*/ 7144 w 238125"/>
                  <a:gd name="connsiteY4" fmla="*/ 0 h 833437"/>
                  <a:gd name="connsiteX0" fmla="*/ 7144 w 238125"/>
                  <a:gd name="connsiteY0" fmla="*/ 0 h 833437"/>
                  <a:gd name="connsiteX1" fmla="*/ 238125 w 238125"/>
                  <a:gd name="connsiteY1" fmla="*/ 833437 h 833437"/>
                  <a:gd name="connsiteX2" fmla="*/ 109537 w 238125"/>
                  <a:gd name="connsiteY2" fmla="*/ 833437 h 833437"/>
                  <a:gd name="connsiteX3" fmla="*/ 0 w 238125"/>
                  <a:gd name="connsiteY3" fmla="*/ 361950 h 833437"/>
                  <a:gd name="connsiteX4" fmla="*/ 7144 w 238125"/>
                  <a:gd name="connsiteY4" fmla="*/ 0 h 833437"/>
                  <a:gd name="connsiteX0" fmla="*/ 7144 w 238125"/>
                  <a:gd name="connsiteY0" fmla="*/ 0 h 833437"/>
                  <a:gd name="connsiteX1" fmla="*/ 238125 w 238125"/>
                  <a:gd name="connsiteY1" fmla="*/ 833437 h 833437"/>
                  <a:gd name="connsiteX2" fmla="*/ 109537 w 238125"/>
                  <a:gd name="connsiteY2" fmla="*/ 833437 h 833437"/>
                  <a:gd name="connsiteX3" fmla="*/ 0 w 238125"/>
                  <a:gd name="connsiteY3" fmla="*/ 361950 h 833437"/>
                  <a:gd name="connsiteX4" fmla="*/ 7144 w 238125"/>
                  <a:gd name="connsiteY4" fmla="*/ 0 h 833437"/>
                  <a:gd name="connsiteX0" fmla="*/ 7144 w 238125"/>
                  <a:gd name="connsiteY0" fmla="*/ 0 h 833437"/>
                  <a:gd name="connsiteX1" fmla="*/ 238125 w 238125"/>
                  <a:gd name="connsiteY1" fmla="*/ 833437 h 833437"/>
                  <a:gd name="connsiteX2" fmla="*/ 109537 w 238125"/>
                  <a:gd name="connsiteY2" fmla="*/ 833437 h 833437"/>
                  <a:gd name="connsiteX3" fmla="*/ 0 w 238125"/>
                  <a:gd name="connsiteY3" fmla="*/ 361950 h 833437"/>
                  <a:gd name="connsiteX4" fmla="*/ 7144 w 238125"/>
                  <a:gd name="connsiteY4" fmla="*/ 0 h 833437"/>
                  <a:gd name="connsiteX0" fmla="*/ 7144 w 220185"/>
                  <a:gd name="connsiteY0" fmla="*/ 0 h 833437"/>
                  <a:gd name="connsiteX1" fmla="*/ 220185 w 220185"/>
                  <a:gd name="connsiteY1" fmla="*/ 827457 h 833437"/>
                  <a:gd name="connsiteX2" fmla="*/ 109537 w 220185"/>
                  <a:gd name="connsiteY2" fmla="*/ 833437 h 833437"/>
                  <a:gd name="connsiteX3" fmla="*/ 0 w 220185"/>
                  <a:gd name="connsiteY3" fmla="*/ 361950 h 833437"/>
                  <a:gd name="connsiteX4" fmla="*/ 7144 w 220185"/>
                  <a:gd name="connsiteY4" fmla="*/ 0 h 833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185" h="833437">
                    <a:moveTo>
                      <a:pt x="7144" y="0"/>
                    </a:moveTo>
                    <a:cubicBezTo>
                      <a:pt x="103188" y="253999"/>
                      <a:pt x="197960" y="490114"/>
                      <a:pt x="220185" y="827457"/>
                    </a:cubicBezTo>
                    <a:cubicBezTo>
                      <a:pt x="177322" y="827457"/>
                      <a:pt x="152400" y="833437"/>
                      <a:pt x="109537" y="833437"/>
                    </a:cubicBezTo>
                    <a:cubicBezTo>
                      <a:pt x="94457" y="714376"/>
                      <a:pt x="74612" y="516731"/>
                      <a:pt x="0" y="361950"/>
                    </a:cubicBezTo>
                    <a:lnTo>
                      <a:pt x="7144" y="0"/>
                    </a:lnTo>
                    <a:close/>
                  </a:path>
                </a:pathLst>
              </a:custGeom>
              <a:solidFill>
                <a:srgbClr val="FFC0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05" name="Freeform 104"/>
            <p:cNvSpPr/>
            <p:nvPr/>
          </p:nvSpPr>
          <p:spPr bwMode="auto">
            <a:xfrm rot="21422783" flipH="1">
              <a:off x="5096995" y="4194214"/>
              <a:ext cx="152862" cy="386689"/>
            </a:xfrm>
            <a:custGeom>
              <a:avLst/>
              <a:gdLst>
                <a:gd name="connsiteX0" fmla="*/ 7144 w 238125"/>
                <a:gd name="connsiteY0" fmla="*/ 0 h 833437"/>
                <a:gd name="connsiteX1" fmla="*/ 238125 w 238125"/>
                <a:gd name="connsiteY1" fmla="*/ 833437 h 833437"/>
                <a:gd name="connsiteX2" fmla="*/ 109537 w 238125"/>
                <a:gd name="connsiteY2" fmla="*/ 833437 h 833437"/>
                <a:gd name="connsiteX3" fmla="*/ 0 w 238125"/>
                <a:gd name="connsiteY3" fmla="*/ 361950 h 833437"/>
                <a:gd name="connsiteX4" fmla="*/ 7144 w 238125"/>
                <a:gd name="connsiteY4" fmla="*/ 0 h 833437"/>
                <a:gd name="connsiteX0" fmla="*/ 7144 w 238125"/>
                <a:gd name="connsiteY0" fmla="*/ 0 h 833437"/>
                <a:gd name="connsiteX1" fmla="*/ 238125 w 238125"/>
                <a:gd name="connsiteY1" fmla="*/ 833437 h 833437"/>
                <a:gd name="connsiteX2" fmla="*/ 109537 w 238125"/>
                <a:gd name="connsiteY2" fmla="*/ 833437 h 833437"/>
                <a:gd name="connsiteX3" fmla="*/ 0 w 238125"/>
                <a:gd name="connsiteY3" fmla="*/ 361950 h 833437"/>
                <a:gd name="connsiteX4" fmla="*/ 7144 w 238125"/>
                <a:gd name="connsiteY4" fmla="*/ 0 h 833437"/>
                <a:gd name="connsiteX0" fmla="*/ 7144 w 238125"/>
                <a:gd name="connsiteY0" fmla="*/ 0 h 833437"/>
                <a:gd name="connsiteX1" fmla="*/ 238125 w 238125"/>
                <a:gd name="connsiteY1" fmla="*/ 833437 h 833437"/>
                <a:gd name="connsiteX2" fmla="*/ 109537 w 238125"/>
                <a:gd name="connsiteY2" fmla="*/ 833437 h 833437"/>
                <a:gd name="connsiteX3" fmla="*/ 0 w 238125"/>
                <a:gd name="connsiteY3" fmla="*/ 361950 h 833437"/>
                <a:gd name="connsiteX4" fmla="*/ 7144 w 238125"/>
                <a:gd name="connsiteY4" fmla="*/ 0 h 833437"/>
                <a:gd name="connsiteX0" fmla="*/ 7144 w 238125"/>
                <a:gd name="connsiteY0" fmla="*/ 0 h 833437"/>
                <a:gd name="connsiteX1" fmla="*/ 238125 w 238125"/>
                <a:gd name="connsiteY1" fmla="*/ 833437 h 833437"/>
                <a:gd name="connsiteX2" fmla="*/ 109537 w 238125"/>
                <a:gd name="connsiteY2" fmla="*/ 833437 h 833437"/>
                <a:gd name="connsiteX3" fmla="*/ 0 w 238125"/>
                <a:gd name="connsiteY3" fmla="*/ 361950 h 833437"/>
                <a:gd name="connsiteX4" fmla="*/ 7144 w 238125"/>
                <a:gd name="connsiteY4" fmla="*/ 0 h 833437"/>
                <a:gd name="connsiteX0" fmla="*/ 7144 w 238125"/>
                <a:gd name="connsiteY0" fmla="*/ 0 h 833437"/>
                <a:gd name="connsiteX1" fmla="*/ 238125 w 238125"/>
                <a:gd name="connsiteY1" fmla="*/ 833437 h 833437"/>
                <a:gd name="connsiteX2" fmla="*/ 109537 w 238125"/>
                <a:gd name="connsiteY2" fmla="*/ 833437 h 833437"/>
                <a:gd name="connsiteX3" fmla="*/ 0 w 238125"/>
                <a:gd name="connsiteY3" fmla="*/ 361950 h 833437"/>
                <a:gd name="connsiteX4" fmla="*/ 7144 w 238125"/>
                <a:gd name="connsiteY4" fmla="*/ 0 h 833437"/>
                <a:gd name="connsiteX0" fmla="*/ 7144 w 238125"/>
                <a:gd name="connsiteY0" fmla="*/ 0 h 833437"/>
                <a:gd name="connsiteX1" fmla="*/ 238125 w 238125"/>
                <a:gd name="connsiteY1" fmla="*/ 833437 h 833437"/>
                <a:gd name="connsiteX2" fmla="*/ 109537 w 238125"/>
                <a:gd name="connsiteY2" fmla="*/ 833437 h 833437"/>
                <a:gd name="connsiteX3" fmla="*/ 0 w 238125"/>
                <a:gd name="connsiteY3" fmla="*/ 361950 h 833437"/>
                <a:gd name="connsiteX4" fmla="*/ 7144 w 238125"/>
                <a:gd name="connsiteY4" fmla="*/ 0 h 833437"/>
                <a:gd name="connsiteX0" fmla="*/ 7144 w 238125"/>
                <a:gd name="connsiteY0" fmla="*/ 0 h 833437"/>
                <a:gd name="connsiteX1" fmla="*/ 238125 w 238125"/>
                <a:gd name="connsiteY1" fmla="*/ 833437 h 833437"/>
                <a:gd name="connsiteX2" fmla="*/ 28808 w 238125"/>
                <a:gd name="connsiteY2" fmla="*/ 441756 h 833437"/>
                <a:gd name="connsiteX3" fmla="*/ 0 w 238125"/>
                <a:gd name="connsiteY3" fmla="*/ 361950 h 833437"/>
                <a:gd name="connsiteX4" fmla="*/ 7144 w 238125"/>
                <a:gd name="connsiteY4" fmla="*/ 0 h 833437"/>
                <a:gd name="connsiteX0" fmla="*/ 7144 w 196266"/>
                <a:gd name="connsiteY0" fmla="*/ 0 h 441756"/>
                <a:gd name="connsiteX1" fmla="*/ 196266 w 196266"/>
                <a:gd name="connsiteY1" fmla="*/ 393917 h 441756"/>
                <a:gd name="connsiteX2" fmla="*/ 28808 w 196266"/>
                <a:gd name="connsiteY2" fmla="*/ 441756 h 441756"/>
                <a:gd name="connsiteX3" fmla="*/ 0 w 196266"/>
                <a:gd name="connsiteY3" fmla="*/ 361950 h 441756"/>
                <a:gd name="connsiteX4" fmla="*/ 7144 w 196266"/>
                <a:gd name="connsiteY4" fmla="*/ 0 h 441756"/>
                <a:gd name="connsiteX0" fmla="*/ 7144 w 196266"/>
                <a:gd name="connsiteY0" fmla="*/ 0 h 441756"/>
                <a:gd name="connsiteX1" fmla="*/ 196266 w 196266"/>
                <a:gd name="connsiteY1" fmla="*/ 393917 h 441756"/>
                <a:gd name="connsiteX2" fmla="*/ 28808 w 196266"/>
                <a:gd name="connsiteY2" fmla="*/ 441756 h 441756"/>
                <a:gd name="connsiteX3" fmla="*/ 0 w 196266"/>
                <a:gd name="connsiteY3" fmla="*/ 361950 h 441756"/>
                <a:gd name="connsiteX4" fmla="*/ 7144 w 196266"/>
                <a:gd name="connsiteY4" fmla="*/ 0 h 441756"/>
                <a:gd name="connsiteX0" fmla="*/ 7144 w 196266"/>
                <a:gd name="connsiteY0" fmla="*/ 0 h 441756"/>
                <a:gd name="connsiteX1" fmla="*/ 196266 w 196266"/>
                <a:gd name="connsiteY1" fmla="*/ 393917 h 441756"/>
                <a:gd name="connsiteX2" fmla="*/ 28808 w 196266"/>
                <a:gd name="connsiteY2" fmla="*/ 441756 h 441756"/>
                <a:gd name="connsiteX3" fmla="*/ 0 w 196266"/>
                <a:gd name="connsiteY3" fmla="*/ 361950 h 441756"/>
                <a:gd name="connsiteX4" fmla="*/ 7144 w 196266"/>
                <a:gd name="connsiteY4" fmla="*/ 0 h 441756"/>
                <a:gd name="connsiteX0" fmla="*/ 7144 w 172346"/>
                <a:gd name="connsiteY0" fmla="*/ 0 h 441756"/>
                <a:gd name="connsiteX1" fmla="*/ 172346 w 172346"/>
                <a:gd name="connsiteY1" fmla="*/ 396907 h 441756"/>
                <a:gd name="connsiteX2" fmla="*/ 28808 w 172346"/>
                <a:gd name="connsiteY2" fmla="*/ 441756 h 441756"/>
                <a:gd name="connsiteX3" fmla="*/ 0 w 172346"/>
                <a:gd name="connsiteY3" fmla="*/ 361950 h 441756"/>
                <a:gd name="connsiteX4" fmla="*/ 7144 w 172346"/>
                <a:gd name="connsiteY4" fmla="*/ 0 h 441756"/>
                <a:gd name="connsiteX0" fmla="*/ 7144 w 172346"/>
                <a:gd name="connsiteY0" fmla="*/ 0 h 450726"/>
                <a:gd name="connsiteX1" fmla="*/ 172346 w 172346"/>
                <a:gd name="connsiteY1" fmla="*/ 396907 h 450726"/>
                <a:gd name="connsiteX2" fmla="*/ 10869 w 172346"/>
                <a:gd name="connsiteY2" fmla="*/ 450726 h 450726"/>
                <a:gd name="connsiteX3" fmla="*/ 0 w 172346"/>
                <a:gd name="connsiteY3" fmla="*/ 361950 h 450726"/>
                <a:gd name="connsiteX4" fmla="*/ 7144 w 172346"/>
                <a:gd name="connsiteY4" fmla="*/ 0 h 450726"/>
                <a:gd name="connsiteX0" fmla="*/ 1164 w 166366"/>
                <a:gd name="connsiteY0" fmla="*/ 0 h 455187"/>
                <a:gd name="connsiteX1" fmla="*/ 166366 w 166366"/>
                <a:gd name="connsiteY1" fmla="*/ 396907 h 455187"/>
                <a:gd name="connsiteX2" fmla="*/ 4889 w 166366"/>
                <a:gd name="connsiteY2" fmla="*/ 450726 h 455187"/>
                <a:gd name="connsiteX3" fmla="*/ 0 w 166366"/>
                <a:gd name="connsiteY3" fmla="*/ 397829 h 455187"/>
                <a:gd name="connsiteX4" fmla="*/ 1164 w 166366"/>
                <a:gd name="connsiteY4" fmla="*/ 0 h 455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366" h="455187">
                  <a:moveTo>
                    <a:pt x="1164" y="0"/>
                  </a:moveTo>
                  <a:cubicBezTo>
                    <a:pt x="97208" y="253999"/>
                    <a:pt x="123212" y="283810"/>
                    <a:pt x="166366" y="396907"/>
                  </a:cubicBezTo>
                  <a:cubicBezTo>
                    <a:pt x="111543" y="414847"/>
                    <a:pt x="47752" y="450726"/>
                    <a:pt x="4889" y="450726"/>
                  </a:cubicBezTo>
                  <a:cubicBezTo>
                    <a:pt x="-10191" y="331665"/>
                    <a:pt x="74612" y="552610"/>
                    <a:pt x="0" y="397829"/>
                  </a:cubicBezTo>
                  <a:lnTo>
                    <a:pt x="1164" y="0"/>
                  </a:lnTo>
                  <a:close/>
                </a:path>
              </a:pathLst>
            </a:custGeom>
            <a:solidFill>
              <a:schemeClr val="accent5"/>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10" name="Group 109"/>
          <p:cNvGrpSpPr/>
          <p:nvPr/>
        </p:nvGrpSpPr>
        <p:grpSpPr>
          <a:xfrm>
            <a:off x="11898000" y="2947202"/>
            <a:ext cx="434734" cy="866647"/>
            <a:chOff x="9357905" y="3491726"/>
            <a:chExt cx="437621" cy="872401"/>
          </a:xfrm>
        </p:grpSpPr>
        <p:sp>
          <p:nvSpPr>
            <p:cNvPr id="111" name="Rounded Rectangle 110"/>
            <p:cNvSpPr/>
            <p:nvPr/>
          </p:nvSpPr>
          <p:spPr bwMode="auto">
            <a:xfrm>
              <a:off x="9382183" y="3524481"/>
              <a:ext cx="375766" cy="818330"/>
            </a:xfrm>
            <a:prstGeom prst="roundRect">
              <a:avLst/>
            </a:pr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2" name="Rounded Rectangle 68"/>
            <p:cNvSpPr/>
            <p:nvPr/>
          </p:nvSpPr>
          <p:spPr>
            <a:xfrm>
              <a:off x="9357905" y="3491726"/>
              <a:ext cx="437621" cy="872401"/>
            </a:xfrm>
            <a:custGeom>
              <a:avLst/>
              <a:gdLst/>
              <a:ahLst/>
              <a:cxnLst/>
              <a:rect l="l" t="t" r="r" b="b"/>
              <a:pathLst>
                <a:path w="736663" h="1468542">
                  <a:moveTo>
                    <a:pt x="127441" y="1331784"/>
                  </a:moveTo>
                  <a:lnTo>
                    <a:pt x="127441" y="1333372"/>
                  </a:lnTo>
                  <a:lnTo>
                    <a:pt x="126399" y="1332578"/>
                  </a:lnTo>
                  <a:close/>
                  <a:moveTo>
                    <a:pt x="369735" y="1314798"/>
                  </a:moveTo>
                  <a:lnTo>
                    <a:pt x="357710" y="1354631"/>
                  </a:lnTo>
                  <a:cubicBezTo>
                    <a:pt x="363388" y="1358973"/>
                    <a:pt x="380090" y="1370330"/>
                    <a:pt x="405310" y="1358639"/>
                  </a:cubicBezTo>
                  <a:lnTo>
                    <a:pt x="417335" y="1317052"/>
                  </a:lnTo>
                  <a:cubicBezTo>
                    <a:pt x="391197" y="1326823"/>
                    <a:pt x="381844" y="1320309"/>
                    <a:pt x="369735" y="1314798"/>
                  </a:cubicBezTo>
                  <a:close/>
                  <a:moveTo>
                    <a:pt x="140687" y="1309718"/>
                  </a:moveTo>
                  <a:lnTo>
                    <a:pt x="110683" y="1332578"/>
                  </a:lnTo>
                  <a:lnTo>
                    <a:pt x="140687" y="1355438"/>
                  </a:lnTo>
                  <a:lnTo>
                    <a:pt x="156403" y="1355438"/>
                  </a:lnTo>
                  <a:lnTo>
                    <a:pt x="133275" y="1337817"/>
                  </a:lnTo>
                  <a:lnTo>
                    <a:pt x="218881" y="1337817"/>
                  </a:lnTo>
                  <a:lnTo>
                    <a:pt x="218881" y="1328673"/>
                  </a:lnTo>
                  <a:lnTo>
                    <a:pt x="131524" y="1328673"/>
                  </a:lnTo>
                  <a:lnTo>
                    <a:pt x="156403" y="1309718"/>
                  </a:lnTo>
                  <a:close/>
                  <a:moveTo>
                    <a:pt x="341326" y="1303311"/>
                  </a:moveTo>
                  <a:cubicBezTo>
                    <a:pt x="330365" y="1302817"/>
                    <a:pt x="321446" y="1307351"/>
                    <a:pt x="317323" y="1308656"/>
                  </a:cubicBezTo>
                  <a:lnTo>
                    <a:pt x="305799" y="1349742"/>
                  </a:lnTo>
                  <a:cubicBezTo>
                    <a:pt x="332438" y="1338385"/>
                    <a:pt x="344297" y="1348072"/>
                    <a:pt x="350393" y="1351996"/>
                  </a:cubicBezTo>
                  <a:lnTo>
                    <a:pt x="362668" y="1311412"/>
                  </a:lnTo>
                  <a:cubicBezTo>
                    <a:pt x="355215" y="1305713"/>
                    <a:pt x="347903" y="1303607"/>
                    <a:pt x="341326" y="1303311"/>
                  </a:cubicBezTo>
                  <a:close/>
                  <a:moveTo>
                    <a:pt x="609845" y="1293468"/>
                  </a:moveTo>
                  <a:cubicBezTo>
                    <a:pt x="615874" y="1293468"/>
                    <a:pt x="620761" y="1298355"/>
                    <a:pt x="620761" y="1304384"/>
                  </a:cubicBezTo>
                  <a:cubicBezTo>
                    <a:pt x="620761" y="1310412"/>
                    <a:pt x="615874" y="1315299"/>
                    <a:pt x="609845" y="1315299"/>
                  </a:cubicBezTo>
                  <a:cubicBezTo>
                    <a:pt x="603816" y="1315299"/>
                    <a:pt x="598929" y="1310412"/>
                    <a:pt x="598929" y="1304384"/>
                  </a:cubicBezTo>
                  <a:cubicBezTo>
                    <a:pt x="598929" y="1298355"/>
                    <a:pt x="603816" y="1293468"/>
                    <a:pt x="609845" y="1293468"/>
                  </a:cubicBezTo>
                  <a:close/>
                  <a:moveTo>
                    <a:pt x="609845" y="1272471"/>
                  </a:moveTo>
                  <a:cubicBezTo>
                    <a:pt x="592965" y="1272471"/>
                    <a:pt x="579282" y="1286759"/>
                    <a:pt x="579282" y="1304384"/>
                  </a:cubicBezTo>
                  <a:cubicBezTo>
                    <a:pt x="579282" y="1307127"/>
                    <a:pt x="579613" y="1309790"/>
                    <a:pt x="580345" y="1312304"/>
                  </a:cubicBezTo>
                  <a:lnTo>
                    <a:pt x="545743" y="1335166"/>
                  </a:lnTo>
                  <a:cubicBezTo>
                    <a:pt x="543087" y="1336921"/>
                    <a:pt x="542356" y="1340498"/>
                    <a:pt x="544112" y="1343154"/>
                  </a:cubicBezTo>
                  <a:lnTo>
                    <a:pt x="547808" y="1348749"/>
                  </a:lnTo>
                  <a:cubicBezTo>
                    <a:pt x="549564" y="1351406"/>
                    <a:pt x="553140" y="1352136"/>
                    <a:pt x="555796" y="1350381"/>
                  </a:cubicBezTo>
                  <a:lnTo>
                    <a:pt x="589546" y="1328081"/>
                  </a:lnTo>
                  <a:cubicBezTo>
                    <a:pt x="594873" y="1333223"/>
                    <a:pt x="602015" y="1336297"/>
                    <a:pt x="609845" y="1336297"/>
                  </a:cubicBezTo>
                  <a:cubicBezTo>
                    <a:pt x="626724" y="1336297"/>
                    <a:pt x="640408" y="1322009"/>
                    <a:pt x="640408" y="1304384"/>
                  </a:cubicBezTo>
                  <a:cubicBezTo>
                    <a:pt x="640408" y="1286759"/>
                    <a:pt x="626724" y="1272471"/>
                    <a:pt x="609845" y="1272471"/>
                  </a:cubicBezTo>
                  <a:close/>
                  <a:moveTo>
                    <a:pt x="383263" y="1263939"/>
                  </a:moveTo>
                  <a:lnTo>
                    <a:pt x="371238" y="1303772"/>
                  </a:lnTo>
                  <a:cubicBezTo>
                    <a:pt x="376917" y="1308115"/>
                    <a:pt x="393618" y="1319472"/>
                    <a:pt x="418838" y="1307781"/>
                  </a:cubicBezTo>
                  <a:lnTo>
                    <a:pt x="430863" y="1266194"/>
                  </a:lnTo>
                  <a:cubicBezTo>
                    <a:pt x="404725" y="1275964"/>
                    <a:pt x="395372" y="1269451"/>
                    <a:pt x="383263" y="1263939"/>
                  </a:cubicBezTo>
                  <a:close/>
                  <a:moveTo>
                    <a:pt x="354354" y="1252330"/>
                  </a:moveTo>
                  <a:cubicBezTo>
                    <a:pt x="343392" y="1251837"/>
                    <a:pt x="334474" y="1256371"/>
                    <a:pt x="330351" y="1257676"/>
                  </a:cubicBezTo>
                  <a:lnTo>
                    <a:pt x="318826" y="1298762"/>
                  </a:lnTo>
                  <a:cubicBezTo>
                    <a:pt x="345466" y="1287405"/>
                    <a:pt x="357324" y="1297092"/>
                    <a:pt x="363420" y="1301016"/>
                  </a:cubicBezTo>
                  <a:lnTo>
                    <a:pt x="375696" y="1260432"/>
                  </a:lnTo>
                  <a:cubicBezTo>
                    <a:pt x="368242" y="1254732"/>
                    <a:pt x="360930" y="1252626"/>
                    <a:pt x="354354" y="1252330"/>
                  </a:cubicBezTo>
                  <a:close/>
                  <a:moveTo>
                    <a:pt x="91262" y="129693"/>
                  </a:moveTo>
                  <a:lnTo>
                    <a:pt x="91262" y="1125642"/>
                  </a:lnTo>
                  <a:lnTo>
                    <a:pt x="645400" y="1125642"/>
                  </a:lnTo>
                  <a:lnTo>
                    <a:pt x="645400" y="129693"/>
                  </a:lnTo>
                  <a:close/>
                  <a:moveTo>
                    <a:pt x="46579" y="0"/>
                  </a:moveTo>
                  <a:lnTo>
                    <a:pt x="690084" y="0"/>
                  </a:lnTo>
                  <a:cubicBezTo>
                    <a:pt x="715809" y="0"/>
                    <a:pt x="736663" y="20854"/>
                    <a:pt x="736663" y="46579"/>
                  </a:cubicBezTo>
                  <a:lnTo>
                    <a:pt x="736663" y="1421963"/>
                  </a:lnTo>
                  <a:cubicBezTo>
                    <a:pt x="736663" y="1447688"/>
                    <a:pt x="715809" y="1468542"/>
                    <a:pt x="690084" y="1468542"/>
                  </a:cubicBezTo>
                  <a:lnTo>
                    <a:pt x="46579" y="1468542"/>
                  </a:lnTo>
                  <a:cubicBezTo>
                    <a:pt x="20854" y="1468542"/>
                    <a:pt x="0" y="1447688"/>
                    <a:pt x="0" y="1421963"/>
                  </a:cubicBezTo>
                  <a:lnTo>
                    <a:pt x="0" y="46579"/>
                  </a:lnTo>
                  <a:cubicBezTo>
                    <a:pt x="0" y="20854"/>
                    <a:pt x="20854" y="0"/>
                    <a:pt x="46579" y="0"/>
                  </a:cubicBezTo>
                  <a:close/>
                </a:path>
              </a:pathLst>
            </a:custGeom>
            <a:solidFill>
              <a:srgbClr val="AB0086"/>
            </a:solidFill>
            <a:ln w="25400" cap="flat" cmpd="sng" algn="ctr">
              <a:noFill/>
              <a:prstDash val="solid"/>
            </a:ln>
            <a:effectLst/>
          </p:spPr>
          <p:txBody>
            <a:bodyPr rtlCol="0" anchor="ctr"/>
            <a:lstStyle/>
            <a:p>
              <a:pPr marL="0" marR="0" lvl="0" indent="0" algn="ctr" defTabSz="932316"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FFFFFF"/>
                </a:solidFill>
                <a:effectLst/>
                <a:uLnTx/>
                <a:uFillTx/>
                <a:latin typeface="Segoe UI"/>
                <a:ea typeface="+mn-ea"/>
                <a:cs typeface="+mn-cs"/>
              </a:endParaRPr>
            </a:p>
          </p:txBody>
        </p:sp>
        <p:grpSp>
          <p:nvGrpSpPr>
            <p:cNvPr id="113" name="Group 112"/>
            <p:cNvGrpSpPr/>
            <p:nvPr/>
          </p:nvGrpSpPr>
          <p:grpSpPr>
            <a:xfrm>
              <a:off x="9439100" y="3591961"/>
              <a:ext cx="238070" cy="352378"/>
              <a:chOff x="10682344" y="3596230"/>
              <a:chExt cx="217772" cy="322335"/>
            </a:xfrm>
          </p:grpSpPr>
          <p:grpSp>
            <p:nvGrpSpPr>
              <p:cNvPr id="114" name="Group 113"/>
              <p:cNvGrpSpPr/>
              <p:nvPr/>
            </p:nvGrpSpPr>
            <p:grpSpPr>
              <a:xfrm>
                <a:off x="10682344" y="3596230"/>
                <a:ext cx="102521" cy="210485"/>
                <a:chOff x="10341626" y="2189201"/>
                <a:chExt cx="193482" cy="397237"/>
              </a:xfrm>
            </p:grpSpPr>
            <p:sp>
              <p:nvSpPr>
                <p:cNvPr id="120" name="Rectangle 119"/>
                <p:cNvSpPr/>
                <p:nvPr/>
              </p:nvSpPr>
              <p:spPr bwMode="auto">
                <a:xfrm>
                  <a:off x="10341626" y="2189201"/>
                  <a:ext cx="193482" cy="188074"/>
                </a:xfrm>
                <a:prstGeom prst="rect">
                  <a:avLst/>
                </a:prstGeom>
                <a:solidFill>
                  <a:srgbClr val="AB0086"/>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1" name="Rectangle 120"/>
                <p:cNvSpPr/>
                <p:nvPr/>
              </p:nvSpPr>
              <p:spPr bwMode="auto">
                <a:xfrm>
                  <a:off x="10341626" y="2398364"/>
                  <a:ext cx="193482" cy="188074"/>
                </a:xfrm>
                <a:prstGeom prst="rect">
                  <a:avLst/>
                </a:prstGeom>
                <a:solidFill>
                  <a:srgbClr val="4B0045"/>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115" name="Group 114"/>
              <p:cNvGrpSpPr/>
              <p:nvPr/>
            </p:nvGrpSpPr>
            <p:grpSpPr>
              <a:xfrm>
                <a:off x="10797595" y="3596230"/>
                <a:ext cx="102521" cy="210485"/>
                <a:chOff x="10341626" y="2189201"/>
                <a:chExt cx="193482" cy="397237"/>
              </a:xfrm>
            </p:grpSpPr>
            <p:sp>
              <p:nvSpPr>
                <p:cNvPr id="118" name="Rectangle 117"/>
                <p:cNvSpPr/>
                <p:nvPr/>
              </p:nvSpPr>
              <p:spPr bwMode="auto">
                <a:xfrm>
                  <a:off x="10341626" y="2189201"/>
                  <a:ext cx="193482" cy="188074"/>
                </a:xfrm>
                <a:prstGeom prst="rect">
                  <a:avLst/>
                </a:prstGeom>
                <a:solidFill>
                  <a:srgbClr val="AB0086"/>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9" name="Rectangle 118"/>
                <p:cNvSpPr/>
                <p:nvPr/>
              </p:nvSpPr>
              <p:spPr bwMode="auto">
                <a:xfrm>
                  <a:off x="10341626" y="2398364"/>
                  <a:ext cx="193482" cy="188074"/>
                </a:xfrm>
                <a:prstGeom prst="rect">
                  <a:avLst/>
                </a:prstGeom>
                <a:solidFill>
                  <a:srgbClr val="4B0045"/>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16" name="Rectangle 115"/>
              <p:cNvSpPr/>
              <p:nvPr/>
            </p:nvSpPr>
            <p:spPr bwMode="auto">
              <a:xfrm>
                <a:off x="10682344" y="3818910"/>
                <a:ext cx="102521" cy="99655"/>
              </a:xfrm>
              <a:prstGeom prst="rect">
                <a:avLst/>
              </a:prstGeom>
              <a:solidFill>
                <a:srgbClr val="AB0086"/>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7" name="Rectangle 116"/>
              <p:cNvSpPr/>
              <p:nvPr/>
            </p:nvSpPr>
            <p:spPr bwMode="auto">
              <a:xfrm>
                <a:off x="10797595" y="3818910"/>
                <a:ext cx="102521" cy="99655"/>
              </a:xfrm>
              <a:prstGeom prst="rect">
                <a:avLst/>
              </a:prstGeom>
              <a:solidFill>
                <a:srgbClr val="AB0086"/>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nvGrpSpPr>
          <p:cNvPr id="122" name="Group 121"/>
          <p:cNvGrpSpPr/>
          <p:nvPr/>
        </p:nvGrpSpPr>
        <p:grpSpPr>
          <a:xfrm>
            <a:off x="4848088" y="3180695"/>
            <a:ext cx="1152711" cy="618236"/>
            <a:chOff x="6113130" y="5551140"/>
            <a:chExt cx="1264851" cy="678381"/>
          </a:xfrm>
        </p:grpSpPr>
        <p:sp>
          <p:nvSpPr>
            <p:cNvPr id="123" name="Freeform 122"/>
            <p:cNvSpPr/>
            <p:nvPr/>
          </p:nvSpPr>
          <p:spPr bwMode="auto">
            <a:xfrm>
              <a:off x="6460806" y="5725197"/>
              <a:ext cx="118153" cy="58573"/>
            </a:xfrm>
            <a:custGeom>
              <a:avLst/>
              <a:gdLst>
                <a:gd name="connsiteX0" fmla="*/ 93857 w 187714"/>
                <a:gd name="connsiteY0" fmla="*/ 0 h 93056"/>
                <a:gd name="connsiteX1" fmla="*/ 180525 w 187714"/>
                <a:gd name="connsiteY1" fmla="*/ 57448 h 93056"/>
                <a:gd name="connsiteX2" fmla="*/ 187714 w 187714"/>
                <a:gd name="connsiteY2" fmla="*/ 93056 h 93056"/>
                <a:gd name="connsiteX3" fmla="*/ 0 w 187714"/>
                <a:gd name="connsiteY3" fmla="*/ 93056 h 93056"/>
                <a:gd name="connsiteX4" fmla="*/ 7189 w 187714"/>
                <a:gd name="connsiteY4" fmla="*/ 57448 h 93056"/>
                <a:gd name="connsiteX5" fmla="*/ 93857 w 187714"/>
                <a:gd name="connsiteY5" fmla="*/ 0 h 93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7714" h="93056">
                  <a:moveTo>
                    <a:pt x="93857" y="0"/>
                  </a:moveTo>
                  <a:cubicBezTo>
                    <a:pt x="132818" y="0"/>
                    <a:pt x="166246" y="23688"/>
                    <a:pt x="180525" y="57448"/>
                  </a:cubicBezTo>
                  <a:lnTo>
                    <a:pt x="187714" y="93056"/>
                  </a:lnTo>
                  <a:lnTo>
                    <a:pt x="0" y="93056"/>
                  </a:lnTo>
                  <a:lnTo>
                    <a:pt x="7189" y="57448"/>
                  </a:lnTo>
                  <a:cubicBezTo>
                    <a:pt x="21468" y="23688"/>
                    <a:pt x="54896" y="0"/>
                    <a:pt x="93857" y="0"/>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836" dirty="0">
                <a:solidFill>
                  <a:srgbClr val="FFFFFF"/>
                </a:solidFill>
              </a:endParaRPr>
            </a:p>
          </p:txBody>
        </p:sp>
        <p:sp>
          <p:nvSpPr>
            <p:cNvPr id="124" name="Freeform 123"/>
            <p:cNvSpPr/>
            <p:nvPr/>
          </p:nvSpPr>
          <p:spPr bwMode="auto">
            <a:xfrm>
              <a:off x="6600387" y="5725197"/>
              <a:ext cx="118153" cy="58573"/>
            </a:xfrm>
            <a:custGeom>
              <a:avLst/>
              <a:gdLst>
                <a:gd name="connsiteX0" fmla="*/ 93857 w 187714"/>
                <a:gd name="connsiteY0" fmla="*/ 0 h 93056"/>
                <a:gd name="connsiteX1" fmla="*/ 180525 w 187714"/>
                <a:gd name="connsiteY1" fmla="*/ 57448 h 93056"/>
                <a:gd name="connsiteX2" fmla="*/ 187714 w 187714"/>
                <a:gd name="connsiteY2" fmla="*/ 93056 h 93056"/>
                <a:gd name="connsiteX3" fmla="*/ 0 w 187714"/>
                <a:gd name="connsiteY3" fmla="*/ 93056 h 93056"/>
                <a:gd name="connsiteX4" fmla="*/ 7189 w 187714"/>
                <a:gd name="connsiteY4" fmla="*/ 57448 h 93056"/>
                <a:gd name="connsiteX5" fmla="*/ 93857 w 187714"/>
                <a:gd name="connsiteY5" fmla="*/ 0 h 93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7714" h="93056">
                  <a:moveTo>
                    <a:pt x="93857" y="0"/>
                  </a:moveTo>
                  <a:cubicBezTo>
                    <a:pt x="132818" y="0"/>
                    <a:pt x="166246" y="23688"/>
                    <a:pt x="180525" y="57448"/>
                  </a:cubicBezTo>
                  <a:lnTo>
                    <a:pt x="187714" y="93056"/>
                  </a:lnTo>
                  <a:lnTo>
                    <a:pt x="0" y="93056"/>
                  </a:lnTo>
                  <a:lnTo>
                    <a:pt x="7189" y="57448"/>
                  </a:lnTo>
                  <a:cubicBezTo>
                    <a:pt x="21468" y="23688"/>
                    <a:pt x="54896" y="0"/>
                    <a:pt x="93857" y="0"/>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836" dirty="0">
                <a:solidFill>
                  <a:srgbClr val="FFFFFF"/>
                </a:solidFill>
              </a:endParaRPr>
            </a:p>
          </p:txBody>
        </p:sp>
        <p:sp>
          <p:nvSpPr>
            <p:cNvPr id="125" name="Freeform 187"/>
            <p:cNvSpPr>
              <a:spLocks/>
            </p:cNvSpPr>
            <p:nvPr/>
          </p:nvSpPr>
          <p:spPr bwMode="auto">
            <a:xfrm>
              <a:off x="6113130" y="5551140"/>
              <a:ext cx="1264851" cy="678381"/>
            </a:xfrm>
            <a:custGeom>
              <a:avLst/>
              <a:gdLst>
                <a:gd name="T0" fmla="*/ 161 w 162"/>
                <a:gd name="T1" fmla="*/ 85 h 87"/>
                <a:gd name="T2" fmla="*/ 160 w 162"/>
                <a:gd name="T3" fmla="*/ 87 h 87"/>
                <a:gd name="T4" fmla="*/ 24 w 162"/>
                <a:gd name="T5" fmla="*/ 87 h 87"/>
                <a:gd name="T6" fmla="*/ 21 w 162"/>
                <a:gd name="T7" fmla="*/ 85 h 87"/>
                <a:gd name="T8" fmla="*/ 0 w 162"/>
                <a:gd name="T9" fmla="*/ 2 h 87"/>
                <a:gd name="T10" fmla="*/ 2 w 162"/>
                <a:gd name="T11" fmla="*/ 0 h 87"/>
                <a:gd name="T12" fmla="*/ 138 w 162"/>
                <a:gd name="T13" fmla="*/ 0 h 87"/>
                <a:gd name="T14" fmla="*/ 140 w 162"/>
                <a:gd name="T15" fmla="*/ 2 h 87"/>
                <a:gd name="T16" fmla="*/ 161 w 162"/>
                <a:gd name="T17" fmla="*/ 8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87">
                  <a:moveTo>
                    <a:pt x="161" y="85"/>
                  </a:moveTo>
                  <a:cubicBezTo>
                    <a:pt x="162" y="86"/>
                    <a:pt x="161" y="87"/>
                    <a:pt x="160" y="87"/>
                  </a:cubicBezTo>
                  <a:cubicBezTo>
                    <a:pt x="24" y="87"/>
                    <a:pt x="24" y="87"/>
                    <a:pt x="24" y="87"/>
                  </a:cubicBezTo>
                  <a:cubicBezTo>
                    <a:pt x="22" y="87"/>
                    <a:pt x="21" y="86"/>
                    <a:pt x="21" y="85"/>
                  </a:cubicBezTo>
                  <a:cubicBezTo>
                    <a:pt x="0" y="2"/>
                    <a:pt x="0" y="2"/>
                    <a:pt x="0" y="2"/>
                  </a:cubicBezTo>
                  <a:cubicBezTo>
                    <a:pt x="0" y="1"/>
                    <a:pt x="1" y="0"/>
                    <a:pt x="2" y="0"/>
                  </a:cubicBezTo>
                  <a:cubicBezTo>
                    <a:pt x="138" y="0"/>
                    <a:pt x="138" y="0"/>
                    <a:pt x="138" y="0"/>
                  </a:cubicBezTo>
                  <a:cubicBezTo>
                    <a:pt x="139" y="0"/>
                    <a:pt x="140" y="1"/>
                    <a:pt x="140" y="2"/>
                  </a:cubicBezTo>
                  <a:lnTo>
                    <a:pt x="161" y="85"/>
                  </a:lnTo>
                  <a:close/>
                </a:path>
              </a:pathLst>
            </a:custGeom>
            <a:solidFill>
              <a:schemeClr val="accent3"/>
            </a:solidFill>
            <a:ln w="9525">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3F3F3F"/>
                </a:solidFill>
                <a:effectLst/>
                <a:uLnTx/>
                <a:uFillTx/>
              </a:endParaRPr>
            </a:p>
          </p:txBody>
        </p:sp>
        <p:sp>
          <p:nvSpPr>
            <p:cNvPr id="126" name="Freeform 188"/>
            <p:cNvSpPr>
              <a:spLocks/>
            </p:cNvSpPr>
            <p:nvPr/>
          </p:nvSpPr>
          <p:spPr bwMode="auto">
            <a:xfrm>
              <a:off x="6213794" y="5625536"/>
              <a:ext cx="1054772" cy="516444"/>
            </a:xfrm>
            <a:custGeom>
              <a:avLst/>
              <a:gdLst>
                <a:gd name="T0" fmla="*/ 135 w 135"/>
                <a:gd name="T1" fmla="*/ 64 h 66"/>
                <a:gd name="T2" fmla="*/ 133 w 135"/>
                <a:gd name="T3" fmla="*/ 66 h 66"/>
                <a:gd name="T4" fmla="*/ 18 w 135"/>
                <a:gd name="T5" fmla="*/ 66 h 66"/>
                <a:gd name="T6" fmla="*/ 16 w 135"/>
                <a:gd name="T7" fmla="*/ 64 h 66"/>
                <a:gd name="T8" fmla="*/ 1 w 135"/>
                <a:gd name="T9" fmla="*/ 2 h 66"/>
                <a:gd name="T10" fmla="*/ 2 w 135"/>
                <a:gd name="T11" fmla="*/ 0 h 66"/>
                <a:gd name="T12" fmla="*/ 117 w 135"/>
                <a:gd name="T13" fmla="*/ 0 h 66"/>
                <a:gd name="T14" fmla="*/ 119 w 135"/>
                <a:gd name="T15" fmla="*/ 2 h 66"/>
                <a:gd name="T16" fmla="*/ 135 w 135"/>
                <a:gd name="T17" fmla="*/ 6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5" h="66">
                  <a:moveTo>
                    <a:pt x="135" y="64"/>
                  </a:moveTo>
                  <a:cubicBezTo>
                    <a:pt x="135" y="65"/>
                    <a:pt x="134" y="66"/>
                    <a:pt x="133" y="66"/>
                  </a:cubicBezTo>
                  <a:cubicBezTo>
                    <a:pt x="18" y="66"/>
                    <a:pt x="18" y="66"/>
                    <a:pt x="18" y="66"/>
                  </a:cubicBezTo>
                  <a:cubicBezTo>
                    <a:pt x="17" y="66"/>
                    <a:pt x="16" y="65"/>
                    <a:pt x="16" y="64"/>
                  </a:cubicBezTo>
                  <a:cubicBezTo>
                    <a:pt x="1" y="2"/>
                    <a:pt x="1" y="2"/>
                    <a:pt x="1" y="2"/>
                  </a:cubicBezTo>
                  <a:cubicBezTo>
                    <a:pt x="0" y="1"/>
                    <a:pt x="1" y="0"/>
                    <a:pt x="2" y="0"/>
                  </a:cubicBezTo>
                  <a:cubicBezTo>
                    <a:pt x="117" y="0"/>
                    <a:pt x="117" y="0"/>
                    <a:pt x="117" y="0"/>
                  </a:cubicBezTo>
                  <a:cubicBezTo>
                    <a:pt x="118" y="0"/>
                    <a:pt x="119" y="1"/>
                    <a:pt x="119" y="2"/>
                  </a:cubicBezTo>
                  <a:lnTo>
                    <a:pt x="135" y="64"/>
                  </a:lnTo>
                  <a:close/>
                </a:path>
              </a:pathLst>
            </a:custGeom>
            <a:solidFill>
              <a:schemeClr val="bg1"/>
            </a:solidFill>
            <a:ln w="9525">
              <a:solidFill>
                <a:srgbClr val="3F3F3F">
                  <a:lumMod val="50000"/>
                </a:srgbClr>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3F3F3F"/>
                </a:solidFill>
                <a:effectLst/>
                <a:uLnTx/>
                <a:uFillTx/>
              </a:endParaRPr>
            </a:p>
          </p:txBody>
        </p:sp>
        <p:sp>
          <p:nvSpPr>
            <p:cNvPr id="127" name="Freeform 189"/>
            <p:cNvSpPr>
              <a:spLocks/>
            </p:cNvSpPr>
            <p:nvPr/>
          </p:nvSpPr>
          <p:spPr bwMode="auto">
            <a:xfrm flipV="1">
              <a:off x="6318834" y="5743712"/>
              <a:ext cx="240717" cy="100664"/>
            </a:xfrm>
            <a:prstGeom prst="parallelogram">
              <a:avLst/>
            </a:prstGeom>
            <a:solidFill>
              <a:srgbClr val="00B0F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3F3F3F"/>
                </a:solidFill>
                <a:effectLst/>
                <a:uLnTx/>
                <a:uFillTx/>
              </a:endParaRPr>
            </a:p>
          </p:txBody>
        </p:sp>
        <p:sp>
          <p:nvSpPr>
            <p:cNvPr id="128" name="Freeform 190"/>
            <p:cNvSpPr>
              <a:spLocks/>
            </p:cNvSpPr>
            <p:nvPr/>
          </p:nvSpPr>
          <p:spPr bwMode="auto">
            <a:xfrm flipV="1">
              <a:off x="6542041" y="5743712"/>
              <a:ext cx="240717" cy="100664"/>
            </a:xfrm>
            <a:prstGeom prst="parallelogram">
              <a:avLst/>
            </a:prstGeom>
            <a:solidFill>
              <a:srgbClr val="FFC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3F3F3F"/>
                </a:solidFill>
                <a:effectLst/>
                <a:uLnTx/>
                <a:uFillTx/>
              </a:endParaRPr>
            </a:p>
          </p:txBody>
        </p:sp>
        <p:sp>
          <p:nvSpPr>
            <p:cNvPr id="129" name="Freeform 191"/>
            <p:cNvSpPr>
              <a:spLocks/>
            </p:cNvSpPr>
            <p:nvPr/>
          </p:nvSpPr>
          <p:spPr bwMode="auto">
            <a:xfrm flipV="1">
              <a:off x="6764046" y="5743712"/>
              <a:ext cx="128126" cy="100664"/>
            </a:xfrm>
            <a:prstGeom prst="parallelogram">
              <a:avLst/>
            </a:prstGeom>
            <a:solidFill>
              <a:srgbClr val="00B0F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3F3F3F"/>
                </a:solidFill>
                <a:effectLst/>
                <a:uLnTx/>
                <a:uFillTx/>
              </a:endParaRPr>
            </a:p>
          </p:txBody>
        </p:sp>
        <p:sp>
          <p:nvSpPr>
            <p:cNvPr id="130" name="Freeform 192"/>
            <p:cNvSpPr>
              <a:spLocks/>
            </p:cNvSpPr>
            <p:nvPr/>
          </p:nvSpPr>
          <p:spPr bwMode="auto">
            <a:xfrm flipV="1">
              <a:off x="6872634" y="5743712"/>
              <a:ext cx="128956" cy="100664"/>
            </a:xfrm>
            <a:prstGeom prst="parallelogram">
              <a:avLst/>
            </a:prstGeom>
            <a:solidFill>
              <a:srgbClr val="00B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3F3F3F"/>
                </a:solidFill>
                <a:effectLst/>
                <a:uLnTx/>
                <a:uFillTx/>
              </a:endParaRPr>
            </a:p>
          </p:txBody>
        </p:sp>
        <p:sp>
          <p:nvSpPr>
            <p:cNvPr id="131" name="Freeform 193"/>
            <p:cNvSpPr>
              <a:spLocks/>
            </p:cNvSpPr>
            <p:nvPr/>
          </p:nvSpPr>
          <p:spPr bwMode="auto">
            <a:xfrm flipV="1">
              <a:off x="6791511" y="5853127"/>
              <a:ext cx="126924" cy="100664"/>
            </a:xfrm>
            <a:prstGeom prst="parallelogram">
              <a:avLst/>
            </a:prstGeom>
            <a:solidFill>
              <a:srgbClr val="ADD40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3F3F3F"/>
                </a:solidFill>
                <a:effectLst/>
                <a:uLnTx/>
                <a:uFillTx/>
              </a:endParaRPr>
            </a:p>
          </p:txBody>
        </p:sp>
        <p:sp>
          <p:nvSpPr>
            <p:cNvPr id="132" name="Freeform 197"/>
            <p:cNvSpPr>
              <a:spLocks/>
            </p:cNvSpPr>
            <p:nvPr/>
          </p:nvSpPr>
          <p:spPr bwMode="auto">
            <a:xfrm flipV="1">
              <a:off x="6569947" y="5853127"/>
              <a:ext cx="239857" cy="102145"/>
            </a:xfrm>
            <a:prstGeom prst="parallelogram">
              <a:avLst/>
            </a:prstGeom>
            <a:solidFill>
              <a:srgbClr val="F9F7F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3F3F3F"/>
                </a:solidFill>
                <a:effectLst/>
                <a:uLnTx/>
                <a:uFillTx/>
              </a:endParaRPr>
            </a:p>
          </p:txBody>
        </p:sp>
        <p:sp>
          <p:nvSpPr>
            <p:cNvPr id="133" name="Freeform 198"/>
            <p:cNvSpPr>
              <a:spLocks/>
            </p:cNvSpPr>
            <p:nvPr/>
          </p:nvSpPr>
          <p:spPr bwMode="auto">
            <a:xfrm flipV="1">
              <a:off x="6597298" y="5962544"/>
              <a:ext cx="240717" cy="109417"/>
            </a:xfrm>
            <a:prstGeom prst="parallelogram">
              <a:avLst/>
            </a:prstGeom>
            <a:solidFill>
              <a:srgbClr val="FFC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3F3F3F"/>
                </a:solidFill>
                <a:effectLst/>
                <a:uLnTx/>
                <a:uFillTx/>
              </a:endParaRPr>
            </a:p>
          </p:txBody>
        </p:sp>
        <p:sp>
          <p:nvSpPr>
            <p:cNvPr id="134" name="Freeform 199"/>
            <p:cNvSpPr>
              <a:spLocks/>
            </p:cNvSpPr>
            <p:nvPr/>
          </p:nvSpPr>
          <p:spPr bwMode="auto">
            <a:xfrm flipV="1">
              <a:off x="6837739" y="6032570"/>
              <a:ext cx="221018" cy="39391"/>
            </a:xfrm>
            <a:prstGeom prst="parallelogram">
              <a:avLst/>
            </a:prstGeom>
            <a:solidFill>
              <a:srgbClr val="FD742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3F3F3F"/>
                </a:solidFill>
                <a:effectLst/>
                <a:uLnTx/>
                <a:uFillTx/>
              </a:endParaRPr>
            </a:p>
          </p:txBody>
        </p:sp>
        <p:sp>
          <p:nvSpPr>
            <p:cNvPr id="135" name="Freeform 200"/>
            <p:cNvSpPr>
              <a:spLocks/>
            </p:cNvSpPr>
            <p:nvPr/>
          </p:nvSpPr>
          <p:spPr bwMode="auto">
            <a:xfrm flipV="1">
              <a:off x="6820020" y="5962544"/>
              <a:ext cx="228845" cy="70026"/>
            </a:xfrm>
            <a:prstGeom prst="parallelogram">
              <a:avLst/>
            </a:prstGeom>
            <a:solidFill>
              <a:srgbClr val="F9F7F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3F3F3F"/>
                </a:solidFill>
                <a:effectLst/>
                <a:uLnTx/>
                <a:uFillTx/>
              </a:endParaRPr>
            </a:p>
          </p:txBody>
        </p:sp>
        <p:sp>
          <p:nvSpPr>
            <p:cNvPr id="136" name="Freeform 201"/>
            <p:cNvSpPr>
              <a:spLocks/>
            </p:cNvSpPr>
            <p:nvPr/>
          </p:nvSpPr>
          <p:spPr bwMode="auto">
            <a:xfrm flipV="1">
              <a:off x="6900926" y="5853127"/>
              <a:ext cx="126924" cy="100664"/>
            </a:xfrm>
            <a:prstGeom prst="parallelogram">
              <a:avLst/>
            </a:prstGeom>
            <a:solidFill>
              <a:srgbClr val="00B0F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3F3F3F"/>
                </a:solidFill>
                <a:effectLst/>
                <a:uLnTx/>
                <a:uFillTx/>
              </a:endParaRPr>
            </a:p>
          </p:txBody>
        </p:sp>
        <p:sp>
          <p:nvSpPr>
            <p:cNvPr id="137" name="Freeform 202"/>
            <p:cNvSpPr>
              <a:spLocks/>
            </p:cNvSpPr>
            <p:nvPr/>
          </p:nvSpPr>
          <p:spPr bwMode="auto">
            <a:xfrm flipV="1">
              <a:off x="7049731" y="5853127"/>
              <a:ext cx="128090" cy="100664"/>
            </a:xfrm>
            <a:prstGeom prst="parallelogram">
              <a:avLst/>
            </a:prstGeom>
            <a:solidFill>
              <a:srgbClr val="00B05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3F3F3F"/>
                </a:solidFill>
                <a:effectLst/>
                <a:uLnTx/>
                <a:uFillTx/>
              </a:endParaRPr>
            </a:p>
          </p:txBody>
        </p:sp>
        <p:sp>
          <p:nvSpPr>
            <p:cNvPr id="138" name="Freeform 203"/>
            <p:cNvSpPr>
              <a:spLocks/>
            </p:cNvSpPr>
            <p:nvPr/>
          </p:nvSpPr>
          <p:spPr bwMode="auto">
            <a:xfrm flipV="1">
              <a:off x="7077108" y="5962544"/>
              <a:ext cx="128545" cy="100664"/>
            </a:xfrm>
            <a:prstGeom prst="parallelogram">
              <a:avLst/>
            </a:prstGeom>
            <a:solidFill>
              <a:srgbClr val="DA562C"/>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3F3F3F"/>
                </a:solidFill>
                <a:effectLst/>
                <a:uLnTx/>
                <a:uFillTx/>
              </a:endParaRPr>
            </a:p>
          </p:txBody>
        </p:sp>
        <p:sp>
          <p:nvSpPr>
            <p:cNvPr id="139" name="Freeform 205"/>
            <p:cNvSpPr>
              <a:spLocks/>
            </p:cNvSpPr>
            <p:nvPr/>
          </p:nvSpPr>
          <p:spPr bwMode="auto">
            <a:xfrm flipV="1">
              <a:off x="7184766" y="5962541"/>
              <a:ext cx="66291" cy="100667"/>
            </a:xfrm>
            <a:prstGeom prst="parallelogram">
              <a:avLst>
                <a:gd name="adj" fmla="val 38967"/>
              </a:avLst>
            </a:prstGeom>
            <a:solidFill>
              <a:srgbClr val="ADD40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3F3F3F"/>
                </a:solidFill>
                <a:effectLst/>
                <a:uLnTx/>
                <a:uFillTx/>
              </a:endParaRPr>
            </a:p>
          </p:txBody>
        </p:sp>
        <p:sp>
          <p:nvSpPr>
            <p:cNvPr id="140" name="Freeform 206"/>
            <p:cNvSpPr>
              <a:spLocks/>
            </p:cNvSpPr>
            <p:nvPr/>
          </p:nvSpPr>
          <p:spPr bwMode="auto">
            <a:xfrm flipV="1">
              <a:off x="7021853" y="5743712"/>
              <a:ext cx="174498" cy="100664"/>
            </a:xfrm>
            <a:prstGeom prst="parallelogram">
              <a:avLst/>
            </a:prstGeom>
            <a:solidFill>
              <a:srgbClr val="F69A8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3F3F3F"/>
                </a:solidFill>
                <a:effectLst/>
                <a:uLnTx/>
                <a:uFillTx/>
              </a:endParaRPr>
            </a:p>
          </p:txBody>
        </p:sp>
        <p:sp>
          <p:nvSpPr>
            <p:cNvPr id="141" name="Freeform 207"/>
            <p:cNvSpPr>
              <a:spLocks/>
            </p:cNvSpPr>
            <p:nvPr/>
          </p:nvSpPr>
          <p:spPr bwMode="auto">
            <a:xfrm flipV="1">
              <a:off x="6459236" y="5853127"/>
              <a:ext cx="128129" cy="102021"/>
            </a:xfrm>
            <a:prstGeom prst="parallelogram">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3F3F3F"/>
                </a:solidFill>
                <a:effectLst/>
                <a:uLnTx/>
                <a:uFillTx/>
              </a:endParaRPr>
            </a:p>
          </p:txBody>
        </p:sp>
        <p:sp>
          <p:nvSpPr>
            <p:cNvPr id="142" name="Freeform 208"/>
            <p:cNvSpPr>
              <a:spLocks/>
            </p:cNvSpPr>
            <p:nvPr/>
          </p:nvSpPr>
          <p:spPr bwMode="auto">
            <a:xfrm>
              <a:off x="6310080" y="5664933"/>
              <a:ext cx="13131" cy="30638"/>
            </a:xfrm>
            <a:custGeom>
              <a:avLst/>
              <a:gdLst>
                <a:gd name="T0" fmla="*/ 0 w 2"/>
                <a:gd name="T1" fmla="*/ 4 h 4"/>
                <a:gd name="T2" fmla="*/ 0 w 2"/>
                <a:gd name="T3" fmla="*/ 3 h 4"/>
                <a:gd name="T4" fmla="*/ 1 w 2"/>
                <a:gd name="T5" fmla="*/ 4 h 4"/>
                <a:gd name="T6" fmla="*/ 1 w 2"/>
                <a:gd name="T7" fmla="*/ 3 h 4"/>
                <a:gd name="T8" fmla="*/ 2 w 2"/>
                <a:gd name="T9" fmla="*/ 3 h 4"/>
                <a:gd name="T10" fmla="*/ 1 w 2"/>
                <a:gd name="T11" fmla="*/ 3 h 4"/>
                <a:gd name="T12" fmla="*/ 1 w 2"/>
                <a:gd name="T13" fmla="*/ 2 h 4"/>
                <a:gd name="T14" fmla="*/ 0 w 2"/>
                <a:gd name="T15" fmla="*/ 2 h 4"/>
                <a:gd name="T16" fmla="*/ 0 w 2"/>
                <a:gd name="T17" fmla="*/ 1 h 4"/>
                <a:gd name="T18" fmla="*/ 0 w 2"/>
                <a:gd name="T19" fmla="*/ 1 h 4"/>
                <a:gd name="T20" fmla="*/ 0 w 2"/>
                <a:gd name="T21" fmla="*/ 0 h 4"/>
                <a:gd name="T22" fmla="*/ 0 w 2"/>
                <a:gd name="T23" fmla="*/ 0 h 4"/>
                <a:gd name="T24" fmla="*/ 1 w 2"/>
                <a:gd name="T25" fmla="*/ 0 h 4"/>
                <a:gd name="T26" fmla="*/ 1 w 2"/>
                <a:gd name="T27" fmla="*/ 1 h 4"/>
                <a:gd name="T28" fmla="*/ 0 w 2"/>
                <a:gd name="T29" fmla="*/ 1 h 4"/>
                <a:gd name="T30" fmla="*/ 0 w 2"/>
                <a:gd name="T31" fmla="*/ 1 h 4"/>
                <a:gd name="T32" fmla="*/ 0 w 2"/>
                <a:gd name="T33" fmla="*/ 1 h 4"/>
                <a:gd name="T34" fmla="*/ 0 w 2"/>
                <a:gd name="T35" fmla="*/ 1 h 4"/>
                <a:gd name="T36" fmla="*/ 0 w 2"/>
                <a:gd name="T37" fmla="*/ 2 h 4"/>
                <a:gd name="T38" fmla="*/ 1 w 2"/>
                <a:gd name="T39" fmla="*/ 2 h 4"/>
                <a:gd name="T40" fmla="*/ 1 w 2"/>
                <a:gd name="T41" fmla="*/ 2 h 4"/>
                <a:gd name="T42" fmla="*/ 2 w 2"/>
                <a:gd name="T43" fmla="*/ 3 h 4"/>
                <a:gd name="T44" fmla="*/ 2 w 2"/>
                <a:gd name="T45" fmla="*/ 3 h 4"/>
                <a:gd name="T46" fmla="*/ 2 w 2"/>
                <a:gd name="T47" fmla="*/ 4 h 4"/>
                <a:gd name="T48" fmla="*/ 1 w 2"/>
                <a:gd name="T49" fmla="*/ 4 h 4"/>
                <a:gd name="T50" fmla="*/ 1 w 2"/>
                <a:gd name="T51" fmla="*/ 4 h 4"/>
                <a:gd name="T52" fmla="*/ 0 w 2"/>
                <a:gd name="T5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 h="4">
                  <a:moveTo>
                    <a:pt x="0" y="4"/>
                  </a:moveTo>
                  <a:cubicBezTo>
                    <a:pt x="0" y="3"/>
                    <a:pt x="0" y="3"/>
                    <a:pt x="0" y="3"/>
                  </a:cubicBezTo>
                  <a:cubicBezTo>
                    <a:pt x="0" y="4"/>
                    <a:pt x="1" y="4"/>
                    <a:pt x="1" y="4"/>
                  </a:cubicBezTo>
                  <a:cubicBezTo>
                    <a:pt x="1" y="4"/>
                    <a:pt x="1" y="4"/>
                    <a:pt x="1" y="3"/>
                  </a:cubicBezTo>
                  <a:cubicBezTo>
                    <a:pt x="2" y="3"/>
                    <a:pt x="2" y="3"/>
                    <a:pt x="2" y="3"/>
                  </a:cubicBezTo>
                  <a:cubicBezTo>
                    <a:pt x="2" y="3"/>
                    <a:pt x="1" y="3"/>
                    <a:pt x="1" y="3"/>
                  </a:cubicBezTo>
                  <a:cubicBezTo>
                    <a:pt x="1" y="2"/>
                    <a:pt x="1" y="2"/>
                    <a:pt x="1" y="2"/>
                  </a:cubicBezTo>
                  <a:cubicBezTo>
                    <a:pt x="0" y="2"/>
                    <a:pt x="0" y="2"/>
                    <a:pt x="0" y="2"/>
                  </a:cubicBezTo>
                  <a:cubicBezTo>
                    <a:pt x="0" y="2"/>
                    <a:pt x="0" y="1"/>
                    <a:pt x="0" y="1"/>
                  </a:cubicBezTo>
                  <a:cubicBezTo>
                    <a:pt x="0" y="1"/>
                    <a:pt x="0" y="1"/>
                    <a:pt x="0" y="1"/>
                  </a:cubicBezTo>
                  <a:cubicBezTo>
                    <a:pt x="0" y="1"/>
                    <a:pt x="0" y="0"/>
                    <a:pt x="0" y="0"/>
                  </a:cubicBezTo>
                  <a:cubicBezTo>
                    <a:pt x="0" y="0"/>
                    <a:pt x="0" y="0"/>
                    <a:pt x="0" y="0"/>
                  </a:cubicBezTo>
                  <a:cubicBezTo>
                    <a:pt x="1" y="0"/>
                    <a:pt x="1" y="0"/>
                    <a:pt x="1" y="0"/>
                  </a:cubicBezTo>
                  <a:cubicBezTo>
                    <a:pt x="1" y="1"/>
                    <a:pt x="1" y="1"/>
                    <a:pt x="1" y="1"/>
                  </a:cubicBezTo>
                  <a:cubicBezTo>
                    <a:pt x="1" y="1"/>
                    <a:pt x="1" y="1"/>
                    <a:pt x="0" y="1"/>
                  </a:cubicBezTo>
                  <a:cubicBezTo>
                    <a:pt x="0" y="1"/>
                    <a:pt x="0" y="1"/>
                    <a:pt x="0" y="1"/>
                  </a:cubicBezTo>
                  <a:cubicBezTo>
                    <a:pt x="0" y="1"/>
                    <a:pt x="0" y="1"/>
                    <a:pt x="0" y="1"/>
                  </a:cubicBezTo>
                  <a:cubicBezTo>
                    <a:pt x="0" y="1"/>
                    <a:pt x="0" y="1"/>
                    <a:pt x="0" y="1"/>
                  </a:cubicBezTo>
                  <a:cubicBezTo>
                    <a:pt x="0" y="1"/>
                    <a:pt x="0" y="2"/>
                    <a:pt x="0" y="2"/>
                  </a:cubicBezTo>
                  <a:cubicBezTo>
                    <a:pt x="0" y="2"/>
                    <a:pt x="0" y="2"/>
                    <a:pt x="1" y="2"/>
                  </a:cubicBezTo>
                  <a:cubicBezTo>
                    <a:pt x="1" y="2"/>
                    <a:pt x="1" y="2"/>
                    <a:pt x="1" y="2"/>
                  </a:cubicBezTo>
                  <a:cubicBezTo>
                    <a:pt x="1" y="2"/>
                    <a:pt x="2" y="2"/>
                    <a:pt x="2" y="3"/>
                  </a:cubicBezTo>
                  <a:cubicBezTo>
                    <a:pt x="2" y="3"/>
                    <a:pt x="2" y="3"/>
                    <a:pt x="2" y="3"/>
                  </a:cubicBezTo>
                  <a:cubicBezTo>
                    <a:pt x="2" y="3"/>
                    <a:pt x="2" y="3"/>
                    <a:pt x="2" y="4"/>
                  </a:cubicBezTo>
                  <a:cubicBezTo>
                    <a:pt x="2" y="4"/>
                    <a:pt x="1" y="4"/>
                    <a:pt x="1" y="4"/>
                  </a:cubicBezTo>
                  <a:cubicBezTo>
                    <a:pt x="1" y="4"/>
                    <a:pt x="1" y="4"/>
                    <a:pt x="1" y="4"/>
                  </a:cubicBezTo>
                  <a:cubicBezTo>
                    <a:pt x="0" y="4"/>
                    <a:pt x="0" y="4"/>
                    <a:pt x="0" y="4"/>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3F3F3F"/>
                </a:solidFill>
                <a:effectLst/>
                <a:uLnTx/>
                <a:uFillTx/>
              </a:endParaRPr>
            </a:p>
          </p:txBody>
        </p:sp>
        <p:sp>
          <p:nvSpPr>
            <p:cNvPr id="143" name="Freeform 209"/>
            <p:cNvSpPr>
              <a:spLocks/>
            </p:cNvSpPr>
            <p:nvPr/>
          </p:nvSpPr>
          <p:spPr bwMode="auto">
            <a:xfrm>
              <a:off x="6323209" y="5673686"/>
              <a:ext cx="17507" cy="21885"/>
            </a:xfrm>
            <a:custGeom>
              <a:avLst/>
              <a:gdLst>
                <a:gd name="T0" fmla="*/ 2 w 2"/>
                <a:gd name="T1" fmla="*/ 3 h 3"/>
                <a:gd name="T2" fmla="*/ 1 w 2"/>
                <a:gd name="T3" fmla="*/ 3 h 3"/>
                <a:gd name="T4" fmla="*/ 1 w 2"/>
                <a:gd name="T5" fmla="*/ 2 h 3"/>
                <a:gd name="T6" fmla="*/ 0 w 2"/>
                <a:gd name="T7" fmla="*/ 1 h 3"/>
                <a:gd name="T8" fmla="*/ 0 w 2"/>
                <a:gd name="T9" fmla="*/ 1 h 3"/>
                <a:gd name="T10" fmla="*/ 0 w 2"/>
                <a:gd name="T11" fmla="*/ 0 h 3"/>
                <a:gd name="T12" fmla="*/ 0 w 2"/>
                <a:gd name="T13" fmla="*/ 0 h 3"/>
                <a:gd name="T14" fmla="*/ 0 w 2"/>
                <a:gd name="T15" fmla="*/ 0 h 3"/>
                <a:gd name="T16" fmla="*/ 0 w 2"/>
                <a:gd name="T17" fmla="*/ 0 h 3"/>
                <a:gd name="T18" fmla="*/ 0 w 2"/>
                <a:gd name="T19" fmla="*/ 0 h 3"/>
                <a:gd name="T20" fmla="*/ 1 w 2"/>
                <a:gd name="T21" fmla="*/ 0 h 3"/>
                <a:gd name="T22" fmla="*/ 1 w 2"/>
                <a:gd name="T23" fmla="*/ 1 h 3"/>
                <a:gd name="T24" fmla="*/ 0 w 2"/>
                <a:gd name="T25" fmla="*/ 1 h 3"/>
                <a:gd name="T26" fmla="*/ 1 w 2"/>
                <a:gd name="T27" fmla="*/ 2 h 3"/>
                <a:gd name="T28" fmla="*/ 1 w 2"/>
                <a:gd name="T29" fmla="*/ 2 h 3"/>
                <a:gd name="T30" fmla="*/ 1 w 2"/>
                <a:gd name="T31" fmla="*/ 3 h 3"/>
                <a:gd name="T32" fmla="*/ 2 w 2"/>
                <a:gd name="T33" fmla="*/ 2 h 3"/>
                <a:gd name="T34" fmla="*/ 2 w 2"/>
                <a:gd name="T35"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 h="3">
                  <a:moveTo>
                    <a:pt x="2" y="3"/>
                  </a:moveTo>
                  <a:cubicBezTo>
                    <a:pt x="1" y="3"/>
                    <a:pt x="1" y="3"/>
                    <a:pt x="1" y="3"/>
                  </a:cubicBezTo>
                  <a:cubicBezTo>
                    <a:pt x="1" y="3"/>
                    <a:pt x="1" y="3"/>
                    <a:pt x="1" y="2"/>
                  </a:cubicBezTo>
                  <a:cubicBezTo>
                    <a:pt x="0" y="1"/>
                    <a:pt x="0" y="1"/>
                    <a:pt x="0" y="1"/>
                  </a:cubicBezTo>
                  <a:cubicBezTo>
                    <a:pt x="0" y="1"/>
                    <a:pt x="0" y="1"/>
                    <a:pt x="0" y="1"/>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1" y="0"/>
                    <a:pt x="1" y="0"/>
                    <a:pt x="1" y="0"/>
                  </a:cubicBezTo>
                  <a:cubicBezTo>
                    <a:pt x="1" y="1"/>
                    <a:pt x="1" y="1"/>
                    <a:pt x="1" y="1"/>
                  </a:cubicBezTo>
                  <a:cubicBezTo>
                    <a:pt x="0" y="1"/>
                    <a:pt x="0" y="1"/>
                    <a:pt x="0" y="1"/>
                  </a:cubicBezTo>
                  <a:cubicBezTo>
                    <a:pt x="1" y="2"/>
                    <a:pt x="1" y="2"/>
                    <a:pt x="1" y="2"/>
                  </a:cubicBezTo>
                  <a:cubicBezTo>
                    <a:pt x="1" y="2"/>
                    <a:pt x="1" y="2"/>
                    <a:pt x="1" y="2"/>
                  </a:cubicBezTo>
                  <a:cubicBezTo>
                    <a:pt x="1" y="3"/>
                    <a:pt x="1" y="3"/>
                    <a:pt x="1" y="3"/>
                  </a:cubicBezTo>
                  <a:cubicBezTo>
                    <a:pt x="1" y="3"/>
                    <a:pt x="1" y="3"/>
                    <a:pt x="2" y="2"/>
                  </a:cubicBezTo>
                  <a:lnTo>
                    <a:pt x="2" y="3"/>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3F3F3F"/>
                </a:solidFill>
                <a:effectLst/>
                <a:uLnTx/>
                <a:uFillTx/>
              </a:endParaRPr>
            </a:p>
          </p:txBody>
        </p:sp>
        <p:sp>
          <p:nvSpPr>
            <p:cNvPr id="144" name="Freeform 210"/>
            <p:cNvSpPr>
              <a:spLocks noEditPoints="1"/>
            </p:cNvSpPr>
            <p:nvPr/>
          </p:nvSpPr>
          <p:spPr bwMode="auto">
            <a:xfrm>
              <a:off x="6340715" y="5673686"/>
              <a:ext cx="13131" cy="21885"/>
            </a:xfrm>
            <a:custGeom>
              <a:avLst/>
              <a:gdLst>
                <a:gd name="T0" fmla="*/ 2 w 2"/>
                <a:gd name="T1" fmla="*/ 3 h 3"/>
                <a:gd name="T2" fmla="*/ 2 w 2"/>
                <a:gd name="T3" fmla="*/ 2 h 3"/>
                <a:gd name="T4" fmla="*/ 2 w 2"/>
                <a:gd name="T5" fmla="*/ 2 h 3"/>
                <a:gd name="T6" fmla="*/ 1 w 2"/>
                <a:gd name="T7" fmla="*/ 3 h 3"/>
                <a:gd name="T8" fmla="*/ 1 w 2"/>
                <a:gd name="T9" fmla="*/ 3 h 3"/>
                <a:gd name="T10" fmla="*/ 0 w 2"/>
                <a:gd name="T11" fmla="*/ 3 h 3"/>
                <a:gd name="T12" fmla="*/ 0 w 2"/>
                <a:gd name="T13" fmla="*/ 2 h 3"/>
                <a:gd name="T14" fmla="*/ 1 w 2"/>
                <a:gd name="T15" fmla="*/ 1 h 3"/>
                <a:gd name="T16" fmla="*/ 1 w 2"/>
                <a:gd name="T17" fmla="*/ 1 h 3"/>
                <a:gd name="T18" fmla="*/ 0 w 2"/>
                <a:gd name="T19" fmla="*/ 0 h 3"/>
                <a:gd name="T20" fmla="*/ 0 w 2"/>
                <a:gd name="T21" fmla="*/ 1 h 3"/>
                <a:gd name="T22" fmla="*/ 0 w 2"/>
                <a:gd name="T23" fmla="*/ 1 h 3"/>
                <a:gd name="T24" fmla="*/ 0 w 2"/>
                <a:gd name="T25" fmla="*/ 0 h 3"/>
                <a:gd name="T26" fmla="*/ 0 w 2"/>
                <a:gd name="T27" fmla="*/ 0 h 3"/>
                <a:gd name="T28" fmla="*/ 1 w 2"/>
                <a:gd name="T29" fmla="*/ 0 h 3"/>
                <a:gd name="T30" fmla="*/ 1 w 2"/>
                <a:gd name="T31" fmla="*/ 1 h 3"/>
                <a:gd name="T32" fmla="*/ 2 w 2"/>
                <a:gd name="T33" fmla="*/ 3 h 3"/>
                <a:gd name="T34" fmla="*/ 0 w 2"/>
                <a:gd name="T35" fmla="*/ 2 h 3"/>
                <a:gd name="T36" fmla="*/ 0 w 2"/>
                <a:gd name="T37" fmla="*/ 2 h 3"/>
                <a:gd name="T38" fmla="*/ 1 w 2"/>
                <a:gd name="T39" fmla="*/ 3 h 3"/>
                <a:gd name="T40" fmla="*/ 1 w 2"/>
                <a:gd name="T41" fmla="*/ 2 h 3"/>
                <a:gd name="T42" fmla="*/ 1 w 2"/>
                <a:gd name="T43" fmla="*/ 2 h 3"/>
                <a:gd name="T44" fmla="*/ 1 w 2"/>
                <a:gd name="T45" fmla="*/ 1 h 3"/>
                <a:gd name="T46" fmla="*/ 1 w 2"/>
                <a:gd name="T47" fmla="*/ 2 h 3"/>
                <a:gd name="T48" fmla="*/ 0 w 2"/>
                <a:gd name="T49" fmla="*/ 2 h 3"/>
                <a:gd name="T50" fmla="*/ 0 w 2"/>
                <a:gd name="T51"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 h="3">
                  <a:moveTo>
                    <a:pt x="2" y="3"/>
                  </a:moveTo>
                  <a:cubicBezTo>
                    <a:pt x="2" y="2"/>
                    <a:pt x="2" y="2"/>
                    <a:pt x="2" y="2"/>
                  </a:cubicBezTo>
                  <a:cubicBezTo>
                    <a:pt x="2" y="2"/>
                    <a:pt x="2" y="2"/>
                    <a:pt x="2" y="2"/>
                  </a:cubicBezTo>
                  <a:cubicBezTo>
                    <a:pt x="1" y="2"/>
                    <a:pt x="1" y="3"/>
                    <a:pt x="1" y="3"/>
                  </a:cubicBezTo>
                  <a:cubicBezTo>
                    <a:pt x="1" y="3"/>
                    <a:pt x="1" y="3"/>
                    <a:pt x="1" y="3"/>
                  </a:cubicBezTo>
                  <a:cubicBezTo>
                    <a:pt x="1" y="3"/>
                    <a:pt x="0" y="3"/>
                    <a:pt x="0" y="3"/>
                  </a:cubicBezTo>
                  <a:cubicBezTo>
                    <a:pt x="0" y="2"/>
                    <a:pt x="0" y="2"/>
                    <a:pt x="0" y="2"/>
                  </a:cubicBezTo>
                  <a:cubicBezTo>
                    <a:pt x="0" y="2"/>
                    <a:pt x="0" y="1"/>
                    <a:pt x="1" y="1"/>
                  </a:cubicBezTo>
                  <a:cubicBezTo>
                    <a:pt x="1" y="1"/>
                    <a:pt x="1" y="1"/>
                    <a:pt x="1" y="1"/>
                  </a:cubicBezTo>
                  <a:cubicBezTo>
                    <a:pt x="1" y="1"/>
                    <a:pt x="1" y="0"/>
                    <a:pt x="0" y="0"/>
                  </a:cubicBezTo>
                  <a:cubicBezTo>
                    <a:pt x="0" y="0"/>
                    <a:pt x="0" y="1"/>
                    <a:pt x="0" y="1"/>
                  </a:cubicBezTo>
                  <a:cubicBezTo>
                    <a:pt x="0" y="1"/>
                    <a:pt x="0" y="1"/>
                    <a:pt x="0" y="1"/>
                  </a:cubicBezTo>
                  <a:cubicBezTo>
                    <a:pt x="0" y="0"/>
                    <a:pt x="0" y="0"/>
                    <a:pt x="0" y="0"/>
                  </a:cubicBezTo>
                  <a:cubicBezTo>
                    <a:pt x="0" y="0"/>
                    <a:pt x="0" y="0"/>
                    <a:pt x="0" y="0"/>
                  </a:cubicBezTo>
                  <a:cubicBezTo>
                    <a:pt x="1" y="0"/>
                    <a:pt x="1" y="0"/>
                    <a:pt x="1" y="0"/>
                  </a:cubicBezTo>
                  <a:cubicBezTo>
                    <a:pt x="1" y="1"/>
                    <a:pt x="1" y="1"/>
                    <a:pt x="1" y="1"/>
                  </a:cubicBezTo>
                  <a:cubicBezTo>
                    <a:pt x="2" y="3"/>
                    <a:pt x="2" y="3"/>
                    <a:pt x="2" y="3"/>
                  </a:cubicBezTo>
                  <a:close/>
                  <a:moveTo>
                    <a:pt x="0" y="2"/>
                  </a:moveTo>
                  <a:cubicBezTo>
                    <a:pt x="0" y="2"/>
                    <a:pt x="0" y="2"/>
                    <a:pt x="0" y="2"/>
                  </a:cubicBezTo>
                  <a:cubicBezTo>
                    <a:pt x="1" y="3"/>
                    <a:pt x="1" y="3"/>
                    <a:pt x="1" y="3"/>
                  </a:cubicBezTo>
                  <a:cubicBezTo>
                    <a:pt x="1" y="3"/>
                    <a:pt x="1" y="3"/>
                    <a:pt x="1" y="2"/>
                  </a:cubicBezTo>
                  <a:cubicBezTo>
                    <a:pt x="1" y="2"/>
                    <a:pt x="1" y="2"/>
                    <a:pt x="1" y="2"/>
                  </a:cubicBezTo>
                  <a:cubicBezTo>
                    <a:pt x="1" y="1"/>
                    <a:pt x="1" y="1"/>
                    <a:pt x="1" y="1"/>
                  </a:cubicBezTo>
                  <a:cubicBezTo>
                    <a:pt x="1" y="2"/>
                    <a:pt x="1" y="2"/>
                    <a:pt x="1" y="2"/>
                  </a:cubicBezTo>
                  <a:cubicBezTo>
                    <a:pt x="0" y="2"/>
                    <a:pt x="0" y="2"/>
                    <a:pt x="0" y="2"/>
                  </a:cubicBezTo>
                  <a:cubicBezTo>
                    <a:pt x="0" y="2"/>
                    <a:pt x="0" y="2"/>
                    <a:pt x="0" y="2"/>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3F3F3F"/>
                </a:solidFill>
                <a:effectLst/>
                <a:uLnTx/>
                <a:uFillTx/>
              </a:endParaRPr>
            </a:p>
          </p:txBody>
        </p:sp>
        <p:sp>
          <p:nvSpPr>
            <p:cNvPr id="145" name="Freeform 211"/>
            <p:cNvSpPr>
              <a:spLocks/>
            </p:cNvSpPr>
            <p:nvPr/>
          </p:nvSpPr>
          <p:spPr bwMode="auto">
            <a:xfrm>
              <a:off x="6353847" y="5673686"/>
              <a:ext cx="8753" cy="21885"/>
            </a:xfrm>
            <a:custGeom>
              <a:avLst/>
              <a:gdLst>
                <a:gd name="T0" fmla="*/ 1 w 1"/>
                <a:gd name="T1" fmla="*/ 1 h 3"/>
                <a:gd name="T2" fmla="*/ 1 w 1"/>
                <a:gd name="T3" fmla="*/ 0 h 3"/>
                <a:gd name="T4" fmla="*/ 1 w 1"/>
                <a:gd name="T5" fmla="*/ 1 h 3"/>
                <a:gd name="T6" fmla="*/ 1 w 1"/>
                <a:gd name="T7" fmla="*/ 1 h 3"/>
                <a:gd name="T8" fmla="*/ 1 w 1"/>
                <a:gd name="T9" fmla="*/ 2 h 3"/>
                <a:gd name="T10" fmla="*/ 1 w 1"/>
                <a:gd name="T11" fmla="*/ 3 h 3"/>
                <a:gd name="T12" fmla="*/ 1 w 1"/>
                <a:gd name="T13" fmla="*/ 3 h 3"/>
                <a:gd name="T14" fmla="*/ 0 w 1"/>
                <a:gd name="T15" fmla="*/ 0 h 3"/>
                <a:gd name="T16" fmla="*/ 0 w 1"/>
                <a:gd name="T17" fmla="*/ 0 h 3"/>
                <a:gd name="T18" fmla="*/ 0 w 1"/>
                <a:gd name="T19" fmla="*/ 1 h 3"/>
                <a:gd name="T20" fmla="*/ 0 w 1"/>
                <a:gd name="T21" fmla="*/ 1 h 3"/>
                <a:gd name="T22" fmla="*/ 1 w 1"/>
                <a:gd name="T23" fmla="*/ 0 h 3"/>
                <a:gd name="T24" fmla="*/ 1 w 1"/>
                <a:gd name="T25" fmla="*/ 0 h 3"/>
                <a:gd name="T26" fmla="*/ 1 w 1"/>
                <a:gd name="T27" fmla="*/ 0 h 3"/>
                <a:gd name="T28" fmla="*/ 1 w 1"/>
                <a:gd name="T29"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 h="3">
                  <a:moveTo>
                    <a:pt x="1" y="1"/>
                  </a:moveTo>
                  <a:cubicBezTo>
                    <a:pt x="1" y="1"/>
                    <a:pt x="1" y="0"/>
                    <a:pt x="1" y="0"/>
                  </a:cubicBezTo>
                  <a:cubicBezTo>
                    <a:pt x="1" y="0"/>
                    <a:pt x="1" y="1"/>
                    <a:pt x="1" y="1"/>
                  </a:cubicBezTo>
                  <a:cubicBezTo>
                    <a:pt x="1" y="1"/>
                    <a:pt x="1" y="1"/>
                    <a:pt x="1" y="1"/>
                  </a:cubicBezTo>
                  <a:cubicBezTo>
                    <a:pt x="1" y="1"/>
                    <a:pt x="1" y="1"/>
                    <a:pt x="1" y="2"/>
                  </a:cubicBezTo>
                  <a:cubicBezTo>
                    <a:pt x="1" y="3"/>
                    <a:pt x="1" y="3"/>
                    <a:pt x="1" y="3"/>
                  </a:cubicBezTo>
                  <a:cubicBezTo>
                    <a:pt x="1" y="3"/>
                    <a:pt x="1" y="3"/>
                    <a:pt x="1" y="3"/>
                  </a:cubicBezTo>
                  <a:cubicBezTo>
                    <a:pt x="0" y="0"/>
                    <a:pt x="0" y="0"/>
                    <a:pt x="0" y="0"/>
                  </a:cubicBezTo>
                  <a:cubicBezTo>
                    <a:pt x="0" y="0"/>
                    <a:pt x="0" y="0"/>
                    <a:pt x="0" y="0"/>
                  </a:cubicBezTo>
                  <a:cubicBezTo>
                    <a:pt x="0" y="1"/>
                    <a:pt x="0" y="1"/>
                    <a:pt x="0" y="1"/>
                  </a:cubicBezTo>
                  <a:cubicBezTo>
                    <a:pt x="0" y="1"/>
                    <a:pt x="0" y="1"/>
                    <a:pt x="0" y="1"/>
                  </a:cubicBezTo>
                  <a:cubicBezTo>
                    <a:pt x="0" y="1"/>
                    <a:pt x="0" y="1"/>
                    <a:pt x="1" y="0"/>
                  </a:cubicBezTo>
                  <a:cubicBezTo>
                    <a:pt x="1" y="0"/>
                    <a:pt x="1" y="0"/>
                    <a:pt x="1" y="0"/>
                  </a:cubicBezTo>
                  <a:cubicBezTo>
                    <a:pt x="1" y="0"/>
                    <a:pt x="1" y="0"/>
                    <a:pt x="1" y="0"/>
                  </a:cubicBezTo>
                  <a:lnTo>
                    <a:pt x="1" y="1"/>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3F3F3F"/>
                </a:solidFill>
                <a:effectLst/>
                <a:uLnTx/>
                <a:uFillTx/>
              </a:endParaRPr>
            </a:p>
          </p:txBody>
        </p:sp>
        <p:sp>
          <p:nvSpPr>
            <p:cNvPr id="146" name="Freeform 212"/>
            <p:cNvSpPr>
              <a:spLocks/>
            </p:cNvSpPr>
            <p:nvPr/>
          </p:nvSpPr>
          <p:spPr bwMode="auto">
            <a:xfrm>
              <a:off x="6371353" y="5673686"/>
              <a:ext cx="8753" cy="21885"/>
            </a:xfrm>
            <a:custGeom>
              <a:avLst/>
              <a:gdLst>
                <a:gd name="T0" fmla="*/ 1 w 1"/>
                <a:gd name="T1" fmla="*/ 3 h 3"/>
                <a:gd name="T2" fmla="*/ 1 w 1"/>
                <a:gd name="T3" fmla="*/ 3 h 3"/>
                <a:gd name="T4" fmla="*/ 0 w 1"/>
                <a:gd name="T5" fmla="*/ 2 h 3"/>
                <a:gd name="T6" fmla="*/ 0 w 1"/>
                <a:gd name="T7" fmla="*/ 1 h 3"/>
                <a:gd name="T8" fmla="*/ 0 w 1"/>
                <a:gd name="T9" fmla="*/ 1 h 3"/>
                <a:gd name="T10" fmla="*/ 0 w 1"/>
                <a:gd name="T11" fmla="*/ 0 h 3"/>
                <a:gd name="T12" fmla="*/ 0 w 1"/>
                <a:gd name="T13" fmla="*/ 0 h 3"/>
                <a:gd name="T14" fmla="*/ 0 w 1"/>
                <a:gd name="T15" fmla="*/ 0 h 3"/>
                <a:gd name="T16" fmla="*/ 0 w 1"/>
                <a:gd name="T17" fmla="*/ 0 h 3"/>
                <a:gd name="T18" fmla="*/ 0 w 1"/>
                <a:gd name="T19" fmla="*/ 0 h 3"/>
                <a:gd name="T20" fmla="*/ 1 w 1"/>
                <a:gd name="T21" fmla="*/ 0 h 3"/>
                <a:gd name="T22" fmla="*/ 1 w 1"/>
                <a:gd name="T23" fmla="*/ 1 h 3"/>
                <a:gd name="T24" fmla="*/ 0 w 1"/>
                <a:gd name="T25" fmla="*/ 1 h 3"/>
                <a:gd name="T26" fmla="*/ 1 w 1"/>
                <a:gd name="T27" fmla="*/ 2 h 3"/>
                <a:gd name="T28" fmla="*/ 1 w 1"/>
                <a:gd name="T29" fmla="*/ 2 h 3"/>
                <a:gd name="T30" fmla="*/ 1 w 1"/>
                <a:gd name="T31" fmla="*/ 3 h 3"/>
                <a:gd name="T32" fmla="*/ 1 w 1"/>
                <a:gd name="T33" fmla="*/ 2 h 3"/>
                <a:gd name="T34" fmla="*/ 1 w 1"/>
                <a:gd name="T35"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 h="3">
                  <a:moveTo>
                    <a:pt x="1" y="3"/>
                  </a:moveTo>
                  <a:cubicBezTo>
                    <a:pt x="1" y="3"/>
                    <a:pt x="1" y="3"/>
                    <a:pt x="1" y="3"/>
                  </a:cubicBezTo>
                  <a:cubicBezTo>
                    <a:pt x="1" y="3"/>
                    <a:pt x="1" y="3"/>
                    <a:pt x="0" y="2"/>
                  </a:cubicBezTo>
                  <a:cubicBezTo>
                    <a:pt x="0" y="1"/>
                    <a:pt x="0" y="1"/>
                    <a:pt x="0" y="1"/>
                  </a:cubicBezTo>
                  <a:cubicBezTo>
                    <a:pt x="0" y="1"/>
                    <a:pt x="0" y="1"/>
                    <a:pt x="0" y="1"/>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1" y="0"/>
                    <a:pt x="1" y="0"/>
                    <a:pt x="1" y="0"/>
                  </a:cubicBezTo>
                  <a:cubicBezTo>
                    <a:pt x="1" y="1"/>
                    <a:pt x="1" y="1"/>
                    <a:pt x="1" y="1"/>
                  </a:cubicBezTo>
                  <a:cubicBezTo>
                    <a:pt x="0" y="1"/>
                    <a:pt x="0" y="1"/>
                    <a:pt x="0" y="1"/>
                  </a:cubicBezTo>
                  <a:cubicBezTo>
                    <a:pt x="1" y="2"/>
                    <a:pt x="1" y="2"/>
                    <a:pt x="1" y="2"/>
                  </a:cubicBezTo>
                  <a:cubicBezTo>
                    <a:pt x="1" y="2"/>
                    <a:pt x="1" y="2"/>
                    <a:pt x="1" y="2"/>
                  </a:cubicBezTo>
                  <a:cubicBezTo>
                    <a:pt x="1" y="3"/>
                    <a:pt x="1" y="3"/>
                    <a:pt x="1" y="3"/>
                  </a:cubicBezTo>
                  <a:cubicBezTo>
                    <a:pt x="1" y="3"/>
                    <a:pt x="1" y="3"/>
                    <a:pt x="1" y="2"/>
                  </a:cubicBezTo>
                  <a:lnTo>
                    <a:pt x="1" y="3"/>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3F3F3F"/>
                </a:solidFill>
                <a:effectLst/>
                <a:uLnTx/>
                <a:uFillTx/>
              </a:endParaRPr>
            </a:p>
          </p:txBody>
        </p:sp>
        <p:sp>
          <p:nvSpPr>
            <p:cNvPr id="147" name="Freeform 205"/>
            <p:cNvSpPr>
              <a:spLocks/>
            </p:cNvSpPr>
            <p:nvPr/>
          </p:nvSpPr>
          <p:spPr bwMode="auto">
            <a:xfrm flipV="1">
              <a:off x="7157087" y="5852658"/>
              <a:ext cx="66291" cy="101133"/>
            </a:xfrm>
            <a:prstGeom prst="parallelogram">
              <a:avLst>
                <a:gd name="adj" fmla="val 38967"/>
              </a:avLst>
            </a:prstGeom>
            <a:solidFill>
              <a:srgbClr val="ADD40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3F3F3F"/>
                </a:solidFill>
                <a:effectLst/>
                <a:uLnTx/>
                <a:uFillTx/>
              </a:endParaRPr>
            </a:p>
          </p:txBody>
        </p:sp>
        <p:sp>
          <p:nvSpPr>
            <p:cNvPr id="148" name="Freeform 207"/>
            <p:cNvSpPr>
              <a:spLocks/>
            </p:cNvSpPr>
            <p:nvPr/>
          </p:nvSpPr>
          <p:spPr bwMode="auto">
            <a:xfrm flipV="1">
              <a:off x="6346453" y="5853127"/>
              <a:ext cx="131164" cy="102021"/>
            </a:xfrm>
            <a:prstGeom prst="parallelogram">
              <a:avLst/>
            </a:prstGeom>
            <a:solidFill>
              <a:srgbClr val="ADD40D"/>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3F3F3F"/>
                </a:solidFill>
                <a:effectLst/>
                <a:uLnTx/>
                <a:uFillTx/>
              </a:endParaRPr>
            </a:p>
          </p:txBody>
        </p:sp>
        <p:sp>
          <p:nvSpPr>
            <p:cNvPr id="149" name="Freeform 207"/>
            <p:cNvSpPr>
              <a:spLocks/>
            </p:cNvSpPr>
            <p:nvPr/>
          </p:nvSpPr>
          <p:spPr bwMode="auto">
            <a:xfrm flipV="1">
              <a:off x="6486158" y="5962699"/>
              <a:ext cx="130839" cy="109263"/>
            </a:xfrm>
            <a:prstGeom prst="parallelogram">
              <a:avLst/>
            </a:prstGeom>
            <a:solidFill>
              <a:srgbClr val="FD742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3F3F3F"/>
                </a:solidFill>
                <a:effectLst/>
                <a:uLnTx/>
                <a:uFillTx/>
              </a:endParaRPr>
            </a:p>
          </p:txBody>
        </p:sp>
        <p:sp>
          <p:nvSpPr>
            <p:cNvPr id="150" name="Freeform 207"/>
            <p:cNvSpPr>
              <a:spLocks/>
            </p:cNvSpPr>
            <p:nvPr/>
          </p:nvSpPr>
          <p:spPr bwMode="auto">
            <a:xfrm flipV="1">
              <a:off x="6373374" y="5962699"/>
              <a:ext cx="134370" cy="109263"/>
            </a:xfrm>
            <a:prstGeom prst="parallelogram">
              <a:avLst/>
            </a:prstGeom>
            <a:solidFill>
              <a:srgbClr val="4BACC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3F3F3F"/>
                </a:solidFill>
                <a:effectLst/>
                <a:uLnTx/>
                <a:uFillTx/>
              </a:endParaRPr>
            </a:p>
          </p:txBody>
        </p:sp>
      </p:grpSp>
    </p:spTree>
    <p:extLst>
      <p:ext uri="{BB962C8B-B14F-4D97-AF65-F5344CB8AC3E}">
        <p14:creationId xmlns:p14="http://schemas.microsoft.com/office/powerpoint/2010/main" val="331667947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7" name="Group 123"/>
          <p:cNvGrpSpPr>
            <a:grpSpLocks noChangeAspect="1"/>
          </p:cNvGrpSpPr>
          <p:nvPr/>
        </p:nvGrpSpPr>
        <p:grpSpPr bwMode="auto">
          <a:xfrm>
            <a:off x="9001935" y="94247"/>
            <a:ext cx="1291129" cy="2754260"/>
            <a:chOff x="6063" y="427"/>
            <a:chExt cx="578" cy="1233"/>
          </a:xfrm>
        </p:grpSpPr>
        <p:sp>
          <p:nvSpPr>
            <p:cNvPr id="113" name="Freeform 138"/>
            <p:cNvSpPr>
              <a:spLocks/>
            </p:cNvSpPr>
            <p:nvPr/>
          </p:nvSpPr>
          <p:spPr bwMode="auto">
            <a:xfrm>
              <a:off x="6529" y="1235"/>
              <a:ext cx="7" cy="91"/>
            </a:xfrm>
            <a:custGeom>
              <a:avLst/>
              <a:gdLst>
                <a:gd name="T0" fmla="*/ 2 w 5"/>
                <a:gd name="T1" fmla="*/ 0 h 65"/>
                <a:gd name="T2" fmla="*/ 5 w 5"/>
                <a:gd name="T3" fmla="*/ 3 h 65"/>
                <a:gd name="T4" fmla="*/ 5 w 5"/>
                <a:gd name="T5" fmla="*/ 63 h 65"/>
                <a:gd name="T6" fmla="*/ 2 w 5"/>
                <a:gd name="T7" fmla="*/ 65 h 65"/>
                <a:gd name="T8" fmla="*/ 0 w 5"/>
                <a:gd name="T9" fmla="*/ 63 h 65"/>
                <a:gd name="T10" fmla="*/ 0 w 5"/>
                <a:gd name="T11" fmla="*/ 3 h 65"/>
                <a:gd name="T12" fmla="*/ 2 w 5"/>
                <a:gd name="T13" fmla="*/ 0 h 65"/>
              </a:gdLst>
              <a:ahLst/>
              <a:cxnLst>
                <a:cxn ang="0">
                  <a:pos x="T0" y="T1"/>
                </a:cxn>
                <a:cxn ang="0">
                  <a:pos x="T2" y="T3"/>
                </a:cxn>
                <a:cxn ang="0">
                  <a:pos x="T4" y="T5"/>
                </a:cxn>
                <a:cxn ang="0">
                  <a:pos x="T6" y="T7"/>
                </a:cxn>
                <a:cxn ang="0">
                  <a:pos x="T8" y="T9"/>
                </a:cxn>
                <a:cxn ang="0">
                  <a:pos x="T10" y="T11"/>
                </a:cxn>
                <a:cxn ang="0">
                  <a:pos x="T12" y="T13"/>
                </a:cxn>
              </a:cxnLst>
              <a:rect l="0" t="0" r="r" b="b"/>
              <a:pathLst>
                <a:path w="5" h="65">
                  <a:moveTo>
                    <a:pt x="2" y="0"/>
                  </a:moveTo>
                  <a:cubicBezTo>
                    <a:pt x="4" y="0"/>
                    <a:pt x="5" y="1"/>
                    <a:pt x="5" y="3"/>
                  </a:cubicBezTo>
                  <a:cubicBezTo>
                    <a:pt x="5" y="63"/>
                    <a:pt x="5" y="63"/>
                    <a:pt x="5" y="63"/>
                  </a:cubicBezTo>
                  <a:cubicBezTo>
                    <a:pt x="5" y="64"/>
                    <a:pt x="4" y="65"/>
                    <a:pt x="2" y="65"/>
                  </a:cubicBezTo>
                  <a:cubicBezTo>
                    <a:pt x="1" y="65"/>
                    <a:pt x="0" y="64"/>
                    <a:pt x="0" y="63"/>
                  </a:cubicBezTo>
                  <a:cubicBezTo>
                    <a:pt x="0" y="3"/>
                    <a:pt x="0" y="3"/>
                    <a:pt x="0" y="3"/>
                  </a:cubicBezTo>
                  <a:cubicBezTo>
                    <a:pt x="0" y="1"/>
                    <a:pt x="1" y="0"/>
                    <a:pt x="2"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14" name="Freeform 139"/>
            <p:cNvSpPr>
              <a:spLocks/>
            </p:cNvSpPr>
            <p:nvPr/>
          </p:nvSpPr>
          <p:spPr bwMode="auto">
            <a:xfrm>
              <a:off x="6512" y="1205"/>
              <a:ext cx="8" cy="121"/>
            </a:xfrm>
            <a:custGeom>
              <a:avLst/>
              <a:gdLst>
                <a:gd name="T0" fmla="*/ 3 w 6"/>
                <a:gd name="T1" fmla="*/ 0 h 87"/>
                <a:gd name="T2" fmla="*/ 6 w 6"/>
                <a:gd name="T3" fmla="*/ 3 h 87"/>
                <a:gd name="T4" fmla="*/ 6 w 6"/>
                <a:gd name="T5" fmla="*/ 85 h 87"/>
                <a:gd name="T6" fmla="*/ 3 w 6"/>
                <a:gd name="T7" fmla="*/ 87 h 87"/>
                <a:gd name="T8" fmla="*/ 0 w 6"/>
                <a:gd name="T9" fmla="*/ 85 h 87"/>
                <a:gd name="T10" fmla="*/ 0 w 6"/>
                <a:gd name="T11" fmla="*/ 3 h 87"/>
                <a:gd name="T12" fmla="*/ 3 w 6"/>
                <a:gd name="T13" fmla="*/ 0 h 87"/>
              </a:gdLst>
              <a:ahLst/>
              <a:cxnLst>
                <a:cxn ang="0">
                  <a:pos x="T0" y="T1"/>
                </a:cxn>
                <a:cxn ang="0">
                  <a:pos x="T2" y="T3"/>
                </a:cxn>
                <a:cxn ang="0">
                  <a:pos x="T4" y="T5"/>
                </a:cxn>
                <a:cxn ang="0">
                  <a:pos x="T6" y="T7"/>
                </a:cxn>
                <a:cxn ang="0">
                  <a:pos x="T8" y="T9"/>
                </a:cxn>
                <a:cxn ang="0">
                  <a:pos x="T10" y="T11"/>
                </a:cxn>
                <a:cxn ang="0">
                  <a:pos x="T12" y="T13"/>
                </a:cxn>
              </a:cxnLst>
              <a:rect l="0" t="0" r="r" b="b"/>
              <a:pathLst>
                <a:path w="6" h="87">
                  <a:moveTo>
                    <a:pt x="3" y="0"/>
                  </a:moveTo>
                  <a:cubicBezTo>
                    <a:pt x="4" y="0"/>
                    <a:pt x="6" y="2"/>
                    <a:pt x="6" y="3"/>
                  </a:cubicBezTo>
                  <a:cubicBezTo>
                    <a:pt x="6" y="85"/>
                    <a:pt x="6" y="85"/>
                    <a:pt x="6" y="85"/>
                  </a:cubicBezTo>
                  <a:cubicBezTo>
                    <a:pt x="6" y="86"/>
                    <a:pt x="4" y="87"/>
                    <a:pt x="3" y="87"/>
                  </a:cubicBezTo>
                  <a:cubicBezTo>
                    <a:pt x="2" y="87"/>
                    <a:pt x="0" y="86"/>
                    <a:pt x="0" y="85"/>
                  </a:cubicBezTo>
                  <a:cubicBezTo>
                    <a:pt x="0" y="3"/>
                    <a:pt x="0" y="3"/>
                    <a:pt x="0" y="3"/>
                  </a:cubicBezTo>
                  <a:cubicBezTo>
                    <a:pt x="0" y="2"/>
                    <a:pt x="2" y="0"/>
                    <a:pt x="3"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15" name="Freeform 140"/>
            <p:cNvSpPr>
              <a:spLocks/>
            </p:cNvSpPr>
            <p:nvPr/>
          </p:nvSpPr>
          <p:spPr bwMode="auto">
            <a:xfrm>
              <a:off x="6497" y="1235"/>
              <a:ext cx="7" cy="91"/>
            </a:xfrm>
            <a:custGeom>
              <a:avLst/>
              <a:gdLst>
                <a:gd name="T0" fmla="*/ 2 w 5"/>
                <a:gd name="T1" fmla="*/ 0 h 65"/>
                <a:gd name="T2" fmla="*/ 5 w 5"/>
                <a:gd name="T3" fmla="*/ 3 h 65"/>
                <a:gd name="T4" fmla="*/ 5 w 5"/>
                <a:gd name="T5" fmla="*/ 63 h 65"/>
                <a:gd name="T6" fmla="*/ 2 w 5"/>
                <a:gd name="T7" fmla="*/ 65 h 65"/>
                <a:gd name="T8" fmla="*/ 0 w 5"/>
                <a:gd name="T9" fmla="*/ 63 h 65"/>
                <a:gd name="T10" fmla="*/ 0 w 5"/>
                <a:gd name="T11" fmla="*/ 3 h 65"/>
                <a:gd name="T12" fmla="*/ 2 w 5"/>
                <a:gd name="T13" fmla="*/ 0 h 65"/>
              </a:gdLst>
              <a:ahLst/>
              <a:cxnLst>
                <a:cxn ang="0">
                  <a:pos x="T0" y="T1"/>
                </a:cxn>
                <a:cxn ang="0">
                  <a:pos x="T2" y="T3"/>
                </a:cxn>
                <a:cxn ang="0">
                  <a:pos x="T4" y="T5"/>
                </a:cxn>
                <a:cxn ang="0">
                  <a:pos x="T6" y="T7"/>
                </a:cxn>
                <a:cxn ang="0">
                  <a:pos x="T8" y="T9"/>
                </a:cxn>
                <a:cxn ang="0">
                  <a:pos x="T10" y="T11"/>
                </a:cxn>
                <a:cxn ang="0">
                  <a:pos x="T12" y="T13"/>
                </a:cxn>
              </a:cxnLst>
              <a:rect l="0" t="0" r="r" b="b"/>
              <a:pathLst>
                <a:path w="5" h="65">
                  <a:moveTo>
                    <a:pt x="2" y="0"/>
                  </a:moveTo>
                  <a:cubicBezTo>
                    <a:pt x="4" y="0"/>
                    <a:pt x="5" y="1"/>
                    <a:pt x="5" y="3"/>
                  </a:cubicBezTo>
                  <a:cubicBezTo>
                    <a:pt x="5" y="63"/>
                    <a:pt x="5" y="63"/>
                    <a:pt x="5" y="63"/>
                  </a:cubicBezTo>
                  <a:cubicBezTo>
                    <a:pt x="5" y="64"/>
                    <a:pt x="4" y="65"/>
                    <a:pt x="2" y="65"/>
                  </a:cubicBezTo>
                  <a:cubicBezTo>
                    <a:pt x="1" y="65"/>
                    <a:pt x="0" y="64"/>
                    <a:pt x="0" y="63"/>
                  </a:cubicBezTo>
                  <a:cubicBezTo>
                    <a:pt x="0" y="3"/>
                    <a:pt x="0" y="3"/>
                    <a:pt x="0" y="3"/>
                  </a:cubicBezTo>
                  <a:cubicBezTo>
                    <a:pt x="0" y="1"/>
                    <a:pt x="1" y="0"/>
                    <a:pt x="2"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16" name="Freeform 141"/>
            <p:cNvSpPr>
              <a:spLocks/>
            </p:cNvSpPr>
            <p:nvPr/>
          </p:nvSpPr>
          <p:spPr bwMode="auto">
            <a:xfrm>
              <a:off x="6386" y="1403"/>
              <a:ext cx="130" cy="136"/>
            </a:xfrm>
            <a:custGeom>
              <a:avLst/>
              <a:gdLst>
                <a:gd name="T0" fmla="*/ 91 w 93"/>
                <a:gd name="T1" fmla="*/ 97 h 97"/>
                <a:gd name="T2" fmla="*/ 89 w 93"/>
                <a:gd name="T3" fmla="*/ 96 h 97"/>
                <a:gd name="T4" fmla="*/ 1 w 93"/>
                <a:gd name="T5" fmla="*/ 3 h 97"/>
                <a:gd name="T6" fmla="*/ 1 w 93"/>
                <a:gd name="T7" fmla="*/ 1 h 97"/>
                <a:gd name="T8" fmla="*/ 4 w 93"/>
                <a:gd name="T9" fmla="*/ 1 h 97"/>
                <a:gd name="T10" fmla="*/ 92 w 93"/>
                <a:gd name="T11" fmla="*/ 94 h 97"/>
                <a:gd name="T12" fmla="*/ 92 w 93"/>
                <a:gd name="T13" fmla="*/ 96 h 97"/>
                <a:gd name="T14" fmla="*/ 91 w 93"/>
                <a:gd name="T15" fmla="*/ 97 h 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 h="97">
                  <a:moveTo>
                    <a:pt x="91" y="97"/>
                  </a:moveTo>
                  <a:cubicBezTo>
                    <a:pt x="90" y="97"/>
                    <a:pt x="90" y="97"/>
                    <a:pt x="89" y="96"/>
                  </a:cubicBezTo>
                  <a:cubicBezTo>
                    <a:pt x="1" y="3"/>
                    <a:pt x="1" y="3"/>
                    <a:pt x="1" y="3"/>
                  </a:cubicBezTo>
                  <a:cubicBezTo>
                    <a:pt x="0" y="3"/>
                    <a:pt x="0" y="1"/>
                    <a:pt x="1" y="1"/>
                  </a:cubicBezTo>
                  <a:cubicBezTo>
                    <a:pt x="2" y="0"/>
                    <a:pt x="3" y="0"/>
                    <a:pt x="4" y="1"/>
                  </a:cubicBezTo>
                  <a:cubicBezTo>
                    <a:pt x="92" y="94"/>
                    <a:pt x="92" y="94"/>
                    <a:pt x="92" y="94"/>
                  </a:cubicBezTo>
                  <a:cubicBezTo>
                    <a:pt x="93" y="94"/>
                    <a:pt x="93" y="96"/>
                    <a:pt x="92" y="96"/>
                  </a:cubicBezTo>
                  <a:cubicBezTo>
                    <a:pt x="92" y="97"/>
                    <a:pt x="91" y="97"/>
                    <a:pt x="91" y="97"/>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17" name="Freeform 142"/>
            <p:cNvSpPr>
              <a:spLocks/>
            </p:cNvSpPr>
            <p:nvPr/>
          </p:nvSpPr>
          <p:spPr bwMode="auto">
            <a:xfrm>
              <a:off x="6436" y="1401"/>
              <a:ext cx="80" cy="138"/>
            </a:xfrm>
            <a:custGeom>
              <a:avLst/>
              <a:gdLst>
                <a:gd name="T0" fmla="*/ 55 w 57"/>
                <a:gd name="T1" fmla="*/ 99 h 99"/>
                <a:gd name="T2" fmla="*/ 53 w 57"/>
                <a:gd name="T3" fmla="*/ 98 h 99"/>
                <a:gd name="T4" fmla="*/ 1 w 57"/>
                <a:gd name="T5" fmla="*/ 3 h 99"/>
                <a:gd name="T6" fmla="*/ 2 w 57"/>
                <a:gd name="T7" fmla="*/ 0 h 99"/>
                <a:gd name="T8" fmla="*/ 4 w 57"/>
                <a:gd name="T9" fmla="*/ 1 h 99"/>
                <a:gd name="T10" fmla="*/ 57 w 57"/>
                <a:gd name="T11" fmla="*/ 96 h 99"/>
                <a:gd name="T12" fmla="*/ 56 w 57"/>
                <a:gd name="T13" fmla="*/ 99 h 99"/>
                <a:gd name="T14" fmla="*/ 55 w 57"/>
                <a:gd name="T15" fmla="*/ 99 h 9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99">
                  <a:moveTo>
                    <a:pt x="55" y="99"/>
                  </a:moveTo>
                  <a:cubicBezTo>
                    <a:pt x="54" y="99"/>
                    <a:pt x="53" y="99"/>
                    <a:pt x="53" y="98"/>
                  </a:cubicBezTo>
                  <a:cubicBezTo>
                    <a:pt x="1" y="3"/>
                    <a:pt x="1" y="3"/>
                    <a:pt x="1" y="3"/>
                  </a:cubicBezTo>
                  <a:cubicBezTo>
                    <a:pt x="0" y="2"/>
                    <a:pt x="1" y="1"/>
                    <a:pt x="2" y="0"/>
                  </a:cubicBezTo>
                  <a:cubicBezTo>
                    <a:pt x="2" y="0"/>
                    <a:pt x="4" y="0"/>
                    <a:pt x="4" y="1"/>
                  </a:cubicBezTo>
                  <a:cubicBezTo>
                    <a:pt x="57" y="96"/>
                    <a:pt x="57" y="96"/>
                    <a:pt x="57" y="96"/>
                  </a:cubicBezTo>
                  <a:cubicBezTo>
                    <a:pt x="57" y="97"/>
                    <a:pt x="57" y="98"/>
                    <a:pt x="56" y="99"/>
                  </a:cubicBezTo>
                  <a:cubicBezTo>
                    <a:pt x="56" y="99"/>
                    <a:pt x="55" y="99"/>
                    <a:pt x="55" y="99"/>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18" name="Freeform 143"/>
            <p:cNvSpPr>
              <a:spLocks/>
            </p:cNvSpPr>
            <p:nvPr/>
          </p:nvSpPr>
          <p:spPr bwMode="auto">
            <a:xfrm>
              <a:off x="6485" y="1401"/>
              <a:ext cx="31" cy="138"/>
            </a:xfrm>
            <a:custGeom>
              <a:avLst/>
              <a:gdLst>
                <a:gd name="T0" fmla="*/ 20 w 22"/>
                <a:gd name="T1" fmla="*/ 99 h 99"/>
                <a:gd name="T2" fmla="*/ 18 w 22"/>
                <a:gd name="T3" fmla="*/ 97 h 99"/>
                <a:gd name="T4" fmla="*/ 0 w 22"/>
                <a:gd name="T5" fmla="*/ 2 h 99"/>
                <a:gd name="T6" fmla="*/ 2 w 22"/>
                <a:gd name="T7" fmla="*/ 0 h 99"/>
                <a:gd name="T8" fmla="*/ 4 w 22"/>
                <a:gd name="T9" fmla="*/ 2 h 99"/>
                <a:gd name="T10" fmla="*/ 22 w 22"/>
                <a:gd name="T11" fmla="*/ 97 h 99"/>
                <a:gd name="T12" fmla="*/ 20 w 22"/>
                <a:gd name="T13" fmla="*/ 99 h 99"/>
                <a:gd name="T14" fmla="*/ 20 w 22"/>
                <a:gd name="T15" fmla="*/ 99 h 9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99">
                  <a:moveTo>
                    <a:pt x="20" y="99"/>
                  </a:moveTo>
                  <a:cubicBezTo>
                    <a:pt x="19" y="99"/>
                    <a:pt x="18" y="98"/>
                    <a:pt x="18" y="97"/>
                  </a:cubicBezTo>
                  <a:cubicBezTo>
                    <a:pt x="0" y="2"/>
                    <a:pt x="0" y="2"/>
                    <a:pt x="0" y="2"/>
                  </a:cubicBezTo>
                  <a:cubicBezTo>
                    <a:pt x="0" y="1"/>
                    <a:pt x="1" y="0"/>
                    <a:pt x="2" y="0"/>
                  </a:cubicBezTo>
                  <a:cubicBezTo>
                    <a:pt x="3" y="0"/>
                    <a:pt x="4" y="0"/>
                    <a:pt x="4" y="2"/>
                  </a:cubicBezTo>
                  <a:cubicBezTo>
                    <a:pt x="22" y="97"/>
                    <a:pt x="22" y="97"/>
                    <a:pt x="22" y="97"/>
                  </a:cubicBezTo>
                  <a:cubicBezTo>
                    <a:pt x="22" y="98"/>
                    <a:pt x="21" y="99"/>
                    <a:pt x="20" y="99"/>
                  </a:cubicBezTo>
                  <a:cubicBezTo>
                    <a:pt x="20" y="99"/>
                    <a:pt x="20" y="99"/>
                    <a:pt x="20" y="99"/>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19" name="Freeform 144"/>
            <p:cNvSpPr>
              <a:spLocks/>
            </p:cNvSpPr>
            <p:nvPr/>
          </p:nvSpPr>
          <p:spPr bwMode="auto">
            <a:xfrm>
              <a:off x="6511" y="1401"/>
              <a:ext cx="30" cy="138"/>
            </a:xfrm>
            <a:custGeom>
              <a:avLst/>
              <a:gdLst>
                <a:gd name="T0" fmla="*/ 2 w 22"/>
                <a:gd name="T1" fmla="*/ 99 h 99"/>
                <a:gd name="T2" fmla="*/ 2 w 22"/>
                <a:gd name="T3" fmla="*/ 99 h 99"/>
                <a:gd name="T4" fmla="*/ 0 w 22"/>
                <a:gd name="T5" fmla="*/ 97 h 99"/>
                <a:gd name="T6" fmla="*/ 17 w 22"/>
                <a:gd name="T7" fmla="*/ 2 h 99"/>
                <a:gd name="T8" fmla="*/ 20 w 22"/>
                <a:gd name="T9" fmla="*/ 0 h 99"/>
                <a:gd name="T10" fmla="*/ 21 w 22"/>
                <a:gd name="T11" fmla="*/ 2 h 99"/>
                <a:gd name="T12" fmla="*/ 4 w 22"/>
                <a:gd name="T13" fmla="*/ 97 h 99"/>
                <a:gd name="T14" fmla="*/ 2 w 22"/>
                <a:gd name="T15" fmla="*/ 99 h 9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99">
                  <a:moveTo>
                    <a:pt x="2" y="99"/>
                  </a:moveTo>
                  <a:cubicBezTo>
                    <a:pt x="2" y="99"/>
                    <a:pt x="2" y="99"/>
                    <a:pt x="2" y="99"/>
                  </a:cubicBezTo>
                  <a:cubicBezTo>
                    <a:pt x="0" y="99"/>
                    <a:pt x="0" y="98"/>
                    <a:pt x="0" y="97"/>
                  </a:cubicBezTo>
                  <a:cubicBezTo>
                    <a:pt x="17" y="2"/>
                    <a:pt x="17" y="2"/>
                    <a:pt x="17" y="2"/>
                  </a:cubicBezTo>
                  <a:cubicBezTo>
                    <a:pt x="18" y="0"/>
                    <a:pt x="19" y="0"/>
                    <a:pt x="20" y="0"/>
                  </a:cubicBezTo>
                  <a:cubicBezTo>
                    <a:pt x="21" y="0"/>
                    <a:pt x="22" y="1"/>
                    <a:pt x="21" y="2"/>
                  </a:cubicBezTo>
                  <a:cubicBezTo>
                    <a:pt x="4" y="97"/>
                    <a:pt x="4" y="97"/>
                    <a:pt x="4" y="97"/>
                  </a:cubicBezTo>
                  <a:cubicBezTo>
                    <a:pt x="4" y="98"/>
                    <a:pt x="3" y="99"/>
                    <a:pt x="2" y="99"/>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20" name="Freeform 145"/>
            <p:cNvSpPr>
              <a:spLocks/>
            </p:cNvSpPr>
            <p:nvPr/>
          </p:nvSpPr>
          <p:spPr bwMode="auto">
            <a:xfrm>
              <a:off x="6511" y="1401"/>
              <a:ext cx="79" cy="138"/>
            </a:xfrm>
            <a:custGeom>
              <a:avLst/>
              <a:gdLst>
                <a:gd name="T0" fmla="*/ 2 w 57"/>
                <a:gd name="T1" fmla="*/ 99 h 99"/>
                <a:gd name="T2" fmla="*/ 1 w 57"/>
                <a:gd name="T3" fmla="*/ 99 h 99"/>
                <a:gd name="T4" fmla="*/ 0 w 57"/>
                <a:gd name="T5" fmla="*/ 96 h 99"/>
                <a:gd name="T6" fmla="*/ 52 w 57"/>
                <a:gd name="T7" fmla="*/ 1 h 99"/>
                <a:gd name="T8" fmla="*/ 55 w 57"/>
                <a:gd name="T9" fmla="*/ 0 h 99"/>
                <a:gd name="T10" fmla="*/ 56 w 57"/>
                <a:gd name="T11" fmla="*/ 3 h 99"/>
                <a:gd name="T12" fmla="*/ 4 w 57"/>
                <a:gd name="T13" fmla="*/ 98 h 99"/>
                <a:gd name="T14" fmla="*/ 2 w 57"/>
                <a:gd name="T15" fmla="*/ 99 h 9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99">
                  <a:moveTo>
                    <a:pt x="2" y="99"/>
                  </a:moveTo>
                  <a:cubicBezTo>
                    <a:pt x="2" y="99"/>
                    <a:pt x="1" y="99"/>
                    <a:pt x="1" y="99"/>
                  </a:cubicBezTo>
                  <a:cubicBezTo>
                    <a:pt x="0" y="98"/>
                    <a:pt x="0" y="97"/>
                    <a:pt x="0" y="96"/>
                  </a:cubicBezTo>
                  <a:cubicBezTo>
                    <a:pt x="52" y="1"/>
                    <a:pt x="52" y="1"/>
                    <a:pt x="52" y="1"/>
                  </a:cubicBezTo>
                  <a:cubicBezTo>
                    <a:pt x="53" y="0"/>
                    <a:pt x="54" y="0"/>
                    <a:pt x="55" y="0"/>
                  </a:cubicBezTo>
                  <a:cubicBezTo>
                    <a:pt x="56" y="1"/>
                    <a:pt x="57" y="2"/>
                    <a:pt x="56" y="3"/>
                  </a:cubicBezTo>
                  <a:cubicBezTo>
                    <a:pt x="4" y="98"/>
                    <a:pt x="4" y="98"/>
                    <a:pt x="4" y="98"/>
                  </a:cubicBezTo>
                  <a:cubicBezTo>
                    <a:pt x="3" y="99"/>
                    <a:pt x="3" y="99"/>
                    <a:pt x="2" y="99"/>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21" name="Freeform 146"/>
            <p:cNvSpPr>
              <a:spLocks/>
            </p:cNvSpPr>
            <p:nvPr/>
          </p:nvSpPr>
          <p:spPr bwMode="auto">
            <a:xfrm>
              <a:off x="6511" y="1403"/>
              <a:ext cx="130" cy="136"/>
            </a:xfrm>
            <a:custGeom>
              <a:avLst/>
              <a:gdLst>
                <a:gd name="T0" fmla="*/ 2 w 93"/>
                <a:gd name="T1" fmla="*/ 97 h 97"/>
                <a:gd name="T2" fmla="*/ 0 w 93"/>
                <a:gd name="T3" fmla="*/ 96 h 97"/>
                <a:gd name="T4" fmla="*/ 0 w 93"/>
                <a:gd name="T5" fmla="*/ 94 h 97"/>
                <a:gd name="T6" fmla="*/ 89 w 93"/>
                <a:gd name="T7" fmla="*/ 1 h 97"/>
                <a:gd name="T8" fmla="*/ 92 w 93"/>
                <a:gd name="T9" fmla="*/ 1 h 97"/>
                <a:gd name="T10" fmla="*/ 92 w 93"/>
                <a:gd name="T11" fmla="*/ 3 h 97"/>
                <a:gd name="T12" fmla="*/ 3 w 93"/>
                <a:gd name="T13" fmla="*/ 96 h 97"/>
                <a:gd name="T14" fmla="*/ 2 w 93"/>
                <a:gd name="T15" fmla="*/ 97 h 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 h="97">
                  <a:moveTo>
                    <a:pt x="2" y="97"/>
                  </a:moveTo>
                  <a:cubicBezTo>
                    <a:pt x="1" y="97"/>
                    <a:pt x="1" y="97"/>
                    <a:pt x="0" y="96"/>
                  </a:cubicBezTo>
                  <a:cubicBezTo>
                    <a:pt x="0" y="96"/>
                    <a:pt x="0" y="94"/>
                    <a:pt x="0" y="94"/>
                  </a:cubicBezTo>
                  <a:cubicBezTo>
                    <a:pt x="89" y="1"/>
                    <a:pt x="89" y="1"/>
                    <a:pt x="89" y="1"/>
                  </a:cubicBezTo>
                  <a:cubicBezTo>
                    <a:pt x="90" y="0"/>
                    <a:pt x="91" y="0"/>
                    <a:pt x="92" y="1"/>
                  </a:cubicBezTo>
                  <a:cubicBezTo>
                    <a:pt x="93" y="1"/>
                    <a:pt x="93" y="3"/>
                    <a:pt x="92" y="3"/>
                  </a:cubicBezTo>
                  <a:cubicBezTo>
                    <a:pt x="3" y="96"/>
                    <a:pt x="3" y="96"/>
                    <a:pt x="3" y="96"/>
                  </a:cubicBezTo>
                  <a:cubicBezTo>
                    <a:pt x="3" y="97"/>
                    <a:pt x="2" y="97"/>
                    <a:pt x="2" y="97"/>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22" name="Freeform 147"/>
            <p:cNvSpPr>
              <a:spLocks noEditPoints="1"/>
            </p:cNvSpPr>
            <p:nvPr/>
          </p:nvSpPr>
          <p:spPr bwMode="auto">
            <a:xfrm>
              <a:off x="6462" y="1538"/>
              <a:ext cx="103" cy="122"/>
            </a:xfrm>
            <a:custGeom>
              <a:avLst/>
              <a:gdLst>
                <a:gd name="T0" fmla="*/ 37 w 74"/>
                <a:gd name="T1" fmla="*/ 4 h 87"/>
                <a:gd name="T2" fmla="*/ 67 w 74"/>
                <a:gd name="T3" fmla="*/ 13 h 87"/>
                <a:gd name="T4" fmla="*/ 37 w 74"/>
                <a:gd name="T5" fmla="*/ 22 h 87"/>
                <a:gd name="T6" fmla="*/ 6 w 74"/>
                <a:gd name="T7" fmla="*/ 13 h 87"/>
                <a:gd name="T8" fmla="*/ 37 w 74"/>
                <a:gd name="T9" fmla="*/ 4 h 87"/>
                <a:gd name="T10" fmla="*/ 37 w 74"/>
                <a:gd name="T11" fmla="*/ 0 h 87"/>
                <a:gd name="T12" fmla="*/ 23 w 74"/>
                <a:gd name="T13" fmla="*/ 1 h 87"/>
                <a:gd name="T14" fmla="*/ 11 w 74"/>
                <a:gd name="T15" fmla="*/ 4 h 87"/>
                <a:gd name="T16" fmla="*/ 3 w 74"/>
                <a:gd name="T17" fmla="*/ 9 h 87"/>
                <a:gd name="T18" fmla="*/ 1 w 74"/>
                <a:gd name="T19" fmla="*/ 12 h 87"/>
                <a:gd name="T20" fmla="*/ 0 w 74"/>
                <a:gd name="T21" fmla="*/ 15 h 87"/>
                <a:gd name="T22" fmla="*/ 0 w 74"/>
                <a:gd name="T23" fmla="*/ 72 h 87"/>
                <a:gd name="T24" fmla="*/ 1 w 74"/>
                <a:gd name="T25" fmla="*/ 75 h 87"/>
                <a:gd name="T26" fmla="*/ 3 w 74"/>
                <a:gd name="T27" fmla="*/ 78 h 87"/>
                <a:gd name="T28" fmla="*/ 11 w 74"/>
                <a:gd name="T29" fmla="*/ 83 h 87"/>
                <a:gd name="T30" fmla="*/ 23 w 74"/>
                <a:gd name="T31" fmla="*/ 86 h 87"/>
                <a:gd name="T32" fmla="*/ 37 w 74"/>
                <a:gd name="T33" fmla="*/ 87 h 87"/>
                <a:gd name="T34" fmla="*/ 63 w 74"/>
                <a:gd name="T35" fmla="*/ 83 h 87"/>
                <a:gd name="T36" fmla="*/ 71 w 74"/>
                <a:gd name="T37" fmla="*/ 78 h 87"/>
                <a:gd name="T38" fmla="*/ 73 w 74"/>
                <a:gd name="T39" fmla="*/ 75 h 87"/>
                <a:gd name="T40" fmla="*/ 74 w 74"/>
                <a:gd name="T41" fmla="*/ 72 h 87"/>
                <a:gd name="T42" fmla="*/ 74 w 74"/>
                <a:gd name="T43" fmla="*/ 15 h 87"/>
                <a:gd name="T44" fmla="*/ 71 w 74"/>
                <a:gd name="T45" fmla="*/ 9 h 87"/>
                <a:gd name="T46" fmla="*/ 63 w 74"/>
                <a:gd name="T47" fmla="*/ 4 h 87"/>
                <a:gd name="T48" fmla="*/ 51 w 74"/>
                <a:gd name="T49" fmla="*/ 1 h 87"/>
                <a:gd name="T50" fmla="*/ 37 w 74"/>
                <a:gd name="T51"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4" h="87">
                  <a:moveTo>
                    <a:pt x="37" y="4"/>
                  </a:moveTo>
                  <a:cubicBezTo>
                    <a:pt x="54" y="4"/>
                    <a:pt x="67" y="8"/>
                    <a:pt x="67" y="13"/>
                  </a:cubicBezTo>
                  <a:cubicBezTo>
                    <a:pt x="67" y="18"/>
                    <a:pt x="54" y="22"/>
                    <a:pt x="37" y="22"/>
                  </a:cubicBezTo>
                  <a:cubicBezTo>
                    <a:pt x="20" y="22"/>
                    <a:pt x="6" y="18"/>
                    <a:pt x="6" y="13"/>
                  </a:cubicBezTo>
                  <a:cubicBezTo>
                    <a:pt x="6" y="8"/>
                    <a:pt x="20" y="4"/>
                    <a:pt x="37" y="4"/>
                  </a:cubicBezTo>
                  <a:close/>
                  <a:moveTo>
                    <a:pt x="37" y="0"/>
                  </a:moveTo>
                  <a:cubicBezTo>
                    <a:pt x="23" y="1"/>
                    <a:pt x="23" y="1"/>
                    <a:pt x="23" y="1"/>
                  </a:cubicBezTo>
                  <a:cubicBezTo>
                    <a:pt x="11" y="4"/>
                    <a:pt x="11" y="4"/>
                    <a:pt x="11" y="4"/>
                  </a:cubicBezTo>
                  <a:cubicBezTo>
                    <a:pt x="3" y="9"/>
                    <a:pt x="3" y="9"/>
                    <a:pt x="3" y="9"/>
                  </a:cubicBezTo>
                  <a:cubicBezTo>
                    <a:pt x="1" y="12"/>
                    <a:pt x="1" y="12"/>
                    <a:pt x="1" y="12"/>
                  </a:cubicBezTo>
                  <a:cubicBezTo>
                    <a:pt x="0" y="15"/>
                    <a:pt x="0" y="15"/>
                    <a:pt x="0" y="15"/>
                  </a:cubicBezTo>
                  <a:cubicBezTo>
                    <a:pt x="0" y="72"/>
                    <a:pt x="0" y="72"/>
                    <a:pt x="0" y="72"/>
                  </a:cubicBezTo>
                  <a:cubicBezTo>
                    <a:pt x="1" y="75"/>
                    <a:pt x="1" y="75"/>
                    <a:pt x="1" y="75"/>
                  </a:cubicBezTo>
                  <a:cubicBezTo>
                    <a:pt x="3" y="78"/>
                    <a:pt x="3" y="78"/>
                    <a:pt x="3" y="78"/>
                  </a:cubicBezTo>
                  <a:cubicBezTo>
                    <a:pt x="11" y="83"/>
                    <a:pt x="11" y="83"/>
                    <a:pt x="11" y="83"/>
                  </a:cubicBezTo>
                  <a:cubicBezTo>
                    <a:pt x="23" y="86"/>
                    <a:pt x="23" y="86"/>
                    <a:pt x="23" y="86"/>
                  </a:cubicBezTo>
                  <a:cubicBezTo>
                    <a:pt x="27" y="86"/>
                    <a:pt x="32" y="87"/>
                    <a:pt x="37" y="87"/>
                  </a:cubicBezTo>
                  <a:cubicBezTo>
                    <a:pt x="47" y="87"/>
                    <a:pt x="56" y="85"/>
                    <a:pt x="63" y="83"/>
                  </a:cubicBezTo>
                  <a:cubicBezTo>
                    <a:pt x="66" y="81"/>
                    <a:pt x="69" y="80"/>
                    <a:pt x="71" y="78"/>
                  </a:cubicBezTo>
                  <a:cubicBezTo>
                    <a:pt x="72" y="77"/>
                    <a:pt x="72" y="76"/>
                    <a:pt x="73" y="75"/>
                  </a:cubicBezTo>
                  <a:cubicBezTo>
                    <a:pt x="73" y="74"/>
                    <a:pt x="74" y="73"/>
                    <a:pt x="74" y="72"/>
                  </a:cubicBezTo>
                  <a:cubicBezTo>
                    <a:pt x="74" y="15"/>
                    <a:pt x="74" y="15"/>
                    <a:pt x="74" y="15"/>
                  </a:cubicBezTo>
                  <a:cubicBezTo>
                    <a:pt x="74" y="13"/>
                    <a:pt x="73" y="11"/>
                    <a:pt x="71" y="9"/>
                  </a:cubicBezTo>
                  <a:cubicBezTo>
                    <a:pt x="69" y="7"/>
                    <a:pt x="66" y="6"/>
                    <a:pt x="63" y="4"/>
                  </a:cubicBezTo>
                  <a:cubicBezTo>
                    <a:pt x="60" y="3"/>
                    <a:pt x="56" y="2"/>
                    <a:pt x="51" y="1"/>
                  </a:cubicBezTo>
                  <a:cubicBezTo>
                    <a:pt x="47" y="1"/>
                    <a:pt x="42" y="0"/>
                    <a:pt x="37" y="0"/>
                  </a:cubicBez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23" name="Freeform 148"/>
            <p:cNvSpPr>
              <a:spLocks/>
            </p:cNvSpPr>
            <p:nvPr/>
          </p:nvSpPr>
          <p:spPr bwMode="auto">
            <a:xfrm>
              <a:off x="6389" y="1296"/>
              <a:ext cx="248" cy="110"/>
            </a:xfrm>
            <a:custGeom>
              <a:avLst/>
              <a:gdLst>
                <a:gd name="T0" fmla="*/ 19 w 177"/>
                <a:gd name="T1" fmla="*/ 67 h 79"/>
                <a:gd name="T2" fmla="*/ 37 w 177"/>
                <a:gd name="T3" fmla="*/ 77 h 79"/>
                <a:gd name="T4" fmla="*/ 54 w 177"/>
                <a:gd name="T5" fmla="*/ 67 h 79"/>
                <a:gd name="T6" fmla="*/ 71 w 177"/>
                <a:gd name="T7" fmla="*/ 77 h 79"/>
                <a:gd name="T8" fmla="*/ 89 w 177"/>
                <a:gd name="T9" fmla="*/ 67 h 79"/>
                <a:gd name="T10" fmla="*/ 106 w 177"/>
                <a:gd name="T11" fmla="*/ 77 h 79"/>
                <a:gd name="T12" fmla="*/ 124 w 177"/>
                <a:gd name="T13" fmla="*/ 67 h 79"/>
                <a:gd name="T14" fmla="*/ 141 w 177"/>
                <a:gd name="T15" fmla="*/ 77 h 79"/>
                <a:gd name="T16" fmla="*/ 159 w 177"/>
                <a:gd name="T17" fmla="*/ 67 h 79"/>
                <a:gd name="T18" fmla="*/ 177 w 177"/>
                <a:gd name="T19" fmla="*/ 79 h 79"/>
                <a:gd name="T20" fmla="*/ 89 w 177"/>
                <a:gd name="T21" fmla="*/ 0 h 79"/>
                <a:gd name="T22" fmla="*/ 0 w 177"/>
                <a:gd name="T23" fmla="*/ 79 h 79"/>
                <a:gd name="T24" fmla="*/ 19 w 177"/>
                <a:gd name="T25" fmla="*/ 67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79">
                  <a:moveTo>
                    <a:pt x="19" y="67"/>
                  </a:moveTo>
                  <a:cubicBezTo>
                    <a:pt x="26" y="67"/>
                    <a:pt x="33" y="71"/>
                    <a:pt x="37" y="77"/>
                  </a:cubicBezTo>
                  <a:cubicBezTo>
                    <a:pt x="40" y="71"/>
                    <a:pt x="47" y="67"/>
                    <a:pt x="54" y="67"/>
                  </a:cubicBezTo>
                  <a:cubicBezTo>
                    <a:pt x="61" y="67"/>
                    <a:pt x="68" y="71"/>
                    <a:pt x="71" y="77"/>
                  </a:cubicBezTo>
                  <a:cubicBezTo>
                    <a:pt x="75" y="71"/>
                    <a:pt x="82" y="67"/>
                    <a:pt x="89" y="67"/>
                  </a:cubicBezTo>
                  <a:cubicBezTo>
                    <a:pt x="96" y="67"/>
                    <a:pt x="103" y="71"/>
                    <a:pt x="106" y="77"/>
                  </a:cubicBezTo>
                  <a:cubicBezTo>
                    <a:pt x="110" y="71"/>
                    <a:pt x="116" y="67"/>
                    <a:pt x="124" y="67"/>
                  </a:cubicBezTo>
                  <a:cubicBezTo>
                    <a:pt x="131" y="67"/>
                    <a:pt x="138" y="71"/>
                    <a:pt x="141" y="77"/>
                  </a:cubicBezTo>
                  <a:cubicBezTo>
                    <a:pt x="145" y="71"/>
                    <a:pt x="151" y="67"/>
                    <a:pt x="159" y="67"/>
                  </a:cubicBezTo>
                  <a:cubicBezTo>
                    <a:pt x="167" y="67"/>
                    <a:pt x="174" y="72"/>
                    <a:pt x="177" y="79"/>
                  </a:cubicBezTo>
                  <a:cubicBezTo>
                    <a:pt x="172" y="35"/>
                    <a:pt x="135" y="0"/>
                    <a:pt x="89" y="0"/>
                  </a:cubicBezTo>
                  <a:cubicBezTo>
                    <a:pt x="43" y="0"/>
                    <a:pt x="5" y="35"/>
                    <a:pt x="0" y="79"/>
                  </a:cubicBezTo>
                  <a:cubicBezTo>
                    <a:pt x="4" y="72"/>
                    <a:pt x="11" y="67"/>
                    <a:pt x="19" y="67"/>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24" name="Freeform 149"/>
            <p:cNvSpPr>
              <a:spLocks/>
            </p:cNvSpPr>
            <p:nvPr/>
          </p:nvSpPr>
          <p:spPr bwMode="auto">
            <a:xfrm>
              <a:off x="6389" y="1296"/>
              <a:ext cx="131" cy="110"/>
            </a:xfrm>
            <a:custGeom>
              <a:avLst/>
              <a:gdLst>
                <a:gd name="T0" fmla="*/ 94 w 94"/>
                <a:gd name="T1" fmla="*/ 0 h 79"/>
                <a:gd name="T2" fmla="*/ 89 w 94"/>
                <a:gd name="T3" fmla="*/ 0 h 79"/>
                <a:gd name="T4" fmla="*/ 0 w 94"/>
                <a:gd name="T5" fmla="*/ 79 h 79"/>
                <a:gd name="T6" fmla="*/ 19 w 94"/>
                <a:gd name="T7" fmla="*/ 67 h 79"/>
                <a:gd name="T8" fmla="*/ 36 w 94"/>
                <a:gd name="T9" fmla="*/ 77 h 79"/>
                <a:gd name="T10" fmla="*/ 94 w 94"/>
                <a:gd name="T11" fmla="*/ 0 h 79"/>
              </a:gdLst>
              <a:ahLst/>
              <a:cxnLst>
                <a:cxn ang="0">
                  <a:pos x="T0" y="T1"/>
                </a:cxn>
                <a:cxn ang="0">
                  <a:pos x="T2" y="T3"/>
                </a:cxn>
                <a:cxn ang="0">
                  <a:pos x="T4" y="T5"/>
                </a:cxn>
                <a:cxn ang="0">
                  <a:pos x="T6" y="T7"/>
                </a:cxn>
                <a:cxn ang="0">
                  <a:pos x="T8" y="T9"/>
                </a:cxn>
                <a:cxn ang="0">
                  <a:pos x="T10" y="T11"/>
                </a:cxn>
              </a:cxnLst>
              <a:rect l="0" t="0" r="r" b="b"/>
              <a:pathLst>
                <a:path w="94" h="79">
                  <a:moveTo>
                    <a:pt x="94" y="0"/>
                  </a:moveTo>
                  <a:cubicBezTo>
                    <a:pt x="92" y="0"/>
                    <a:pt x="91" y="0"/>
                    <a:pt x="89" y="0"/>
                  </a:cubicBezTo>
                  <a:cubicBezTo>
                    <a:pt x="43" y="0"/>
                    <a:pt x="5" y="35"/>
                    <a:pt x="0" y="79"/>
                  </a:cubicBezTo>
                  <a:cubicBezTo>
                    <a:pt x="4" y="72"/>
                    <a:pt x="11" y="67"/>
                    <a:pt x="19" y="67"/>
                  </a:cubicBezTo>
                  <a:cubicBezTo>
                    <a:pt x="26" y="67"/>
                    <a:pt x="33" y="71"/>
                    <a:pt x="36" y="77"/>
                  </a:cubicBezTo>
                  <a:cubicBezTo>
                    <a:pt x="41" y="43"/>
                    <a:pt x="63" y="14"/>
                    <a:pt x="94" y="0"/>
                  </a:cubicBez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5" name="Freeform 160"/>
            <p:cNvSpPr>
              <a:spLocks/>
            </p:cNvSpPr>
            <p:nvPr/>
          </p:nvSpPr>
          <p:spPr bwMode="auto">
            <a:xfrm>
              <a:off x="6252" y="458"/>
              <a:ext cx="7" cy="91"/>
            </a:xfrm>
            <a:custGeom>
              <a:avLst/>
              <a:gdLst>
                <a:gd name="T0" fmla="*/ 2 w 5"/>
                <a:gd name="T1" fmla="*/ 0 h 65"/>
                <a:gd name="T2" fmla="*/ 5 w 5"/>
                <a:gd name="T3" fmla="*/ 2 h 65"/>
                <a:gd name="T4" fmla="*/ 5 w 5"/>
                <a:gd name="T5" fmla="*/ 63 h 65"/>
                <a:gd name="T6" fmla="*/ 2 w 5"/>
                <a:gd name="T7" fmla="*/ 65 h 65"/>
                <a:gd name="T8" fmla="*/ 0 w 5"/>
                <a:gd name="T9" fmla="*/ 63 h 65"/>
                <a:gd name="T10" fmla="*/ 0 w 5"/>
                <a:gd name="T11" fmla="*/ 2 h 65"/>
                <a:gd name="T12" fmla="*/ 2 w 5"/>
                <a:gd name="T13" fmla="*/ 0 h 65"/>
              </a:gdLst>
              <a:ahLst/>
              <a:cxnLst>
                <a:cxn ang="0">
                  <a:pos x="T0" y="T1"/>
                </a:cxn>
                <a:cxn ang="0">
                  <a:pos x="T2" y="T3"/>
                </a:cxn>
                <a:cxn ang="0">
                  <a:pos x="T4" y="T5"/>
                </a:cxn>
                <a:cxn ang="0">
                  <a:pos x="T6" y="T7"/>
                </a:cxn>
                <a:cxn ang="0">
                  <a:pos x="T8" y="T9"/>
                </a:cxn>
                <a:cxn ang="0">
                  <a:pos x="T10" y="T11"/>
                </a:cxn>
                <a:cxn ang="0">
                  <a:pos x="T12" y="T13"/>
                </a:cxn>
              </a:cxnLst>
              <a:rect l="0" t="0" r="r" b="b"/>
              <a:pathLst>
                <a:path w="5" h="65">
                  <a:moveTo>
                    <a:pt x="2" y="0"/>
                  </a:moveTo>
                  <a:cubicBezTo>
                    <a:pt x="4" y="0"/>
                    <a:pt x="5" y="1"/>
                    <a:pt x="5" y="2"/>
                  </a:cubicBezTo>
                  <a:cubicBezTo>
                    <a:pt x="5" y="63"/>
                    <a:pt x="5" y="63"/>
                    <a:pt x="5" y="63"/>
                  </a:cubicBezTo>
                  <a:cubicBezTo>
                    <a:pt x="5" y="64"/>
                    <a:pt x="4" y="65"/>
                    <a:pt x="2" y="65"/>
                  </a:cubicBezTo>
                  <a:cubicBezTo>
                    <a:pt x="1" y="65"/>
                    <a:pt x="0" y="64"/>
                    <a:pt x="0" y="63"/>
                  </a:cubicBezTo>
                  <a:cubicBezTo>
                    <a:pt x="0" y="2"/>
                    <a:pt x="0" y="2"/>
                    <a:pt x="0" y="2"/>
                  </a:cubicBezTo>
                  <a:cubicBezTo>
                    <a:pt x="0" y="1"/>
                    <a:pt x="1" y="0"/>
                    <a:pt x="2"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6" name="Freeform 161"/>
            <p:cNvSpPr>
              <a:spLocks/>
            </p:cNvSpPr>
            <p:nvPr/>
          </p:nvSpPr>
          <p:spPr bwMode="auto">
            <a:xfrm>
              <a:off x="6235" y="427"/>
              <a:ext cx="8" cy="122"/>
            </a:xfrm>
            <a:custGeom>
              <a:avLst/>
              <a:gdLst>
                <a:gd name="T0" fmla="*/ 3 w 6"/>
                <a:gd name="T1" fmla="*/ 0 h 87"/>
                <a:gd name="T2" fmla="*/ 6 w 6"/>
                <a:gd name="T3" fmla="*/ 3 h 87"/>
                <a:gd name="T4" fmla="*/ 6 w 6"/>
                <a:gd name="T5" fmla="*/ 85 h 87"/>
                <a:gd name="T6" fmla="*/ 3 w 6"/>
                <a:gd name="T7" fmla="*/ 87 h 87"/>
                <a:gd name="T8" fmla="*/ 0 w 6"/>
                <a:gd name="T9" fmla="*/ 85 h 87"/>
                <a:gd name="T10" fmla="*/ 0 w 6"/>
                <a:gd name="T11" fmla="*/ 3 h 87"/>
                <a:gd name="T12" fmla="*/ 3 w 6"/>
                <a:gd name="T13" fmla="*/ 0 h 87"/>
              </a:gdLst>
              <a:ahLst/>
              <a:cxnLst>
                <a:cxn ang="0">
                  <a:pos x="T0" y="T1"/>
                </a:cxn>
                <a:cxn ang="0">
                  <a:pos x="T2" y="T3"/>
                </a:cxn>
                <a:cxn ang="0">
                  <a:pos x="T4" y="T5"/>
                </a:cxn>
                <a:cxn ang="0">
                  <a:pos x="T6" y="T7"/>
                </a:cxn>
                <a:cxn ang="0">
                  <a:pos x="T8" y="T9"/>
                </a:cxn>
                <a:cxn ang="0">
                  <a:pos x="T10" y="T11"/>
                </a:cxn>
                <a:cxn ang="0">
                  <a:pos x="T12" y="T13"/>
                </a:cxn>
              </a:cxnLst>
              <a:rect l="0" t="0" r="r" b="b"/>
              <a:pathLst>
                <a:path w="6" h="87">
                  <a:moveTo>
                    <a:pt x="3" y="0"/>
                  </a:moveTo>
                  <a:cubicBezTo>
                    <a:pt x="4" y="0"/>
                    <a:pt x="6" y="1"/>
                    <a:pt x="6" y="3"/>
                  </a:cubicBezTo>
                  <a:cubicBezTo>
                    <a:pt x="6" y="85"/>
                    <a:pt x="6" y="85"/>
                    <a:pt x="6" y="85"/>
                  </a:cubicBezTo>
                  <a:cubicBezTo>
                    <a:pt x="6" y="86"/>
                    <a:pt x="4" y="87"/>
                    <a:pt x="3" y="87"/>
                  </a:cubicBezTo>
                  <a:cubicBezTo>
                    <a:pt x="2" y="87"/>
                    <a:pt x="0" y="86"/>
                    <a:pt x="0" y="85"/>
                  </a:cubicBezTo>
                  <a:cubicBezTo>
                    <a:pt x="0" y="3"/>
                    <a:pt x="0" y="3"/>
                    <a:pt x="0" y="3"/>
                  </a:cubicBezTo>
                  <a:cubicBezTo>
                    <a:pt x="0" y="1"/>
                    <a:pt x="2" y="0"/>
                    <a:pt x="3"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7" name="Freeform 162"/>
            <p:cNvSpPr>
              <a:spLocks/>
            </p:cNvSpPr>
            <p:nvPr/>
          </p:nvSpPr>
          <p:spPr bwMode="auto">
            <a:xfrm>
              <a:off x="6220" y="458"/>
              <a:ext cx="7" cy="91"/>
            </a:xfrm>
            <a:custGeom>
              <a:avLst/>
              <a:gdLst>
                <a:gd name="T0" fmla="*/ 2 w 5"/>
                <a:gd name="T1" fmla="*/ 0 h 65"/>
                <a:gd name="T2" fmla="*/ 5 w 5"/>
                <a:gd name="T3" fmla="*/ 2 h 65"/>
                <a:gd name="T4" fmla="*/ 5 w 5"/>
                <a:gd name="T5" fmla="*/ 63 h 65"/>
                <a:gd name="T6" fmla="*/ 2 w 5"/>
                <a:gd name="T7" fmla="*/ 65 h 65"/>
                <a:gd name="T8" fmla="*/ 0 w 5"/>
                <a:gd name="T9" fmla="*/ 63 h 65"/>
                <a:gd name="T10" fmla="*/ 0 w 5"/>
                <a:gd name="T11" fmla="*/ 2 h 65"/>
                <a:gd name="T12" fmla="*/ 2 w 5"/>
                <a:gd name="T13" fmla="*/ 0 h 65"/>
              </a:gdLst>
              <a:ahLst/>
              <a:cxnLst>
                <a:cxn ang="0">
                  <a:pos x="T0" y="T1"/>
                </a:cxn>
                <a:cxn ang="0">
                  <a:pos x="T2" y="T3"/>
                </a:cxn>
                <a:cxn ang="0">
                  <a:pos x="T4" y="T5"/>
                </a:cxn>
                <a:cxn ang="0">
                  <a:pos x="T6" y="T7"/>
                </a:cxn>
                <a:cxn ang="0">
                  <a:pos x="T8" y="T9"/>
                </a:cxn>
                <a:cxn ang="0">
                  <a:pos x="T10" y="T11"/>
                </a:cxn>
                <a:cxn ang="0">
                  <a:pos x="T12" y="T13"/>
                </a:cxn>
              </a:cxnLst>
              <a:rect l="0" t="0" r="r" b="b"/>
              <a:pathLst>
                <a:path w="5" h="65">
                  <a:moveTo>
                    <a:pt x="2" y="0"/>
                  </a:moveTo>
                  <a:cubicBezTo>
                    <a:pt x="4" y="0"/>
                    <a:pt x="5" y="1"/>
                    <a:pt x="5" y="2"/>
                  </a:cubicBezTo>
                  <a:cubicBezTo>
                    <a:pt x="5" y="63"/>
                    <a:pt x="5" y="63"/>
                    <a:pt x="5" y="63"/>
                  </a:cubicBezTo>
                  <a:cubicBezTo>
                    <a:pt x="5" y="64"/>
                    <a:pt x="4" y="65"/>
                    <a:pt x="2" y="65"/>
                  </a:cubicBezTo>
                  <a:cubicBezTo>
                    <a:pt x="1" y="65"/>
                    <a:pt x="0" y="64"/>
                    <a:pt x="0" y="63"/>
                  </a:cubicBezTo>
                  <a:cubicBezTo>
                    <a:pt x="0" y="2"/>
                    <a:pt x="0" y="2"/>
                    <a:pt x="0" y="2"/>
                  </a:cubicBezTo>
                  <a:cubicBezTo>
                    <a:pt x="0" y="1"/>
                    <a:pt x="1" y="0"/>
                    <a:pt x="2"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8" name="Freeform 163"/>
            <p:cNvSpPr>
              <a:spLocks/>
            </p:cNvSpPr>
            <p:nvPr/>
          </p:nvSpPr>
          <p:spPr bwMode="auto">
            <a:xfrm>
              <a:off x="6063" y="684"/>
              <a:ext cx="180" cy="189"/>
            </a:xfrm>
            <a:custGeom>
              <a:avLst/>
              <a:gdLst>
                <a:gd name="T0" fmla="*/ 126 w 129"/>
                <a:gd name="T1" fmla="*/ 135 h 135"/>
                <a:gd name="T2" fmla="*/ 124 w 129"/>
                <a:gd name="T3" fmla="*/ 134 h 135"/>
                <a:gd name="T4" fmla="*/ 1 w 129"/>
                <a:gd name="T5" fmla="*/ 5 h 135"/>
                <a:gd name="T6" fmla="*/ 1 w 129"/>
                <a:gd name="T7" fmla="*/ 1 h 135"/>
                <a:gd name="T8" fmla="*/ 5 w 129"/>
                <a:gd name="T9" fmla="*/ 1 h 135"/>
                <a:gd name="T10" fmla="*/ 128 w 129"/>
                <a:gd name="T11" fmla="*/ 130 h 135"/>
                <a:gd name="T12" fmla="*/ 128 w 129"/>
                <a:gd name="T13" fmla="*/ 134 h 135"/>
                <a:gd name="T14" fmla="*/ 126 w 129"/>
                <a:gd name="T15" fmla="*/ 135 h 1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 h="135">
                  <a:moveTo>
                    <a:pt x="126" y="135"/>
                  </a:moveTo>
                  <a:cubicBezTo>
                    <a:pt x="125" y="135"/>
                    <a:pt x="124" y="135"/>
                    <a:pt x="124" y="134"/>
                  </a:cubicBezTo>
                  <a:cubicBezTo>
                    <a:pt x="1" y="5"/>
                    <a:pt x="1" y="5"/>
                    <a:pt x="1" y="5"/>
                  </a:cubicBezTo>
                  <a:cubicBezTo>
                    <a:pt x="0" y="4"/>
                    <a:pt x="0" y="2"/>
                    <a:pt x="1" y="1"/>
                  </a:cubicBezTo>
                  <a:cubicBezTo>
                    <a:pt x="3" y="0"/>
                    <a:pt x="4" y="0"/>
                    <a:pt x="5" y="1"/>
                  </a:cubicBezTo>
                  <a:cubicBezTo>
                    <a:pt x="128" y="130"/>
                    <a:pt x="128" y="130"/>
                    <a:pt x="128" y="130"/>
                  </a:cubicBezTo>
                  <a:cubicBezTo>
                    <a:pt x="129" y="131"/>
                    <a:pt x="129" y="133"/>
                    <a:pt x="128" y="134"/>
                  </a:cubicBezTo>
                  <a:cubicBezTo>
                    <a:pt x="127" y="135"/>
                    <a:pt x="127" y="135"/>
                    <a:pt x="126" y="13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39" name="Freeform 164"/>
            <p:cNvSpPr>
              <a:spLocks/>
            </p:cNvSpPr>
            <p:nvPr/>
          </p:nvSpPr>
          <p:spPr bwMode="auto">
            <a:xfrm>
              <a:off x="6133" y="680"/>
              <a:ext cx="110" cy="193"/>
            </a:xfrm>
            <a:custGeom>
              <a:avLst/>
              <a:gdLst>
                <a:gd name="T0" fmla="*/ 76 w 79"/>
                <a:gd name="T1" fmla="*/ 138 h 138"/>
                <a:gd name="T2" fmla="*/ 73 w 79"/>
                <a:gd name="T3" fmla="*/ 136 h 138"/>
                <a:gd name="T4" fmla="*/ 1 w 79"/>
                <a:gd name="T5" fmla="*/ 5 h 138"/>
                <a:gd name="T6" fmla="*/ 2 w 79"/>
                <a:gd name="T7" fmla="*/ 1 h 138"/>
                <a:gd name="T8" fmla="*/ 6 w 79"/>
                <a:gd name="T9" fmla="*/ 2 h 138"/>
                <a:gd name="T10" fmla="*/ 78 w 79"/>
                <a:gd name="T11" fmla="*/ 134 h 138"/>
                <a:gd name="T12" fmla="*/ 77 w 79"/>
                <a:gd name="T13" fmla="*/ 138 h 138"/>
                <a:gd name="T14" fmla="*/ 76 w 79"/>
                <a:gd name="T15" fmla="*/ 138 h 1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138">
                  <a:moveTo>
                    <a:pt x="76" y="138"/>
                  </a:moveTo>
                  <a:cubicBezTo>
                    <a:pt x="75" y="138"/>
                    <a:pt x="74" y="137"/>
                    <a:pt x="73" y="136"/>
                  </a:cubicBezTo>
                  <a:cubicBezTo>
                    <a:pt x="1" y="5"/>
                    <a:pt x="1" y="5"/>
                    <a:pt x="1" y="5"/>
                  </a:cubicBezTo>
                  <a:cubicBezTo>
                    <a:pt x="0" y="3"/>
                    <a:pt x="1" y="2"/>
                    <a:pt x="2" y="1"/>
                  </a:cubicBezTo>
                  <a:cubicBezTo>
                    <a:pt x="3" y="0"/>
                    <a:pt x="5" y="1"/>
                    <a:pt x="6" y="2"/>
                  </a:cubicBezTo>
                  <a:cubicBezTo>
                    <a:pt x="78" y="134"/>
                    <a:pt x="78" y="134"/>
                    <a:pt x="78" y="134"/>
                  </a:cubicBezTo>
                  <a:cubicBezTo>
                    <a:pt x="79" y="135"/>
                    <a:pt x="79" y="137"/>
                    <a:pt x="77" y="138"/>
                  </a:cubicBezTo>
                  <a:cubicBezTo>
                    <a:pt x="77" y="138"/>
                    <a:pt x="76" y="138"/>
                    <a:pt x="76" y="138"/>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0" name="Freeform 165"/>
            <p:cNvSpPr>
              <a:spLocks/>
            </p:cNvSpPr>
            <p:nvPr/>
          </p:nvSpPr>
          <p:spPr bwMode="auto">
            <a:xfrm>
              <a:off x="6201" y="680"/>
              <a:ext cx="42" cy="193"/>
            </a:xfrm>
            <a:custGeom>
              <a:avLst/>
              <a:gdLst>
                <a:gd name="T0" fmla="*/ 27 w 30"/>
                <a:gd name="T1" fmla="*/ 138 h 138"/>
                <a:gd name="T2" fmla="*/ 24 w 30"/>
                <a:gd name="T3" fmla="*/ 136 h 138"/>
                <a:gd name="T4" fmla="*/ 0 w 30"/>
                <a:gd name="T5" fmla="*/ 4 h 138"/>
                <a:gd name="T6" fmla="*/ 2 w 30"/>
                <a:gd name="T7" fmla="*/ 1 h 138"/>
                <a:gd name="T8" fmla="*/ 6 w 30"/>
                <a:gd name="T9" fmla="*/ 3 h 138"/>
                <a:gd name="T10" fmla="*/ 30 w 30"/>
                <a:gd name="T11" fmla="*/ 135 h 138"/>
                <a:gd name="T12" fmla="*/ 27 w 30"/>
                <a:gd name="T13" fmla="*/ 138 h 138"/>
                <a:gd name="T14" fmla="*/ 27 w 30"/>
                <a:gd name="T15" fmla="*/ 138 h 1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138">
                  <a:moveTo>
                    <a:pt x="27" y="138"/>
                  </a:moveTo>
                  <a:cubicBezTo>
                    <a:pt x="26" y="138"/>
                    <a:pt x="24" y="137"/>
                    <a:pt x="24" y="136"/>
                  </a:cubicBezTo>
                  <a:cubicBezTo>
                    <a:pt x="0" y="4"/>
                    <a:pt x="0" y="4"/>
                    <a:pt x="0" y="4"/>
                  </a:cubicBezTo>
                  <a:cubicBezTo>
                    <a:pt x="0" y="2"/>
                    <a:pt x="1" y="1"/>
                    <a:pt x="2" y="1"/>
                  </a:cubicBezTo>
                  <a:cubicBezTo>
                    <a:pt x="4" y="0"/>
                    <a:pt x="5" y="1"/>
                    <a:pt x="6" y="3"/>
                  </a:cubicBezTo>
                  <a:cubicBezTo>
                    <a:pt x="30" y="135"/>
                    <a:pt x="30" y="135"/>
                    <a:pt x="30" y="135"/>
                  </a:cubicBezTo>
                  <a:cubicBezTo>
                    <a:pt x="30" y="136"/>
                    <a:pt x="29" y="138"/>
                    <a:pt x="27" y="138"/>
                  </a:cubicBezTo>
                  <a:cubicBezTo>
                    <a:pt x="27" y="138"/>
                    <a:pt x="27" y="138"/>
                    <a:pt x="27" y="138"/>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1" name="Freeform 166"/>
            <p:cNvSpPr>
              <a:spLocks/>
            </p:cNvSpPr>
            <p:nvPr/>
          </p:nvSpPr>
          <p:spPr bwMode="auto">
            <a:xfrm>
              <a:off x="6235" y="680"/>
              <a:ext cx="42" cy="193"/>
            </a:xfrm>
            <a:custGeom>
              <a:avLst/>
              <a:gdLst>
                <a:gd name="T0" fmla="*/ 3 w 30"/>
                <a:gd name="T1" fmla="*/ 138 h 138"/>
                <a:gd name="T2" fmla="*/ 2 w 30"/>
                <a:gd name="T3" fmla="*/ 138 h 138"/>
                <a:gd name="T4" fmla="*/ 0 w 30"/>
                <a:gd name="T5" fmla="*/ 135 h 138"/>
                <a:gd name="T6" fmla="*/ 24 w 30"/>
                <a:gd name="T7" fmla="*/ 3 h 138"/>
                <a:gd name="T8" fmla="*/ 28 w 30"/>
                <a:gd name="T9" fmla="*/ 1 h 138"/>
                <a:gd name="T10" fmla="*/ 30 w 30"/>
                <a:gd name="T11" fmla="*/ 4 h 138"/>
                <a:gd name="T12" fmla="*/ 6 w 30"/>
                <a:gd name="T13" fmla="*/ 136 h 138"/>
                <a:gd name="T14" fmla="*/ 3 w 30"/>
                <a:gd name="T15" fmla="*/ 138 h 1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138">
                  <a:moveTo>
                    <a:pt x="3" y="138"/>
                  </a:moveTo>
                  <a:cubicBezTo>
                    <a:pt x="3" y="138"/>
                    <a:pt x="3" y="138"/>
                    <a:pt x="2" y="138"/>
                  </a:cubicBezTo>
                  <a:cubicBezTo>
                    <a:pt x="1" y="138"/>
                    <a:pt x="0" y="136"/>
                    <a:pt x="0" y="135"/>
                  </a:cubicBezTo>
                  <a:cubicBezTo>
                    <a:pt x="24" y="3"/>
                    <a:pt x="24" y="3"/>
                    <a:pt x="24" y="3"/>
                  </a:cubicBezTo>
                  <a:cubicBezTo>
                    <a:pt x="25" y="1"/>
                    <a:pt x="26" y="0"/>
                    <a:pt x="28" y="1"/>
                  </a:cubicBezTo>
                  <a:cubicBezTo>
                    <a:pt x="29" y="1"/>
                    <a:pt x="30" y="2"/>
                    <a:pt x="30" y="4"/>
                  </a:cubicBezTo>
                  <a:cubicBezTo>
                    <a:pt x="6" y="136"/>
                    <a:pt x="6" y="136"/>
                    <a:pt x="6" y="136"/>
                  </a:cubicBezTo>
                  <a:cubicBezTo>
                    <a:pt x="5" y="137"/>
                    <a:pt x="4" y="138"/>
                    <a:pt x="3" y="138"/>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2" name="Freeform 167"/>
            <p:cNvSpPr>
              <a:spLocks/>
            </p:cNvSpPr>
            <p:nvPr/>
          </p:nvSpPr>
          <p:spPr bwMode="auto">
            <a:xfrm>
              <a:off x="6235" y="680"/>
              <a:ext cx="111" cy="193"/>
            </a:xfrm>
            <a:custGeom>
              <a:avLst/>
              <a:gdLst>
                <a:gd name="T0" fmla="*/ 3 w 79"/>
                <a:gd name="T1" fmla="*/ 138 h 138"/>
                <a:gd name="T2" fmla="*/ 2 w 79"/>
                <a:gd name="T3" fmla="*/ 138 h 138"/>
                <a:gd name="T4" fmla="*/ 0 w 79"/>
                <a:gd name="T5" fmla="*/ 134 h 138"/>
                <a:gd name="T6" fmla="*/ 73 w 79"/>
                <a:gd name="T7" fmla="*/ 2 h 138"/>
                <a:gd name="T8" fmla="*/ 77 w 79"/>
                <a:gd name="T9" fmla="*/ 1 h 138"/>
                <a:gd name="T10" fmla="*/ 78 w 79"/>
                <a:gd name="T11" fmla="*/ 5 h 138"/>
                <a:gd name="T12" fmla="*/ 5 w 79"/>
                <a:gd name="T13" fmla="*/ 136 h 138"/>
                <a:gd name="T14" fmla="*/ 3 w 79"/>
                <a:gd name="T15" fmla="*/ 138 h 1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138">
                  <a:moveTo>
                    <a:pt x="3" y="138"/>
                  </a:moveTo>
                  <a:cubicBezTo>
                    <a:pt x="2" y="138"/>
                    <a:pt x="2" y="138"/>
                    <a:pt x="2" y="138"/>
                  </a:cubicBezTo>
                  <a:cubicBezTo>
                    <a:pt x="0" y="137"/>
                    <a:pt x="0" y="135"/>
                    <a:pt x="0" y="134"/>
                  </a:cubicBezTo>
                  <a:cubicBezTo>
                    <a:pt x="73" y="2"/>
                    <a:pt x="73" y="2"/>
                    <a:pt x="73" y="2"/>
                  </a:cubicBezTo>
                  <a:cubicBezTo>
                    <a:pt x="74" y="1"/>
                    <a:pt x="76" y="0"/>
                    <a:pt x="77" y="1"/>
                  </a:cubicBezTo>
                  <a:cubicBezTo>
                    <a:pt x="78" y="2"/>
                    <a:pt x="79" y="3"/>
                    <a:pt x="78" y="5"/>
                  </a:cubicBezTo>
                  <a:cubicBezTo>
                    <a:pt x="5" y="136"/>
                    <a:pt x="5" y="136"/>
                    <a:pt x="5" y="136"/>
                  </a:cubicBezTo>
                  <a:cubicBezTo>
                    <a:pt x="5" y="137"/>
                    <a:pt x="4" y="138"/>
                    <a:pt x="3" y="138"/>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3" name="Freeform 168"/>
            <p:cNvSpPr>
              <a:spLocks/>
            </p:cNvSpPr>
            <p:nvPr/>
          </p:nvSpPr>
          <p:spPr bwMode="auto">
            <a:xfrm>
              <a:off x="6235" y="684"/>
              <a:ext cx="181" cy="189"/>
            </a:xfrm>
            <a:custGeom>
              <a:avLst/>
              <a:gdLst>
                <a:gd name="T0" fmla="*/ 3 w 129"/>
                <a:gd name="T1" fmla="*/ 135 h 135"/>
                <a:gd name="T2" fmla="*/ 1 w 129"/>
                <a:gd name="T3" fmla="*/ 134 h 135"/>
                <a:gd name="T4" fmla="*/ 1 w 129"/>
                <a:gd name="T5" fmla="*/ 130 h 135"/>
                <a:gd name="T6" fmla="*/ 123 w 129"/>
                <a:gd name="T7" fmla="*/ 1 h 135"/>
                <a:gd name="T8" fmla="*/ 127 w 129"/>
                <a:gd name="T9" fmla="*/ 1 h 135"/>
                <a:gd name="T10" fmla="*/ 128 w 129"/>
                <a:gd name="T11" fmla="*/ 5 h 135"/>
                <a:gd name="T12" fmla="*/ 5 w 129"/>
                <a:gd name="T13" fmla="*/ 134 h 135"/>
                <a:gd name="T14" fmla="*/ 3 w 129"/>
                <a:gd name="T15" fmla="*/ 135 h 1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 h="135">
                  <a:moveTo>
                    <a:pt x="3" y="135"/>
                  </a:moveTo>
                  <a:cubicBezTo>
                    <a:pt x="2" y="135"/>
                    <a:pt x="2" y="135"/>
                    <a:pt x="1" y="134"/>
                  </a:cubicBezTo>
                  <a:cubicBezTo>
                    <a:pt x="0" y="133"/>
                    <a:pt x="0" y="131"/>
                    <a:pt x="1" y="130"/>
                  </a:cubicBezTo>
                  <a:cubicBezTo>
                    <a:pt x="123" y="1"/>
                    <a:pt x="123" y="1"/>
                    <a:pt x="123" y="1"/>
                  </a:cubicBezTo>
                  <a:cubicBezTo>
                    <a:pt x="125" y="0"/>
                    <a:pt x="126" y="0"/>
                    <a:pt x="127" y="1"/>
                  </a:cubicBezTo>
                  <a:cubicBezTo>
                    <a:pt x="129" y="2"/>
                    <a:pt x="129" y="4"/>
                    <a:pt x="128" y="5"/>
                  </a:cubicBezTo>
                  <a:cubicBezTo>
                    <a:pt x="5" y="134"/>
                    <a:pt x="5" y="134"/>
                    <a:pt x="5" y="134"/>
                  </a:cubicBezTo>
                  <a:cubicBezTo>
                    <a:pt x="4" y="135"/>
                    <a:pt x="4" y="135"/>
                    <a:pt x="3" y="135"/>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4" name="Freeform 169"/>
            <p:cNvSpPr>
              <a:spLocks/>
            </p:cNvSpPr>
            <p:nvPr/>
          </p:nvSpPr>
          <p:spPr bwMode="auto">
            <a:xfrm>
              <a:off x="6067" y="536"/>
              <a:ext cx="343" cy="153"/>
            </a:xfrm>
            <a:custGeom>
              <a:avLst/>
              <a:gdLst>
                <a:gd name="T0" fmla="*/ 26 w 245"/>
                <a:gd name="T1" fmla="*/ 93 h 109"/>
                <a:gd name="T2" fmla="*/ 50 w 245"/>
                <a:gd name="T3" fmla="*/ 106 h 109"/>
                <a:gd name="T4" fmla="*/ 75 w 245"/>
                <a:gd name="T5" fmla="*/ 93 h 109"/>
                <a:gd name="T6" fmla="*/ 99 w 245"/>
                <a:gd name="T7" fmla="*/ 106 h 109"/>
                <a:gd name="T8" fmla="*/ 123 w 245"/>
                <a:gd name="T9" fmla="*/ 93 h 109"/>
                <a:gd name="T10" fmla="*/ 147 w 245"/>
                <a:gd name="T11" fmla="*/ 106 h 109"/>
                <a:gd name="T12" fmla="*/ 171 w 245"/>
                <a:gd name="T13" fmla="*/ 93 h 109"/>
                <a:gd name="T14" fmla="*/ 196 w 245"/>
                <a:gd name="T15" fmla="*/ 106 h 109"/>
                <a:gd name="T16" fmla="*/ 220 w 245"/>
                <a:gd name="T17" fmla="*/ 93 h 109"/>
                <a:gd name="T18" fmla="*/ 245 w 245"/>
                <a:gd name="T19" fmla="*/ 109 h 109"/>
                <a:gd name="T20" fmla="*/ 123 w 245"/>
                <a:gd name="T21" fmla="*/ 0 h 109"/>
                <a:gd name="T22" fmla="*/ 0 w 245"/>
                <a:gd name="T23" fmla="*/ 109 h 109"/>
                <a:gd name="T24" fmla="*/ 26 w 245"/>
                <a:gd name="T25" fmla="*/ 9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5" h="109">
                  <a:moveTo>
                    <a:pt x="26" y="93"/>
                  </a:moveTo>
                  <a:cubicBezTo>
                    <a:pt x="36" y="93"/>
                    <a:pt x="45" y="98"/>
                    <a:pt x="50" y="106"/>
                  </a:cubicBezTo>
                  <a:cubicBezTo>
                    <a:pt x="55" y="98"/>
                    <a:pt x="64" y="93"/>
                    <a:pt x="75" y="93"/>
                  </a:cubicBezTo>
                  <a:cubicBezTo>
                    <a:pt x="85" y="93"/>
                    <a:pt x="94" y="98"/>
                    <a:pt x="99" y="106"/>
                  </a:cubicBezTo>
                  <a:cubicBezTo>
                    <a:pt x="104" y="98"/>
                    <a:pt x="113" y="93"/>
                    <a:pt x="123" y="93"/>
                  </a:cubicBezTo>
                  <a:cubicBezTo>
                    <a:pt x="133" y="93"/>
                    <a:pt x="142" y="98"/>
                    <a:pt x="147" y="106"/>
                  </a:cubicBezTo>
                  <a:cubicBezTo>
                    <a:pt x="152" y="98"/>
                    <a:pt x="161" y="93"/>
                    <a:pt x="171" y="93"/>
                  </a:cubicBezTo>
                  <a:cubicBezTo>
                    <a:pt x="182" y="93"/>
                    <a:pt x="190" y="98"/>
                    <a:pt x="196" y="106"/>
                  </a:cubicBezTo>
                  <a:cubicBezTo>
                    <a:pt x="201" y="98"/>
                    <a:pt x="210" y="93"/>
                    <a:pt x="220" y="93"/>
                  </a:cubicBezTo>
                  <a:cubicBezTo>
                    <a:pt x="231" y="93"/>
                    <a:pt x="241" y="100"/>
                    <a:pt x="245" y="109"/>
                  </a:cubicBezTo>
                  <a:cubicBezTo>
                    <a:pt x="239" y="48"/>
                    <a:pt x="186" y="0"/>
                    <a:pt x="123" y="0"/>
                  </a:cubicBezTo>
                  <a:cubicBezTo>
                    <a:pt x="60" y="0"/>
                    <a:pt x="7" y="48"/>
                    <a:pt x="0" y="109"/>
                  </a:cubicBezTo>
                  <a:cubicBezTo>
                    <a:pt x="5" y="100"/>
                    <a:pt x="15" y="93"/>
                    <a:pt x="26" y="93"/>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5" name="Freeform 170"/>
            <p:cNvSpPr>
              <a:spLocks/>
            </p:cNvSpPr>
            <p:nvPr/>
          </p:nvSpPr>
          <p:spPr bwMode="auto">
            <a:xfrm>
              <a:off x="6067" y="536"/>
              <a:ext cx="182" cy="153"/>
            </a:xfrm>
            <a:custGeom>
              <a:avLst/>
              <a:gdLst>
                <a:gd name="T0" fmla="*/ 130 w 130"/>
                <a:gd name="T1" fmla="*/ 0 h 109"/>
                <a:gd name="T2" fmla="*/ 123 w 130"/>
                <a:gd name="T3" fmla="*/ 0 h 109"/>
                <a:gd name="T4" fmla="*/ 0 w 130"/>
                <a:gd name="T5" fmla="*/ 109 h 109"/>
                <a:gd name="T6" fmla="*/ 26 w 130"/>
                <a:gd name="T7" fmla="*/ 93 h 109"/>
                <a:gd name="T8" fmla="*/ 50 w 130"/>
                <a:gd name="T9" fmla="*/ 106 h 109"/>
                <a:gd name="T10" fmla="*/ 130 w 130"/>
                <a:gd name="T11" fmla="*/ 0 h 109"/>
              </a:gdLst>
              <a:ahLst/>
              <a:cxnLst>
                <a:cxn ang="0">
                  <a:pos x="T0" y="T1"/>
                </a:cxn>
                <a:cxn ang="0">
                  <a:pos x="T2" y="T3"/>
                </a:cxn>
                <a:cxn ang="0">
                  <a:pos x="T4" y="T5"/>
                </a:cxn>
                <a:cxn ang="0">
                  <a:pos x="T6" y="T7"/>
                </a:cxn>
                <a:cxn ang="0">
                  <a:pos x="T8" y="T9"/>
                </a:cxn>
                <a:cxn ang="0">
                  <a:pos x="T10" y="T11"/>
                </a:cxn>
              </a:cxnLst>
              <a:rect l="0" t="0" r="r" b="b"/>
              <a:pathLst>
                <a:path w="130" h="109">
                  <a:moveTo>
                    <a:pt x="130" y="0"/>
                  </a:moveTo>
                  <a:cubicBezTo>
                    <a:pt x="128" y="0"/>
                    <a:pt x="125" y="0"/>
                    <a:pt x="123" y="0"/>
                  </a:cubicBezTo>
                  <a:cubicBezTo>
                    <a:pt x="60" y="0"/>
                    <a:pt x="7" y="48"/>
                    <a:pt x="0" y="109"/>
                  </a:cubicBezTo>
                  <a:cubicBezTo>
                    <a:pt x="5" y="100"/>
                    <a:pt x="15" y="93"/>
                    <a:pt x="26" y="93"/>
                  </a:cubicBezTo>
                  <a:cubicBezTo>
                    <a:pt x="36" y="93"/>
                    <a:pt x="45" y="98"/>
                    <a:pt x="50" y="106"/>
                  </a:cubicBezTo>
                  <a:cubicBezTo>
                    <a:pt x="57" y="59"/>
                    <a:pt x="88" y="19"/>
                    <a:pt x="130" y="0"/>
                  </a:cubicBez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6" name="Freeform 171"/>
            <p:cNvSpPr>
              <a:spLocks/>
            </p:cNvSpPr>
            <p:nvPr/>
          </p:nvSpPr>
          <p:spPr bwMode="auto">
            <a:xfrm>
              <a:off x="6173" y="948"/>
              <a:ext cx="112" cy="15"/>
            </a:xfrm>
            <a:custGeom>
              <a:avLst/>
              <a:gdLst>
                <a:gd name="T0" fmla="*/ 105 w 112"/>
                <a:gd name="T1" fmla="*/ 15 h 15"/>
                <a:gd name="T2" fmla="*/ 7 w 112"/>
                <a:gd name="T3" fmla="*/ 15 h 15"/>
                <a:gd name="T4" fmla="*/ 7 w 112"/>
                <a:gd name="T5" fmla="*/ 15 h 15"/>
                <a:gd name="T6" fmla="*/ 5 w 112"/>
                <a:gd name="T7" fmla="*/ 15 h 15"/>
                <a:gd name="T8" fmla="*/ 3 w 112"/>
                <a:gd name="T9" fmla="*/ 12 h 15"/>
                <a:gd name="T10" fmla="*/ 0 w 112"/>
                <a:gd name="T11" fmla="*/ 7 h 15"/>
                <a:gd name="T12" fmla="*/ 0 w 112"/>
                <a:gd name="T13" fmla="*/ 7 h 15"/>
                <a:gd name="T14" fmla="*/ 3 w 112"/>
                <a:gd name="T15" fmla="*/ 2 h 15"/>
                <a:gd name="T16" fmla="*/ 5 w 112"/>
                <a:gd name="T17" fmla="*/ 1 h 15"/>
                <a:gd name="T18" fmla="*/ 7 w 112"/>
                <a:gd name="T19" fmla="*/ 0 h 15"/>
                <a:gd name="T20" fmla="*/ 105 w 112"/>
                <a:gd name="T21" fmla="*/ 0 h 15"/>
                <a:gd name="T22" fmla="*/ 105 w 112"/>
                <a:gd name="T23" fmla="*/ 0 h 15"/>
                <a:gd name="T24" fmla="*/ 108 w 112"/>
                <a:gd name="T25" fmla="*/ 1 h 15"/>
                <a:gd name="T26" fmla="*/ 110 w 112"/>
                <a:gd name="T27" fmla="*/ 2 h 15"/>
                <a:gd name="T28" fmla="*/ 112 w 112"/>
                <a:gd name="T29" fmla="*/ 7 h 15"/>
                <a:gd name="T30" fmla="*/ 112 w 112"/>
                <a:gd name="T31" fmla="*/ 7 h 15"/>
                <a:gd name="T32" fmla="*/ 112 w 112"/>
                <a:gd name="T33" fmla="*/ 11 h 15"/>
                <a:gd name="T34" fmla="*/ 110 w 112"/>
                <a:gd name="T35" fmla="*/ 12 h 15"/>
                <a:gd name="T36" fmla="*/ 108 w 112"/>
                <a:gd name="T37" fmla="*/ 15 h 15"/>
                <a:gd name="T38" fmla="*/ 105 w 112"/>
                <a:gd name="T39" fmla="*/ 15 h 15"/>
                <a:gd name="T40" fmla="*/ 105 w 112"/>
                <a:gd name="T41" fmla="*/ 15 h 15"/>
                <a:gd name="T42" fmla="*/ 105 w 112"/>
                <a:gd name="T43" fmla="*/ 15 h 15"/>
                <a:gd name="T44" fmla="*/ 105 w 112"/>
                <a:gd name="T45"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15">
                  <a:moveTo>
                    <a:pt x="105" y="15"/>
                  </a:moveTo>
                  <a:lnTo>
                    <a:pt x="7" y="15"/>
                  </a:lnTo>
                  <a:lnTo>
                    <a:pt x="7" y="15"/>
                  </a:lnTo>
                  <a:lnTo>
                    <a:pt x="5" y="15"/>
                  </a:lnTo>
                  <a:lnTo>
                    <a:pt x="3" y="12"/>
                  </a:lnTo>
                  <a:lnTo>
                    <a:pt x="0" y="7"/>
                  </a:lnTo>
                  <a:lnTo>
                    <a:pt x="0" y="7"/>
                  </a:lnTo>
                  <a:lnTo>
                    <a:pt x="3" y="2"/>
                  </a:lnTo>
                  <a:lnTo>
                    <a:pt x="5" y="1"/>
                  </a:lnTo>
                  <a:lnTo>
                    <a:pt x="7" y="0"/>
                  </a:lnTo>
                  <a:lnTo>
                    <a:pt x="105" y="0"/>
                  </a:lnTo>
                  <a:lnTo>
                    <a:pt x="105" y="0"/>
                  </a:lnTo>
                  <a:lnTo>
                    <a:pt x="108" y="1"/>
                  </a:lnTo>
                  <a:lnTo>
                    <a:pt x="110" y="2"/>
                  </a:lnTo>
                  <a:lnTo>
                    <a:pt x="112" y="7"/>
                  </a:lnTo>
                  <a:lnTo>
                    <a:pt x="112" y="7"/>
                  </a:lnTo>
                  <a:lnTo>
                    <a:pt x="112" y="11"/>
                  </a:lnTo>
                  <a:lnTo>
                    <a:pt x="110" y="12"/>
                  </a:lnTo>
                  <a:lnTo>
                    <a:pt x="108" y="15"/>
                  </a:lnTo>
                  <a:lnTo>
                    <a:pt x="105" y="15"/>
                  </a:lnTo>
                  <a:lnTo>
                    <a:pt x="105" y="15"/>
                  </a:lnTo>
                  <a:lnTo>
                    <a:pt x="105" y="15"/>
                  </a:lnTo>
                  <a:lnTo>
                    <a:pt x="105" y="15"/>
                  </a:ln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7" name="Freeform 172"/>
            <p:cNvSpPr>
              <a:spLocks/>
            </p:cNvSpPr>
            <p:nvPr/>
          </p:nvSpPr>
          <p:spPr bwMode="auto">
            <a:xfrm>
              <a:off x="6218" y="917"/>
              <a:ext cx="67" cy="15"/>
            </a:xfrm>
            <a:custGeom>
              <a:avLst/>
              <a:gdLst>
                <a:gd name="T0" fmla="*/ 60 w 67"/>
                <a:gd name="T1" fmla="*/ 15 h 15"/>
                <a:gd name="T2" fmla="*/ 7 w 67"/>
                <a:gd name="T3" fmla="*/ 15 h 15"/>
                <a:gd name="T4" fmla="*/ 7 w 67"/>
                <a:gd name="T5" fmla="*/ 15 h 15"/>
                <a:gd name="T6" fmla="*/ 3 w 67"/>
                <a:gd name="T7" fmla="*/ 14 h 15"/>
                <a:gd name="T8" fmla="*/ 2 w 67"/>
                <a:gd name="T9" fmla="*/ 14 h 15"/>
                <a:gd name="T10" fmla="*/ 0 w 67"/>
                <a:gd name="T11" fmla="*/ 10 h 15"/>
                <a:gd name="T12" fmla="*/ 0 w 67"/>
                <a:gd name="T13" fmla="*/ 8 h 15"/>
                <a:gd name="T14" fmla="*/ 0 w 67"/>
                <a:gd name="T15" fmla="*/ 8 h 15"/>
                <a:gd name="T16" fmla="*/ 0 w 67"/>
                <a:gd name="T17" fmla="*/ 4 h 15"/>
                <a:gd name="T18" fmla="*/ 2 w 67"/>
                <a:gd name="T19" fmla="*/ 3 h 15"/>
                <a:gd name="T20" fmla="*/ 7 w 67"/>
                <a:gd name="T21" fmla="*/ 0 h 15"/>
                <a:gd name="T22" fmla="*/ 60 w 67"/>
                <a:gd name="T23" fmla="*/ 0 h 15"/>
                <a:gd name="T24" fmla="*/ 60 w 67"/>
                <a:gd name="T25" fmla="*/ 0 h 15"/>
                <a:gd name="T26" fmla="*/ 63 w 67"/>
                <a:gd name="T27" fmla="*/ 0 h 15"/>
                <a:gd name="T28" fmla="*/ 65 w 67"/>
                <a:gd name="T29" fmla="*/ 3 h 15"/>
                <a:gd name="T30" fmla="*/ 67 w 67"/>
                <a:gd name="T31" fmla="*/ 4 h 15"/>
                <a:gd name="T32" fmla="*/ 67 w 67"/>
                <a:gd name="T33" fmla="*/ 8 h 15"/>
                <a:gd name="T34" fmla="*/ 67 w 67"/>
                <a:gd name="T35" fmla="*/ 8 h 15"/>
                <a:gd name="T36" fmla="*/ 67 w 67"/>
                <a:gd name="T37" fmla="*/ 10 h 15"/>
                <a:gd name="T38" fmla="*/ 65 w 67"/>
                <a:gd name="T39" fmla="*/ 14 h 15"/>
                <a:gd name="T40" fmla="*/ 63 w 67"/>
                <a:gd name="T41" fmla="*/ 14 h 15"/>
                <a:gd name="T42" fmla="*/ 60 w 67"/>
                <a:gd name="T43" fmla="*/ 15 h 15"/>
                <a:gd name="T44" fmla="*/ 60 w 67"/>
                <a:gd name="T45" fmla="*/ 15 h 15"/>
                <a:gd name="T46" fmla="*/ 60 w 67"/>
                <a:gd name="T47" fmla="*/ 15 h 15"/>
                <a:gd name="T48" fmla="*/ 60 w 67"/>
                <a:gd name="T49"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7" h="15">
                  <a:moveTo>
                    <a:pt x="60" y="15"/>
                  </a:moveTo>
                  <a:lnTo>
                    <a:pt x="7" y="15"/>
                  </a:lnTo>
                  <a:lnTo>
                    <a:pt x="7" y="15"/>
                  </a:lnTo>
                  <a:lnTo>
                    <a:pt x="3" y="14"/>
                  </a:lnTo>
                  <a:lnTo>
                    <a:pt x="2" y="14"/>
                  </a:lnTo>
                  <a:lnTo>
                    <a:pt x="0" y="10"/>
                  </a:lnTo>
                  <a:lnTo>
                    <a:pt x="0" y="8"/>
                  </a:lnTo>
                  <a:lnTo>
                    <a:pt x="0" y="8"/>
                  </a:lnTo>
                  <a:lnTo>
                    <a:pt x="0" y="4"/>
                  </a:lnTo>
                  <a:lnTo>
                    <a:pt x="2" y="3"/>
                  </a:lnTo>
                  <a:lnTo>
                    <a:pt x="7" y="0"/>
                  </a:lnTo>
                  <a:lnTo>
                    <a:pt x="60" y="0"/>
                  </a:lnTo>
                  <a:lnTo>
                    <a:pt x="60" y="0"/>
                  </a:lnTo>
                  <a:lnTo>
                    <a:pt x="63" y="0"/>
                  </a:lnTo>
                  <a:lnTo>
                    <a:pt x="65" y="3"/>
                  </a:lnTo>
                  <a:lnTo>
                    <a:pt x="67" y="4"/>
                  </a:lnTo>
                  <a:lnTo>
                    <a:pt x="67" y="8"/>
                  </a:lnTo>
                  <a:lnTo>
                    <a:pt x="67" y="8"/>
                  </a:lnTo>
                  <a:lnTo>
                    <a:pt x="67" y="10"/>
                  </a:lnTo>
                  <a:lnTo>
                    <a:pt x="65" y="14"/>
                  </a:lnTo>
                  <a:lnTo>
                    <a:pt x="63" y="14"/>
                  </a:lnTo>
                  <a:lnTo>
                    <a:pt x="60" y="15"/>
                  </a:lnTo>
                  <a:lnTo>
                    <a:pt x="60" y="15"/>
                  </a:lnTo>
                  <a:lnTo>
                    <a:pt x="60" y="15"/>
                  </a:lnTo>
                  <a:lnTo>
                    <a:pt x="60" y="15"/>
                  </a:ln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8" name="Freeform 173"/>
            <p:cNvSpPr>
              <a:spLocks/>
            </p:cNvSpPr>
            <p:nvPr/>
          </p:nvSpPr>
          <p:spPr bwMode="auto">
            <a:xfrm>
              <a:off x="6173" y="980"/>
              <a:ext cx="112" cy="15"/>
            </a:xfrm>
            <a:custGeom>
              <a:avLst/>
              <a:gdLst>
                <a:gd name="T0" fmla="*/ 105 w 112"/>
                <a:gd name="T1" fmla="*/ 15 h 15"/>
                <a:gd name="T2" fmla="*/ 7 w 112"/>
                <a:gd name="T3" fmla="*/ 15 h 15"/>
                <a:gd name="T4" fmla="*/ 7 w 112"/>
                <a:gd name="T5" fmla="*/ 15 h 15"/>
                <a:gd name="T6" fmla="*/ 5 w 112"/>
                <a:gd name="T7" fmla="*/ 12 h 15"/>
                <a:gd name="T8" fmla="*/ 3 w 112"/>
                <a:gd name="T9" fmla="*/ 11 h 15"/>
                <a:gd name="T10" fmla="*/ 0 w 112"/>
                <a:gd name="T11" fmla="*/ 7 h 15"/>
                <a:gd name="T12" fmla="*/ 0 w 112"/>
                <a:gd name="T13" fmla="*/ 7 h 15"/>
                <a:gd name="T14" fmla="*/ 3 w 112"/>
                <a:gd name="T15" fmla="*/ 1 h 15"/>
                <a:gd name="T16" fmla="*/ 5 w 112"/>
                <a:gd name="T17" fmla="*/ 0 h 15"/>
                <a:gd name="T18" fmla="*/ 7 w 112"/>
                <a:gd name="T19" fmla="*/ 0 h 15"/>
                <a:gd name="T20" fmla="*/ 105 w 112"/>
                <a:gd name="T21" fmla="*/ 0 h 15"/>
                <a:gd name="T22" fmla="*/ 105 w 112"/>
                <a:gd name="T23" fmla="*/ 0 h 15"/>
                <a:gd name="T24" fmla="*/ 108 w 112"/>
                <a:gd name="T25" fmla="*/ 0 h 15"/>
                <a:gd name="T26" fmla="*/ 110 w 112"/>
                <a:gd name="T27" fmla="*/ 1 h 15"/>
                <a:gd name="T28" fmla="*/ 112 w 112"/>
                <a:gd name="T29" fmla="*/ 4 h 15"/>
                <a:gd name="T30" fmla="*/ 112 w 112"/>
                <a:gd name="T31" fmla="*/ 7 h 15"/>
                <a:gd name="T32" fmla="*/ 112 w 112"/>
                <a:gd name="T33" fmla="*/ 7 h 15"/>
                <a:gd name="T34" fmla="*/ 110 w 112"/>
                <a:gd name="T35" fmla="*/ 11 h 15"/>
                <a:gd name="T36" fmla="*/ 108 w 112"/>
                <a:gd name="T37" fmla="*/ 12 h 15"/>
                <a:gd name="T38" fmla="*/ 105 w 112"/>
                <a:gd name="T39" fmla="*/ 15 h 15"/>
                <a:gd name="T40" fmla="*/ 105 w 112"/>
                <a:gd name="T41" fmla="*/ 15 h 15"/>
                <a:gd name="T42" fmla="*/ 105 w 112"/>
                <a:gd name="T43" fmla="*/ 15 h 15"/>
                <a:gd name="T44" fmla="*/ 105 w 112"/>
                <a:gd name="T45"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 h="15">
                  <a:moveTo>
                    <a:pt x="105" y="15"/>
                  </a:moveTo>
                  <a:lnTo>
                    <a:pt x="7" y="15"/>
                  </a:lnTo>
                  <a:lnTo>
                    <a:pt x="7" y="15"/>
                  </a:lnTo>
                  <a:lnTo>
                    <a:pt x="5" y="12"/>
                  </a:lnTo>
                  <a:lnTo>
                    <a:pt x="3" y="11"/>
                  </a:lnTo>
                  <a:lnTo>
                    <a:pt x="0" y="7"/>
                  </a:lnTo>
                  <a:lnTo>
                    <a:pt x="0" y="7"/>
                  </a:lnTo>
                  <a:lnTo>
                    <a:pt x="3" y="1"/>
                  </a:lnTo>
                  <a:lnTo>
                    <a:pt x="5" y="0"/>
                  </a:lnTo>
                  <a:lnTo>
                    <a:pt x="7" y="0"/>
                  </a:lnTo>
                  <a:lnTo>
                    <a:pt x="105" y="0"/>
                  </a:lnTo>
                  <a:lnTo>
                    <a:pt x="105" y="0"/>
                  </a:lnTo>
                  <a:lnTo>
                    <a:pt x="108" y="0"/>
                  </a:lnTo>
                  <a:lnTo>
                    <a:pt x="110" y="1"/>
                  </a:lnTo>
                  <a:lnTo>
                    <a:pt x="112" y="4"/>
                  </a:lnTo>
                  <a:lnTo>
                    <a:pt x="112" y="7"/>
                  </a:lnTo>
                  <a:lnTo>
                    <a:pt x="112" y="7"/>
                  </a:lnTo>
                  <a:lnTo>
                    <a:pt x="110" y="11"/>
                  </a:lnTo>
                  <a:lnTo>
                    <a:pt x="108" y="12"/>
                  </a:lnTo>
                  <a:lnTo>
                    <a:pt x="105" y="15"/>
                  </a:lnTo>
                  <a:lnTo>
                    <a:pt x="105" y="15"/>
                  </a:lnTo>
                  <a:lnTo>
                    <a:pt x="105" y="15"/>
                  </a:lnTo>
                  <a:lnTo>
                    <a:pt x="105" y="15"/>
                  </a:ln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49" name="Freeform 174"/>
            <p:cNvSpPr>
              <a:spLocks/>
            </p:cNvSpPr>
            <p:nvPr/>
          </p:nvSpPr>
          <p:spPr bwMode="auto">
            <a:xfrm>
              <a:off x="6173" y="1009"/>
              <a:ext cx="112" cy="16"/>
            </a:xfrm>
            <a:custGeom>
              <a:avLst/>
              <a:gdLst>
                <a:gd name="T0" fmla="*/ 105 w 112"/>
                <a:gd name="T1" fmla="*/ 16 h 16"/>
                <a:gd name="T2" fmla="*/ 7 w 112"/>
                <a:gd name="T3" fmla="*/ 16 h 16"/>
                <a:gd name="T4" fmla="*/ 7 w 112"/>
                <a:gd name="T5" fmla="*/ 16 h 16"/>
                <a:gd name="T6" fmla="*/ 5 w 112"/>
                <a:gd name="T7" fmla="*/ 16 h 16"/>
                <a:gd name="T8" fmla="*/ 3 w 112"/>
                <a:gd name="T9" fmla="*/ 14 h 16"/>
                <a:gd name="T10" fmla="*/ 2 w 112"/>
                <a:gd name="T11" fmla="*/ 13 h 16"/>
                <a:gd name="T12" fmla="*/ 0 w 112"/>
                <a:gd name="T13" fmla="*/ 9 h 16"/>
                <a:gd name="T14" fmla="*/ 0 w 112"/>
                <a:gd name="T15" fmla="*/ 9 h 16"/>
                <a:gd name="T16" fmla="*/ 3 w 112"/>
                <a:gd name="T17" fmla="*/ 3 h 16"/>
                <a:gd name="T18" fmla="*/ 5 w 112"/>
                <a:gd name="T19" fmla="*/ 3 h 16"/>
                <a:gd name="T20" fmla="*/ 7 w 112"/>
                <a:gd name="T21" fmla="*/ 0 h 16"/>
                <a:gd name="T22" fmla="*/ 105 w 112"/>
                <a:gd name="T23" fmla="*/ 0 h 16"/>
                <a:gd name="T24" fmla="*/ 105 w 112"/>
                <a:gd name="T25" fmla="*/ 0 h 16"/>
                <a:gd name="T26" fmla="*/ 108 w 112"/>
                <a:gd name="T27" fmla="*/ 3 h 16"/>
                <a:gd name="T28" fmla="*/ 110 w 112"/>
                <a:gd name="T29" fmla="*/ 3 h 16"/>
                <a:gd name="T30" fmla="*/ 112 w 112"/>
                <a:gd name="T31" fmla="*/ 6 h 16"/>
                <a:gd name="T32" fmla="*/ 112 w 112"/>
                <a:gd name="T33" fmla="*/ 9 h 16"/>
                <a:gd name="T34" fmla="*/ 112 w 112"/>
                <a:gd name="T35" fmla="*/ 9 h 16"/>
                <a:gd name="T36" fmla="*/ 112 w 112"/>
                <a:gd name="T37" fmla="*/ 13 h 16"/>
                <a:gd name="T38" fmla="*/ 110 w 112"/>
                <a:gd name="T39" fmla="*/ 14 h 16"/>
                <a:gd name="T40" fmla="*/ 108 w 112"/>
                <a:gd name="T41" fmla="*/ 16 h 16"/>
                <a:gd name="T42" fmla="*/ 105 w 112"/>
                <a:gd name="T43" fmla="*/ 16 h 16"/>
                <a:gd name="T44" fmla="*/ 105 w 112"/>
                <a:gd name="T45" fmla="*/ 16 h 16"/>
                <a:gd name="T46" fmla="*/ 105 w 112"/>
                <a:gd name="T47" fmla="*/ 16 h 16"/>
                <a:gd name="T48" fmla="*/ 105 w 112"/>
                <a:gd name="T49"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2" h="16">
                  <a:moveTo>
                    <a:pt x="105" y="16"/>
                  </a:moveTo>
                  <a:lnTo>
                    <a:pt x="7" y="16"/>
                  </a:lnTo>
                  <a:lnTo>
                    <a:pt x="7" y="16"/>
                  </a:lnTo>
                  <a:lnTo>
                    <a:pt x="5" y="16"/>
                  </a:lnTo>
                  <a:lnTo>
                    <a:pt x="3" y="14"/>
                  </a:lnTo>
                  <a:lnTo>
                    <a:pt x="2" y="13"/>
                  </a:lnTo>
                  <a:lnTo>
                    <a:pt x="0" y="9"/>
                  </a:lnTo>
                  <a:lnTo>
                    <a:pt x="0" y="9"/>
                  </a:lnTo>
                  <a:lnTo>
                    <a:pt x="3" y="3"/>
                  </a:lnTo>
                  <a:lnTo>
                    <a:pt x="5" y="3"/>
                  </a:lnTo>
                  <a:lnTo>
                    <a:pt x="7" y="0"/>
                  </a:lnTo>
                  <a:lnTo>
                    <a:pt x="105" y="0"/>
                  </a:lnTo>
                  <a:lnTo>
                    <a:pt x="105" y="0"/>
                  </a:lnTo>
                  <a:lnTo>
                    <a:pt x="108" y="3"/>
                  </a:lnTo>
                  <a:lnTo>
                    <a:pt x="110" y="3"/>
                  </a:lnTo>
                  <a:lnTo>
                    <a:pt x="112" y="6"/>
                  </a:lnTo>
                  <a:lnTo>
                    <a:pt x="112" y="9"/>
                  </a:lnTo>
                  <a:lnTo>
                    <a:pt x="112" y="9"/>
                  </a:lnTo>
                  <a:lnTo>
                    <a:pt x="112" y="13"/>
                  </a:lnTo>
                  <a:lnTo>
                    <a:pt x="110" y="14"/>
                  </a:lnTo>
                  <a:lnTo>
                    <a:pt x="108" y="16"/>
                  </a:lnTo>
                  <a:lnTo>
                    <a:pt x="105" y="16"/>
                  </a:lnTo>
                  <a:lnTo>
                    <a:pt x="105" y="16"/>
                  </a:lnTo>
                  <a:lnTo>
                    <a:pt x="105" y="16"/>
                  </a:lnTo>
                  <a:lnTo>
                    <a:pt x="105" y="16"/>
                  </a:ln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50" name="Freeform 175"/>
            <p:cNvSpPr>
              <a:spLocks noEditPoints="1"/>
            </p:cNvSpPr>
            <p:nvPr/>
          </p:nvSpPr>
          <p:spPr bwMode="auto">
            <a:xfrm>
              <a:off x="6140" y="857"/>
              <a:ext cx="179" cy="221"/>
            </a:xfrm>
            <a:custGeom>
              <a:avLst/>
              <a:gdLst>
                <a:gd name="T0" fmla="*/ 162 w 179"/>
                <a:gd name="T1" fmla="*/ 0 h 221"/>
                <a:gd name="T2" fmla="*/ 57 w 179"/>
                <a:gd name="T3" fmla="*/ 0 h 221"/>
                <a:gd name="T4" fmla="*/ 0 w 179"/>
                <a:gd name="T5" fmla="*/ 54 h 221"/>
                <a:gd name="T6" fmla="*/ 0 w 179"/>
                <a:gd name="T7" fmla="*/ 201 h 221"/>
                <a:gd name="T8" fmla="*/ 0 w 179"/>
                <a:gd name="T9" fmla="*/ 201 h 221"/>
                <a:gd name="T10" fmla="*/ 1 w 179"/>
                <a:gd name="T11" fmla="*/ 210 h 221"/>
                <a:gd name="T12" fmla="*/ 4 w 179"/>
                <a:gd name="T13" fmla="*/ 215 h 221"/>
                <a:gd name="T14" fmla="*/ 10 w 179"/>
                <a:gd name="T15" fmla="*/ 220 h 221"/>
                <a:gd name="T16" fmla="*/ 17 w 179"/>
                <a:gd name="T17" fmla="*/ 221 h 221"/>
                <a:gd name="T18" fmla="*/ 179 w 179"/>
                <a:gd name="T19" fmla="*/ 221 h 221"/>
                <a:gd name="T20" fmla="*/ 179 w 179"/>
                <a:gd name="T21" fmla="*/ 18 h 221"/>
                <a:gd name="T22" fmla="*/ 179 w 179"/>
                <a:gd name="T23" fmla="*/ 18 h 221"/>
                <a:gd name="T24" fmla="*/ 178 w 179"/>
                <a:gd name="T25" fmla="*/ 11 h 221"/>
                <a:gd name="T26" fmla="*/ 175 w 179"/>
                <a:gd name="T27" fmla="*/ 5 h 221"/>
                <a:gd name="T28" fmla="*/ 169 w 179"/>
                <a:gd name="T29" fmla="*/ 1 h 221"/>
                <a:gd name="T30" fmla="*/ 162 w 179"/>
                <a:gd name="T31" fmla="*/ 0 h 221"/>
                <a:gd name="T32" fmla="*/ 162 w 179"/>
                <a:gd name="T33" fmla="*/ 0 h 221"/>
                <a:gd name="T34" fmla="*/ 162 w 179"/>
                <a:gd name="T35" fmla="*/ 0 h 221"/>
                <a:gd name="T36" fmla="*/ 162 w 179"/>
                <a:gd name="T37" fmla="*/ 0 h 221"/>
                <a:gd name="T38" fmla="*/ 165 w 179"/>
                <a:gd name="T39" fmla="*/ 206 h 221"/>
                <a:gd name="T40" fmla="*/ 24 w 179"/>
                <a:gd name="T41" fmla="*/ 206 h 221"/>
                <a:gd name="T42" fmla="*/ 24 w 179"/>
                <a:gd name="T43" fmla="*/ 206 h 221"/>
                <a:gd name="T44" fmla="*/ 21 w 179"/>
                <a:gd name="T45" fmla="*/ 206 h 221"/>
                <a:gd name="T46" fmla="*/ 17 w 179"/>
                <a:gd name="T47" fmla="*/ 204 h 221"/>
                <a:gd name="T48" fmla="*/ 14 w 179"/>
                <a:gd name="T49" fmla="*/ 199 h 221"/>
                <a:gd name="T50" fmla="*/ 14 w 179"/>
                <a:gd name="T51" fmla="*/ 194 h 221"/>
                <a:gd name="T52" fmla="*/ 14 w 179"/>
                <a:gd name="T53" fmla="*/ 64 h 221"/>
                <a:gd name="T54" fmla="*/ 49 w 179"/>
                <a:gd name="T55" fmla="*/ 64 h 221"/>
                <a:gd name="T56" fmla="*/ 49 w 179"/>
                <a:gd name="T57" fmla="*/ 64 h 221"/>
                <a:gd name="T58" fmla="*/ 54 w 179"/>
                <a:gd name="T59" fmla="*/ 64 h 221"/>
                <a:gd name="T60" fmla="*/ 59 w 179"/>
                <a:gd name="T61" fmla="*/ 60 h 221"/>
                <a:gd name="T62" fmla="*/ 63 w 179"/>
                <a:gd name="T63" fmla="*/ 54 h 221"/>
                <a:gd name="T64" fmla="*/ 64 w 179"/>
                <a:gd name="T65" fmla="*/ 47 h 221"/>
                <a:gd name="T66" fmla="*/ 64 w 179"/>
                <a:gd name="T67" fmla="*/ 15 h 221"/>
                <a:gd name="T68" fmla="*/ 155 w 179"/>
                <a:gd name="T69" fmla="*/ 15 h 221"/>
                <a:gd name="T70" fmla="*/ 155 w 179"/>
                <a:gd name="T71" fmla="*/ 15 h 221"/>
                <a:gd name="T72" fmla="*/ 158 w 179"/>
                <a:gd name="T73" fmla="*/ 15 h 221"/>
                <a:gd name="T74" fmla="*/ 162 w 179"/>
                <a:gd name="T75" fmla="*/ 16 h 221"/>
                <a:gd name="T76" fmla="*/ 165 w 179"/>
                <a:gd name="T77" fmla="*/ 21 h 221"/>
                <a:gd name="T78" fmla="*/ 165 w 179"/>
                <a:gd name="T79" fmla="*/ 26 h 221"/>
                <a:gd name="T80" fmla="*/ 165 w 179"/>
                <a:gd name="T81" fmla="*/ 206 h 221"/>
                <a:gd name="T82" fmla="*/ 165 w 179"/>
                <a:gd name="T83" fmla="*/ 206 h 221"/>
                <a:gd name="T84" fmla="*/ 165 w 179"/>
                <a:gd name="T85" fmla="*/ 206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9" h="221">
                  <a:moveTo>
                    <a:pt x="162" y="0"/>
                  </a:moveTo>
                  <a:lnTo>
                    <a:pt x="57" y="0"/>
                  </a:lnTo>
                  <a:lnTo>
                    <a:pt x="0" y="54"/>
                  </a:lnTo>
                  <a:lnTo>
                    <a:pt x="0" y="201"/>
                  </a:lnTo>
                  <a:lnTo>
                    <a:pt x="0" y="201"/>
                  </a:lnTo>
                  <a:lnTo>
                    <a:pt x="1" y="210"/>
                  </a:lnTo>
                  <a:lnTo>
                    <a:pt x="4" y="215"/>
                  </a:lnTo>
                  <a:lnTo>
                    <a:pt x="10" y="220"/>
                  </a:lnTo>
                  <a:lnTo>
                    <a:pt x="17" y="221"/>
                  </a:lnTo>
                  <a:lnTo>
                    <a:pt x="179" y="221"/>
                  </a:lnTo>
                  <a:lnTo>
                    <a:pt x="179" y="18"/>
                  </a:lnTo>
                  <a:lnTo>
                    <a:pt x="179" y="18"/>
                  </a:lnTo>
                  <a:lnTo>
                    <a:pt x="178" y="11"/>
                  </a:lnTo>
                  <a:lnTo>
                    <a:pt x="175" y="5"/>
                  </a:lnTo>
                  <a:lnTo>
                    <a:pt x="169" y="1"/>
                  </a:lnTo>
                  <a:lnTo>
                    <a:pt x="162" y="0"/>
                  </a:lnTo>
                  <a:lnTo>
                    <a:pt x="162" y="0"/>
                  </a:lnTo>
                  <a:lnTo>
                    <a:pt x="162" y="0"/>
                  </a:lnTo>
                  <a:lnTo>
                    <a:pt x="162" y="0"/>
                  </a:lnTo>
                  <a:close/>
                  <a:moveTo>
                    <a:pt x="165" y="206"/>
                  </a:moveTo>
                  <a:lnTo>
                    <a:pt x="24" y="206"/>
                  </a:lnTo>
                  <a:lnTo>
                    <a:pt x="24" y="206"/>
                  </a:lnTo>
                  <a:lnTo>
                    <a:pt x="21" y="206"/>
                  </a:lnTo>
                  <a:lnTo>
                    <a:pt x="17" y="204"/>
                  </a:lnTo>
                  <a:lnTo>
                    <a:pt x="14" y="199"/>
                  </a:lnTo>
                  <a:lnTo>
                    <a:pt x="14" y="194"/>
                  </a:lnTo>
                  <a:lnTo>
                    <a:pt x="14" y="64"/>
                  </a:lnTo>
                  <a:lnTo>
                    <a:pt x="49" y="64"/>
                  </a:lnTo>
                  <a:lnTo>
                    <a:pt x="49" y="64"/>
                  </a:lnTo>
                  <a:lnTo>
                    <a:pt x="54" y="64"/>
                  </a:lnTo>
                  <a:lnTo>
                    <a:pt x="59" y="60"/>
                  </a:lnTo>
                  <a:lnTo>
                    <a:pt x="63" y="54"/>
                  </a:lnTo>
                  <a:lnTo>
                    <a:pt x="64" y="47"/>
                  </a:lnTo>
                  <a:lnTo>
                    <a:pt x="64" y="15"/>
                  </a:lnTo>
                  <a:lnTo>
                    <a:pt x="155" y="15"/>
                  </a:lnTo>
                  <a:lnTo>
                    <a:pt x="155" y="15"/>
                  </a:lnTo>
                  <a:lnTo>
                    <a:pt x="158" y="15"/>
                  </a:lnTo>
                  <a:lnTo>
                    <a:pt x="162" y="16"/>
                  </a:lnTo>
                  <a:lnTo>
                    <a:pt x="165" y="21"/>
                  </a:lnTo>
                  <a:lnTo>
                    <a:pt x="165" y="26"/>
                  </a:lnTo>
                  <a:lnTo>
                    <a:pt x="165" y="206"/>
                  </a:lnTo>
                  <a:lnTo>
                    <a:pt x="165" y="206"/>
                  </a:lnTo>
                  <a:lnTo>
                    <a:pt x="165" y="206"/>
                  </a:lnTo>
                  <a:close/>
                </a:path>
              </a:pathLst>
            </a:custGeom>
            <a:solidFill>
              <a:srgbClr val="DC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sp>
        <p:nvSpPr>
          <p:cNvPr id="2" name="Text Placeholder 1"/>
          <p:cNvSpPr>
            <a:spLocks noGrp="1"/>
          </p:cNvSpPr>
          <p:nvPr>
            <p:ph type="body" idx="1"/>
          </p:nvPr>
        </p:nvSpPr>
        <p:spPr/>
        <p:txBody>
          <a:bodyPr/>
          <a:lstStyle/>
          <a:p>
            <a:r>
              <a:rPr lang="en-US" dirty="0" smtClean="0"/>
              <a:t>Never be out of date again</a:t>
            </a:r>
            <a:endParaRPr lang="en-US" dirty="0"/>
          </a:p>
        </p:txBody>
      </p:sp>
      <p:sp>
        <p:nvSpPr>
          <p:cNvPr id="3" name="Text Placeholder 2"/>
          <p:cNvSpPr>
            <a:spLocks noGrp="1"/>
          </p:cNvSpPr>
          <p:nvPr>
            <p:ph type="body" sz="quarter" idx="10"/>
          </p:nvPr>
        </p:nvSpPr>
        <p:spPr/>
        <p:txBody>
          <a:bodyPr/>
          <a:lstStyle/>
          <a:p>
            <a:pPr lvl="0"/>
            <a:r>
              <a:rPr lang="en-US" sz="1800" dirty="0"/>
              <a:t>Save time and effort with a guided setup and deployment </a:t>
            </a:r>
            <a:r>
              <a:rPr lang="en-US" sz="1800" dirty="0" smtClean="0"/>
              <a:t>process</a:t>
            </a:r>
          </a:p>
          <a:p>
            <a:r>
              <a:rPr lang="en-US" sz="1800" dirty="0" smtClean="0"/>
              <a:t>With regular updates that occur automatically in the background, Office makes running your business a little </a:t>
            </a:r>
            <a:r>
              <a:rPr lang="en-US" sz="1800" dirty="0"/>
              <a:t>less </a:t>
            </a:r>
            <a:r>
              <a:rPr lang="en-US" sz="1800" dirty="0" smtClean="0"/>
              <a:t>work</a:t>
            </a:r>
          </a:p>
          <a:p>
            <a:r>
              <a:rPr lang="en-US" sz="1800" dirty="0" smtClean="0"/>
              <a:t>Focus </a:t>
            </a:r>
            <a:r>
              <a:rPr lang="en-US" sz="1800" dirty="0"/>
              <a:t>your efforts on your business and let Microsoft </a:t>
            </a:r>
            <a:r>
              <a:rPr lang="en-US" sz="1800" dirty="0" smtClean="0"/>
              <a:t>handle </a:t>
            </a:r>
            <a:r>
              <a:rPr lang="en-US" sz="1800" dirty="0"/>
              <a:t>updates and security patching</a:t>
            </a:r>
          </a:p>
          <a:p>
            <a:pPr lvl="0"/>
            <a:endParaRPr lang="en-US" sz="1800" dirty="0" smtClean="0"/>
          </a:p>
        </p:txBody>
      </p:sp>
      <p:grpSp>
        <p:nvGrpSpPr>
          <p:cNvPr id="23" name="Group 4"/>
          <p:cNvGrpSpPr>
            <a:grpSpLocks noChangeAspect="1"/>
          </p:cNvGrpSpPr>
          <p:nvPr/>
        </p:nvGrpSpPr>
        <p:grpSpPr bwMode="auto">
          <a:xfrm>
            <a:off x="5657088" y="1446654"/>
            <a:ext cx="5596128" cy="5596128"/>
            <a:chOff x="2170" y="2328"/>
            <a:chExt cx="1613" cy="1613"/>
          </a:xfrm>
        </p:grpSpPr>
        <p:sp>
          <p:nvSpPr>
            <p:cNvPr id="24" name="AutoShape 3"/>
            <p:cNvSpPr>
              <a:spLocks noChangeAspect="1" noChangeArrowheads="1" noTextEdit="1"/>
            </p:cNvSpPr>
            <p:nvPr/>
          </p:nvSpPr>
          <p:spPr bwMode="auto">
            <a:xfrm>
              <a:off x="2170" y="2328"/>
              <a:ext cx="1613" cy="1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5" name="Freeform 5"/>
            <p:cNvSpPr>
              <a:spLocks/>
            </p:cNvSpPr>
            <p:nvPr/>
          </p:nvSpPr>
          <p:spPr bwMode="auto">
            <a:xfrm>
              <a:off x="3255" y="2959"/>
              <a:ext cx="324" cy="206"/>
            </a:xfrm>
            <a:custGeom>
              <a:avLst/>
              <a:gdLst>
                <a:gd name="T0" fmla="*/ 231 w 231"/>
                <a:gd name="T1" fmla="*/ 131 h 147"/>
                <a:gd name="T2" fmla="*/ 214 w 231"/>
                <a:gd name="T3" fmla="*/ 45 h 147"/>
                <a:gd name="T4" fmla="*/ 214 w 231"/>
                <a:gd name="T5" fmla="*/ 10 h 147"/>
                <a:gd name="T6" fmla="*/ 204 w 231"/>
                <a:gd name="T7" fmla="*/ 0 h 147"/>
                <a:gd name="T8" fmla="*/ 146 w 231"/>
                <a:gd name="T9" fmla="*/ 0 h 147"/>
                <a:gd name="T10" fmla="*/ 115 w 231"/>
                <a:gd name="T11" fmla="*/ 0 h 147"/>
                <a:gd name="T12" fmla="*/ 10 w 231"/>
                <a:gd name="T13" fmla="*/ 0 h 147"/>
                <a:gd name="T14" fmla="*/ 0 w 231"/>
                <a:gd name="T15" fmla="*/ 10 h 147"/>
                <a:gd name="T16" fmla="*/ 0 w 231"/>
                <a:gd name="T17" fmla="*/ 137 h 147"/>
                <a:gd name="T18" fmla="*/ 10 w 231"/>
                <a:gd name="T19" fmla="*/ 147 h 147"/>
                <a:gd name="T20" fmla="*/ 204 w 231"/>
                <a:gd name="T21" fmla="*/ 147 h 147"/>
                <a:gd name="T22" fmla="*/ 214 w 231"/>
                <a:gd name="T23" fmla="*/ 137 h 147"/>
                <a:gd name="T24" fmla="*/ 214 w 231"/>
                <a:gd name="T25" fmla="*/ 137 h 147"/>
                <a:gd name="T26" fmla="*/ 227 w 231"/>
                <a:gd name="T27" fmla="*/ 137 h 147"/>
                <a:gd name="T28" fmla="*/ 231 w 231"/>
                <a:gd name="T29" fmla="*/ 133 h 147"/>
                <a:gd name="T30" fmla="*/ 231 w 231"/>
                <a:gd name="T31" fmla="*/ 131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1" h="147">
                  <a:moveTo>
                    <a:pt x="231" y="131"/>
                  </a:moveTo>
                  <a:cubicBezTo>
                    <a:pt x="214" y="45"/>
                    <a:pt x="214" y="45"/>
                    <a:pt x="214" y="45"/>
                  </a:cubicBezTo>
                  <a:cubicBezTo>
                    <a:pt x="214" y="10"/>
                    <a:pt x="214" y="10"/>
                    <a:pt x="214" y="10"/>
                  </a:cubicBezTo>
                  <a:cubicBezTo>
                    <a:pt x="214" y="5"/>
                    <a:pt x="209" y="0"/>
                    <a:pt x="204" y="0"/>
                  </a:cubicBezTo>
                  <a:cubicBezTo>
                    <a:pt x="146" y="0"/>
                    <a:pt x="146" y="0"/>
                    <a:pt x="146" y="0"/>
                  </a:cubicBezTo>
                  <a:cubicBezTo>
                    <a:pt x="115" y="0"/>
                    <a:pt x="115" y="0"/>
                    <a:pt x="115" y="0"/>
                  </a:cubicBezTo>
                  <a:cubicBezTo>
                    <a:pt x="10" y="0"/>
                    <a:pt x="10" y="0"/>
                    <a:pt x="10" y="0"/>
                  </a:cubicBezTo>
                  <a:cubicBezTo>
                    <a:pt x="5" y="0"/>
                    <a:pt x="0" y="5"/>
                    <a:pt x="0" y="10"/>
                  </a:cubicBezTo>
                  <a:cubicBezTo>
                    <a:pt x="0" y="137"/>
                    <a:pt x="0" y="137"/>
                    <a:pt x="0" y="137"/>
                  </a:cubicBezTo>
                  <a:cubicBezTo>
                    <a:pt x="0" y="142"/>
                    <a:pt x="5" y="147"/>
                    <a:pt x="10" y="147"/>
                  </a:cubicBezTo>
                  <a:cubicBezTo>
                    <a:pt x="204" y="147"/>
                    <a:pt x="204" y="147"/>
                    <a:pt x="204" y="147"/>
                  </a:cubicBezTo>
                  <a:cubicBezTo>
                    <a:pt x="209" y="147"/>
                    <a:pt x="214" y="142"/>
                    <a:pt x="214" y="137"/>
                  </a:cubicBezTo>
                  <a:cubicBezTo>
                    <a:pt x="214" y="137"/>
                    <a:pt x="214" y="137"/>
                    <a:pt x="214" y="137"/>
                  </a:cubicBezTo>
                  <a:cubicBezTo>
                    <a:pt x="227" y="137"/>
                    <a:pt x="227" y="137"/>
                    <a:pt x="227" y="137"/>
                  </a:cubicBezTo>
                  <a:cubicBezTo>
                    <a:pt x="229" y="137"/>
                    <a:pt x="231" y="135"/>
                    <a:pt x="231" y="133"/>
                  </a:cubicBezTo>
                  <a:cubicBezTo>
                    <a:pt x="231" y="132"/>
                    <a:pt x="231" y="132"/>
                    <a:pt x="231" y="131"/>
                  </a:cubicBezTo>
                  <a:close/>
                </a:path>
              </a:pathLst>
            </a:custGeom>
            <a:solidFill>
              <a:schemeClr val="bg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6" name="Freeform 6"/>
            <p:cNvSpPr>
              <a:spLocks/>
            </p:cNvSpPr>
            <p:nvPr/>
          </p:nvSpPr>
          <p:spPr bwMode="auto">
            <a:xfrm>
              <a:off x="3049" y="3203"/>
              <a:ext cx="170" cy="333"/>
            </a:xfrm>
            <a:custGeom>
              <a:avLst/>
              <a:gdLst>
                <a:gd name="T0" fmla="*/ 121 w 121"/>
                <a:gd name="T1" fmla="*/ 8 h 238"/>
                <a:gd name="T2" fmla="*/ 113 w 121"/>
                <a:gd name="T3" fmla="*/ 0 h 238"/>
                <a:gd name="T4" fmla="*/ 8 w 121"/>
                <a:gd name="T5" fmla="*/ 0 h 238"/>
                <a:gd name="T6" fmla="*/ 0 w 121"/>
                <a:gd name="T7" fmla="*/ 8 h 238"/>
                <a:gd name="T8" fmla="*/ 0 w 121"/>
                <a:gd name="T9" fmla="*/ 230 h 238"/>
                <a:gd name="T10" fmla="*/ 8 w 121"/>
                <a:gd name="T11" fmla="*/ 238 h 238"/>
                <a:gd name="T12" fmla="*/ 113 w 121"/>
                <a:gd name="T13" fmla="*/ 238 h 238"/>
                <a:gd name="T14" fmla="*/ 121 w 121"/>
                <a:gd name="T15" fmla="*/ 230 h 238"/>
                <a:gd name="T16" fmla="*/ 121 w 121"/>
                <a:gd name="T17" fmla="*/ 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1" h="238">
                  <a:moveTo>
                    <a:pt x="121" y="8"/>
                  </a:moveTo>
                  <a:cubicBezTo>
                    <a:pt x="121" y="3"/>
                    <a:pt x="117" y="0"/>
                    <a:pt x="113" y="0"/>
                  </a:cubicBezTo>
                  <a:cubicBezTo>
                    <a:pt x="8" y="0"/>
                    <a:pt x="8" y="0"/>
                    <a:pt x="8" y="0"/>
                  </a:cubicBezTo>
                  <a:cubicBezTo>
                    <a:pt x="3" y="0"/>
                    <a:pt x="0" y="3"/>
                    <a:pt x="0" y="8"/>
                  </a:cubicBezTo>
                  <a:cubicBezTo>
                    <a:pt x="0" y="230"/>
                    <a:pt x="0" y="230"/>
                    <a:pt x="0" y="230"/>
                  </a:cubicBezTo>
                  <a:cubicBezTo>
                    <a:pt x="0" y="235"/>
                    <a:pt x="3" y="238"/>
                    <a:pt x="8" y="238"/>
                  </a:cubicBezTo>
                  <a:cubicBezTo>
                    <a:pt x="113" y="238"/>
                    <a:pt x="113" y="238"/>
                    <a:pt x="113" y="238"/>
                  </a:cubicBezTo>
                  <a:cubicBezTo>
                    <a:pt x="117" y="238"/>
                    <a:pt x="121" y="235"/>
                    <a:pt x="121" y="230"/>
                  </a:cubicBezTo>
                  <a:lnTo>
                    <a:pt x="121" y="8"/>
                  </a:lnTo>
                  <a:close/>
                </a:path>
              </a:pathLst>
            </a:custGeom>
            <a:solidFill>
              <a:schemeClr val="bg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7" name="Freeform 7"/>
            <p:cNvSpPr>
              <a:spLocks/>
            </p:cNvSpPr>
            <p:nvPr/>
          </p:nvSpPr>
          <p:spPr bwMode="auto">
            <a:xfrm>
              <a:off x="3255" y="3203"/>
              <a:ext cx="216" cy="370"/>
            </a:xfrm>
            <a:custGeom>
              <a:avLst/>
              <a:gdLst>
                <a:gd name="T0" fmla="*/ 154 w 154"/>
                <a:gd name="T1" fmla="*/ 254 h 264"/>
                <a:gd name="T2" fmla="*/ 144 w 154"/>
                <a:gd name="T3" fmla="*/ 264 h 264"/>
                <a:gd name="T4" fmla="*/ 10 w 154"/>
                <a:gd name="T5" fmla="*/ 264 h 264"/>
                <a:gd name="T6" fmla="*/ 0 w 154"/>
                <a:gd name="T7" fmla="*/ 254 h 264"/>
                <a:gd name="T8" fmla="*/ 0 w 154"/>
                <a:gd name="T9" fmla="*/ 10 h 264"/>
                <a:gd name="T10" fmla="*/ 10 w 154"/>
                <a:gd name="T11" fmla="*/ 0 h 264"/>
                <a:gd name="T12" fmla="*/ 144 w 154"/>
                <a:gd name="T13" fmla="*/ 0 h 264"/>
                <a:gd name="T14" fmla="*/ 154 w 154"/>
                <a:gd name="T15" fmla="*/ 10 h 264"/>
                <a:gd name="T16" fmla="*/ 154 w 154"/>
                <a:gd name="T17" fmla="*/ 254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4" h="264">
                  <a:moveTo>
                    <a:pt x="154" y="254"/>
                  </a:moveTo>
                  <a:cubicBezTo>
                    <a:pt x="154" y="259"/>
                    <a:pt x="150" y="264"/>
                    <a:pt x="144" y="264"/>
                  </a:cubicBezTo>
                  <a:cubicBezTo>
                    <a:pt x="10" y="264"/>
                    <a:pt x="10" y="264"/>
                    <a:pt x="10" y="264"/>
                  </a:cubicBezTo>
                  <a:cubicBezTo>
                    <a:pt x="5" y="264"/>
                    <a:pt x="0" y="259"/>
                    <a:pt x="0" y="254"/>
                  </a:cubicBezTo>
                  <a:cubicBezTo>
                    <a:pt x="0" y="10"/>
                    <a:pt x="0" y="10"/>
                    <a:pt x="0" y="10"/>
                  </a:cubicBezTo>
                  <a:cubicBezTo>
                    <a:pt x="0" y="4"/>
                    <a:pt x="5" y="0"/>
                    <a:pt x="10" y="0"/>
                  </a:cubicBezTo>
                  <a:cubicBezTo>
                    <a:pt x="144" y="0"/>
                    <a:pt x="144" y="0"/>
                    <a:pt x="144" y="0"/>
                  </a:cubicBezTo>
                  <a:cubicBezTo>
                    <a:pt x="150" y="0"/>
                    <a:pt x="154" y="4"/>
                    <a:pt x="154" y="10"/>
                  </a:cubicBezTo>
                  <a:lnTo>
                    <a:pt x="154" y="254"/>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8" name="Rectangle 8"/>
            <p:cNvSpPr>
              <a:spLocks noChangeArrowheads="1"/>
            </p:cNvSpPr>
            <p:nvPr/>
          </p:nvSpPr>
          <p:spPr bwMode="auto">
            <a:xfrm>
              <a:off x="3276" y="3223"/>
              <a:ext cx="175" cy="291"/>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29" name="Rectangle 9"/>
            <p:cNvSpPr>
              <a:spLocks noChangeArrowheads="1"/>
            </p:cNvSpPr>
            <p:nvPr/>
          </p:nvSpPr>
          <p:spPr bwMode="auto">
            <a:xfrm>
              <a:off x="3063" y="3252"/>
              <a:ext cx="142" cy="238"/>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0" name="Rectangle 10"/>
            <p:cNvSpPr>
              <a:spLocks noChangeArrowheads="1"/>
            </p:cNvSpPr>
            <p:nvPr/>
          </p:nvSpPr>
          <p:spPr bwMode="auto">
            <a:xfrm>
              <a:off x="3275" y="2979"/>
              <a:ext cx="260" cy="167"/>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1" name="Freeform 11"/>
            <p:cNvSpPr>
              <a:spLocks noEditPoints="1"/>
            </p:cNvSpPr>
            <p:nvPr/>
          </p:nvSpPr>
          <p:spPr bwMode="auto">
            <a:xfrm>
              <a:off x="3367" y="3017"/>
              <a:ext cx="87" cy="89"/>
            </a:xfrm>
            <a:custGeom>
              <a:avLst/>
              <a:gdLst>
                <a:gd name="T0" fmla="*/ 62 w 62"/>
                <a:gd name="T1" fmla="*/ 5 h 64"/>
                <a:gd name="T2" fmla="*/ 55 w 62"/>
                <a:gd name="T3" fmla="*/ 0 h 64"/>
                <a:gd name="T4" fmla="*/ 50 w 62"/>
                <a:gd name="T5" fmla="*/ 7 h 64"/>
                <a:gd name="T6" fmla="*/ 0 w 62"/>
                <a:gd name="T7" fmla="*/ 7 h 64"/>
                <a:gd name="T8" fmla="*/ 0 w 62"/>
                <a:gd name="T9" fmla="*/ 64 h 64"/>
                <a:gd name="T10" fmla="*/ 58 w 62"/>
                <a:gd name="T11" fmla="*/ 64 h 64"/>
                <a:gd name="T12" fmla="*/ 58 w 62"/>
                <a:gd name="T13" fmla="*/ 11 h 64"/>
                <a:gd name="T14" fmla="*/ 62 w 62"/>
                <a:gd name="T15" fmla="*/ 5 h 64"/>
                <a:gd name="T16" fmla="*/ 49 w 62"/>
                <a:gd name="T17" fmla="*/ 56 h 64"/>
                <a:gd name="T18" fmla="*/ 9 w 62"/>
                <a:gd name="T19" fmla="*/ 56 h 64"/>
                <a:gd name="T20" fmla="*/ 9 w 62"/>
                <a:gd name="T21" fmla="*/ 16 h 64"/>
                <a:gd name="T22" fmla="*/ 44 w 62"/>
                <a:gd name="T23" fmla="*/ 16 h 64"/>
                <a:gd name="T24" fmla="*/ 31 w 62"/>
                <a:gd name="T25" fmla="*/ 35 h 64"/>
                <a:gd name="T26" fmla="*/ 19 w 62"/>
                <a:gd name="T27" fmla="*/ 25 h 64"/>
                <a:gd name="T28" fmla="*/ 13 w 62"/>
                <a:gd name="T29" fmla="*/ 32 h 64"/>
                <a:gd name="T30" fmla="*/ 32 w 62"/>
                <a:gd name="T31" fmla="*/ 48 h 64"/>
                <a:gd name="T32" fmla="*/ 49 w 62"/>
                <a:gd name="T33" fmla="*/ 24 h 64"/>
                <a:gd name="T34" fmla="*/ 49 w 62"/>
                <a:gd name="T35" fmla="*/ 5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4">
                  <a:moveTo>
                    <a:pt x="62" y="5"/>
                  </a:moveTo>
                  <a:cubicBezTo>
                    <a:pt x="55" y="0"/>
                    <a:pt x="55" y="0"/>
                    <a:pt x="55" y="0"/>
                  </a:cubicBezTo>
                  <a:cubicBezTo>
                    <a:pt x="50" y="7"/>
                    <a:pt x="50" y="7"/>
                    <a:pt x="50" y="7"/>
                  </a:cubicBezTo>
                  <a:cubicBezTo>
                    <a:pt x="0" y="7"/>
                    <a:pt x="0" y="7"/>
                    <a:pt x="0" y="7"/>
                  </a:cubicBezTo>
                  <a:cubicBezTo>
                    <a:pt x="0" y="64"/>
                    <a:pt x="0" y="64"/>
                    <a:pt x="0" y="64"/>
                  </a:cubicBezTo>
                  <a:cubicBezTo>
                    <a:pt x="58" y="64"/>
                    <a:pt x="58" y="64"/>
                    <a:pt x="58" y="64"/>
                  </a:cubicBezTo>
                  <a:cubicBezTo>
                    <a:pt x="58" y="11"/>
                    <a:pt x="58" y="11"/>
                    <a:pt x="58" y="11"/>
                  </a:cubicBezTo>
                  <a:lnTo>
                    <a:pt x="62" y="5"/>
                  </a:lnTo>
                  <a:close/>
                  <a:moveTo>
                    <a:pt x="49" y="56"/>
                  </a:moveTo>
                  <a:cubicBezTo>
                    <a:pt x="9" y="56"/>
                    <a:pt x="9" y="56"/>
                    <a:pt x="9" y="56"/>
                  </a:cubicBezTo>
                  <a:cubicBezTo>
                    <a:pt x="9" y="16"/>
                    <a:pt x="9" y="16"/>
                    <a:pt x="9" y="16"/>
                  </a:cubicBezTo>
                  <a:cubicBezTo>
                    <a:pt x="44" y="16"/>
                    <a:pt x="44" y="16"/>
                    <a:pt x="44" y="16"/>
                  </a:cubicBezTo>
                  <a:cubicBezTo>
                    <a:pt x="41" y="20"/>
                    <a:pt x="37" y="26"/>
                    <a:pt x="31" y="35"/>
                  </a:cubicBezTo>
                  <a:cubicBezTo>
                    <a:pt x="31" y="35"/>
                    <a:pt x="31" y="35"/>
                    <a:pt x="19" y="25"/>
                  </a:cubicBezTo>
                  <a:cubicBezTo>
                    <a:pt x="19" y="25"/>
                    <a:pt x="19" y="25"/>
                    <a:pt x="13" y="32"/>
                  </a:cubicBezTo>
                  <a:cubicBezTo>
                    <a:pt x="13" y="32"/>
                    <a:pt x="13" y="32"/>
                    <a:pt x="32" y="48"/>
                  </a:cubicBezTo>
                  <a:cubicBezTo>
                    <a:pt x="32" y="48"/>
                    <a:pt x="32" y="48"/>
                    <a:pt x="49" y="24"/>
                  </a:cubicBezTo>
                  <a:lnTo>
                    <a:pt x="49" y="5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2" name="Freeform 12"/>
            <p:cNvSpPr>
              <a:spLocks/>
            </p:cNvSpPr>
            <p:nvPr/>
          </p:nvSpPr>
          <p:spPr bwMode="auto">
            <a:xfrm>
              <a:off x="3044" y="2573"/>
              <a:ext cx="196" cy="284"/>
            </a:xfrm>
            <a:custGeom>
              <a:avLst/>
              <a:gdLst>
                <a:gd name="T0" fmla="*/ 0 w 140"/>
                <a:gd name="T1" fmla="*/ 93 h 203"/>
                <a:gd name="T2" fmla="*/ 0 w 140"/>
                <a:gd name="T3" fmla="*/ 194 h 203"/>
                <a:gd name="T4" fmla="*/ 9 w 140"/>
                <a:gd name="T5" fmla="*/ 203 h 203"/>
                <a:gd name="T6" fmla="*/ 131 w 140"/>
                <a:gd name="T7" fmla="*/ 203 h 203"/>
                <a:gd name="T8" fmla="*/ 140 w 140"/>
                <a:gd name="T9" fmla="*/ 194 h 203"/>
                <a:gd name="T10" fmla="*/ 140 w 140"/>
                <a:gd name="T11" fmla="*/ 9 h 203"/>
                <a:gd name="T12" fmla="*/ 131 w 140"/>
                <a:gd name="T13" fmla="*/ 0 h 203"/>
                <a:gd name="T14" fmla="*/ 9 w 140"/>
                <a:gd name="T15" fmla="*/ 0 h 203"/>
                <a:gd name="T16" fmla="*/ 0 w 140"/>
                <a:gd name="T17" fmla="*/ 9 h 203"/>
                <a:gd name="T18" fmla="*/ 0 w 140"/>
                <a:gd name="T19" fmla="*/ 64 h 203"/>
                <a:gd name="T20" fmla="*/ 0 w 140"/>
                <a:gd name="T21" fmla="*/ 9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0" h="203">
                  <a:moveTo>
                    <a:pt x="0" y="93"/>
                  </a:moveTo>
                  <a:cubicBezTo>
                    <a:pt x="0" y="194"/>
                    <a:pt x="0" y="194"/>
                    <a:pt x="0" y="194"/>
                  </a:cubicBezTo>
                  <a:cubicBezTo>
                    <a:pt x="0" y="199"/>
                    <a:pt x="4" y="203"/>
                    <a:pt x="9" y="203"/>
                  </a:cubicBezTo>
                  <a:cubicBezTo>
                    <a:pt x="131" y="203"/>
                    <a:pt x="131" y="203"/>
                    <a:pt x="131" y="203"/>
                  </a:cubicBezTo>
                  <a:cubicBezTo>
                    <a:pt x="136" y="203"/>
                    <a:pt x="140" y="199"/>
                    <a:pt x="140" y="194"/>
                  </a:cubicBezTo>
                  <a:cubicBezTo>
                    <a:pt x="140" y="9"/>
                    <a:pt x="140" y="9"/>
                    <a:pt x="140" y="9"/>
                  </a:cubicBezTo>
                  <a:cubicBezTo>
                    <a:pt x="140" y="4"/>
                    <a:pt x="136" y="0"/>
                    <a:pt x="131" y="0"/>
                  </a:cubicBezTo>
                  <a:cubicBezTo>
                    <a:pt x="9" y="0"/>
                    <a:pt x="9" y="0"/>
                    <a:pt x="9" y="0"/>
                  </a:cubicBezTo>
                  <a:cubicBezTo>
                    <a:pt x="4" y="0"/>
                    <a:pt x="0" y="4"/>
                    <a:pt x="0" y="9"/>
                  </a:cubicBezTo>
                  <a:cubicBezTo>
                    <a:pt x="0" y="64"/>
                    <a:pt x="0" y="64"/>
                    <a:pt x="0" y="64"/>
                  </a:cubicBezTo>
                  <a:lnTo>
                    <a:pt x="0" y="93"/>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3" name="Rectangle 13"/>
            <p:cNvSpPr>
              <a:spLocks noChangeArrowheads="1"/>
            </p:cNvSpPr>
            <p:nvPr/>
          </p:nvSpPr>
          <p:spPr bwMode="auto">
            <a:xfrm>
              <a:off x="3063" y="2591"/>
              <a:ext cx="157" cy="248"/>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4" name="Freeform 14"/>
            <p:cNvSpPr>
              <a:spLocks noEditPoints="1"/>
            </p:cNvSpPr>
            <p:nvPr/>
          </p:nvSpPr>
          <p:spPr bwMode="auto">
            <a:xfrm>
              <a:off x="3105" y="2664"/>
              <a:ext cx="83" cy="85"/>
            </a:xfrm>
            <a:custGeom>
              <a:avLst/>
              <a:gdLst>
                <a:gd name="T0" fmla="*/ 59 w 59"/>
                <a:gd name="T1" fmla="*/ 4 h 61"/>
                <a:gd name="T2" fmla="*/ 52 w 59"/>
                <a:gd name="T3" fmla="*/ 0 h 61"/>
                <a:gd name="T4" fmla="*/ 48 w 59"/>
                <a:gd name="T5" fmla="*/ 6 h 61"/>
                <a:gd name="T6" fmla="*/ 0 w 59"/>
                <a:gd name="T7" fmla="*/ 6 h 61"/>
                <a:gd name="T8" fmla="*/ 0 w 59"/>
                <a:gd name="T9" fmla="*/ 61 h 61"/>
                <a:gd name="T10" fmla="*/ 55 w 59"/>
                <a:gd name="T11" fmla="*/ 61 h 61"/>
                <a:gd name="T12" fmla="*/ 55 w 59"/>
                <a:gd name="T13" fmla="*/ 10 h 61"/>
                <a:gd name="T14" fmla="*/ 59 w 59"/>
                <a:gd name="T15" fmla="*/ 4 h 61"/>
                <a:gd name="T16" fmla="*/ 47 w 59"/>
                <a:gd name="T17" fmla="*/ 53 h 61"/>
                <a:gd name="T18" fmla="*/ 9 w 59"/>
                <a:gd name="T19" fmla="*/ 53 h 61"/>
                <a:gd name="T20" fmla="*/ 9 w 59"/>
                <a:gd name="T21" fmla="*/ 15 h 61"/>
                <a:gd name="T22" fmla="*/ 42 w 59"/>
                <a:gd name="T23" fmla="*/ 15 h 61"/>
                <a:gd name="T24" fmla="*/ 29 w 59"/>
                <a:gd name="T25" fmla="*/ 34 h 61"/>
                <a:gd name="T26" fmla="*/ 18 w 59"/>
                <a:gd name="T27" fmla="*/ 24 h 61"/>
                <a:gd name="T28" fmla="*/ 12 w 59"/>
                <a:gd name="T29" fmla="*/ 31 h 61"/>
                <a:gd name="T30" fmla="*/ 31 w 59"/>
                <a:gd name="T31" fmla="*/ 46 h 61"/>
                <a:gd name="T32" fmla="*/ 47 w 59"/>
                <a:gd name="T33" fmla="*/ 23 h 61"/>
                <a:gd name="T34" fmla="*/ 47 w 59"/>
                <a:gd name="T35" fmla="*/ 53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61">
                  <a:moveTo>
                    <a:pt x="59" y="4"/>
                  </a:moveTo>
                  <a:cubicBezTo>
                    <a:pt x="52" y="0"/>
                    <a:pt x="52" y="0"/>
                    <a:pt x="52" y="0"/>
                  </a:cubicBezTo>
                  <a:cubicBezTo>
                    <a:pt x="48" y="6"/>
                    <a:pt x="48" y="6"/>
                    <a:pt x="48" y="6"/>
                  </a:cubicBezTo>
                  <a:cubicBezTo>
                    <a:pt x="0" y="6"/>
                    <a:pt x="0" y="6"/>
                    <a:pt x="0" y="6"/>
                  </a:cubicBezTo>
                  <a:cubicBezTo>
                    <a:pt x="0" y="61"/>
                    <a:pt x="0" y="61"/>
                    <a:pt x="0" y="61"/>
                  </a:cubicBezTo>
                  <a:cubicBezTo>
                    <a:pt x="55" y="61"/>
                    <a:pt x="55" y="61"/>
                    <a:pt x="55" y="61"/>
                  </a:cubicBezTo>
                  <a:cubicBezTo>
                    <a:pt x="55" y="10"/>
                    <a:pt x="55" y="10"/>
                    <a:pt x="55" y="10"/>
                  </a:cubicBezTo>
                  <a:lnTo>
                    <a:pt x="59" y="4"/>
                  </a:lnTo>
                  <a:close/>
                  <a:moveTo>
                    <a:pt x="47" y="53"/>
                  </a:moveTo>
                  <a:cubicBezTo>
                    <a:pt x="9" y="53"/>
                    <a:pt x="9" y="53"/>
                    <a:pt x="9" y="53"/>
                  </a:cubicBezTo>
                  <a:cubicBezTo>
                    <a:pt x="9" y="15"/>
                    <a:pt x="9" y="15"/>
                    <a:pt x="9" y="15"/>
                  </a:cubicBezTo>
                  <a:cubicBezTo>
                    <a:pt x="42" y="15"/>
                    <a:pt x="42" y="15"/>
                    <a:pt x="42" y="15"/>
                  </a:cubicBezTo>
                  <a:cubicBezTo>
                    <a:pt x="39" y="19"/>
                    <a:pt x="35" y="25"/>
                    <a:pt x="29" y="34"/>
                  </a:cubicBezTo>
                  <a:cubicBezTo>
                    <a:pt x="29" y="34"/>
                    <a:pt x="29" y="34"/>
                    <a:pt x="18" y="24"/>
                  </a:cubicBezTo>
                  <a:cubicBezTo>
                    <a:pt x="18" y="24"/>
                    <a:pt x="18" y="24"/>
                    <a:pt x="12" y="31"/>
                  </a:cubicBezTo>
                  <a:cubicBezTo>
                    <a:pt x="12" y="31"/>
                    <a:pt x="12" y="31"/>
                    <a:pt x="31" y="46"/>
                  </a:cubicBezTo>
                  <a:cubicBezTo>
                    <a:pt x="31" y="46"/>
                    <a:pt x="31" y="46"/>
                    <a:pt x="47" y="23"/>
                  </a:cubicBezTo>
                  <a:lnTo>
                    <a:pt x="47" y="53"/>
                  </a:ln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5" name="Freeform 15"/>
            <p:cNvSpPr>
              <a:spLocks noEditPoints="1"/>
            </p:cNvSpPr>
            <p:nvPr/>
          </p:nvSpPr>
          <p:spPr bwMode="auto">
            <a:xfrm>
              <a:off x="3315" y="3310"/>
              <a:ext cx="97" cy="100"/>
            </a:xfrm>
            <a:custGeom>
              <a:avLst/>
              <a:gdLst>
                <a:gd name="T0" fmla="*/ 69 w 69"/>
                <a:gd name="T1" fmla="*/ 6 h 72"/>
                <a:gd name="T2" fmla="*/ 61 w 69"/>
                <a:gd name="T3" fmla="*/ 0 h 72"/>
                <a:gd name="T4" fmla="*/ 56 w 69"/>
                <a:gd name="T5" fmla="*/ 8 h 72"/>
                <a:gd name="T6" fmla="*/ 0 w 69"/>
                <a:gd name="T7" fmla="*/ 8 h 72"/>
                <a:gd name="T8" fmla="*/ 0 w 69"/>
                <a:gd name="T9" fmla="*/ 72 h 72"/>
                <a:gd name="T10" fmla="*/ 64 w 69"/>
                <a:gd name="T11" fmla="*/ 72 h 72"/>
                <a:gd name="T12" fmla="*/ 64 w 69"/>
                <a:gd name="T13" fmla="*/ 12 h 72"/>
                <a:gd name="T14" fmla="*/ 69 w 69"/>
                <a:gd name="T15" fmla="*/ 6 h 72"/>
                <a:gd name="T16" fmla="*/ 54 w 69"/>
                <a:gd name="T17" fmla="*/ 62 h 72"/>
                <a:gd name="T18" fmla="*/ 10 w 69"/>
                <a:gd name="T19" fmla="*/ 62 h 72"/>
                <a:gd name="T20" fmla="*/ 10 w 69"/>
                <a:gd name="T21" fmla="*/ 18 h 72"/>
                <a:gd name="T22" fmla="*/ 49 w 69"/>
                <a:gd name="T23" fmla="*/ 18 h 72"/>
                <a:gd name="T24" fmla="*/ 34 w 69"/>
                <a:gd name="T25" fmla="*/ 40 h 72"/>
                <a:gd name="T26" fmla="*/ 21 w 69"/>
                <a:gd name="T27" fmla="*/ 29 h 72"/>
                <a:gd name="T28" fmla="*/ 14 w 69"/>
                <a:gd name="T29" fmla="*/ 36 h 72"/>
                <a:gd name="T30" fmla="*/ 36 w 69"/>
                <a:gd name="T31" fmla="*/ 54 h 72"/>
                <a:gd name="T32" fmla="*/ 54 w 69"/>
                <a:gd name="T33" fmla="*/ 27 h 72"/>
                <a:gd name="T34" fmla="*/ 54 w 69"/>
                <a:gd name="T35" fmla="*/ 6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9" h="72">
                  <a:moveTo>
                    <a:pt x="69" y="6"/>
                  </a:moveTo>
                  <a:cubicBezTo>
                    <a:pt x="61" y="0"/>
                    <a:pt x="61" y="0"/>
                    <a:pt x="61" y="0"/>
                  </a:cubicBezTo>
                  <a:cubicBezTo>
                    <a:pt x="56" y="8"/>
                    <a:pt x="56" y="8"/>
                    <a:pt x="56" y="8"/>
                  </a:cubicBezTo>
                  <a:cubicBezTo>
                    <a:pt x="0" y="8"/>
                    <a:pt x="0" y="8"/>
                    <a:pt x="0" y="8"/>
                  </a:cubicBezTo>
                  <a:cubicBezTo>
                    <a:pt x="0" y="72"/>
                    <a:pt x="0" y="72"/>
                    <a:pt x="0" y="72"/>
                  </a:cubicBezTo>
                  <a:cubicBezTo>
                    <a:pt x="64" y="72"/>
                    <a:pt x="64" y="72"/>
                    <a:pt x="64" y="72"/>
                  </a:cubicBezTo>
                  <a:cubicBezTo>
                    <a:pt x="64" y="12"/>
                    <a:pt x="64" y="12"/>
                    <a:pt x="64" y="12"/>
                  </a:cubicBezTo>
                  <a:lnTo>
                    <a:pt x="69" y="6"/>
                  </a:lnTo>
                  <a:close/>
                  <a:moveTo>
                    <a:pt x="54" y="62"/>
                  </a:moveTo>
                  <a:cubicBezTo>
                    <a:pt x="10" y="62"/>
                    <a:pt x="10" y="62"/>
                    <a:pt x="10" y="62"/>
                  </a:cubicBezTo>
                  <a:cubicBezTo>
                    <a:pt x="10" y="18"/>
                    <a:pt x="10" y="18"/>
                    <a:pt x="10" y="18"/>
                  </a:cubicBezTo>
                  <a:cubicBezTo>
                    <a:pt x="49" y="18"/>
                    <a:pt x="49" y="18"/>
                    <a:pt x="49" y="18"/>
                  </a:cubicBezTo>
                  <a:cubicBezTo>
                    <a:pt x="46" y="23"/>
                    <a:pt x="41" y="29"/>
                    <a:pt x="34" y="40"/>
                  </a:cubicBezTo>
                  <a:cubicBezTo>
                    <a:pt x="34" y="40"/>
                    <a:pt x="34" y="40"/>
                    <a:pt x="21" y="29"/>
                  </a:cubicBezTo>
                  <a:cubicBezTo>
                    <a:pt x="21" y="29"/>
                    <a:pt x="21" y="29"/>
                    <a:pt x="14" y="36"/>
                  </a:cubicBezTo>
                  <a:cubicBezTo>
                    <a:pt x="14" y="36"/>
                    <a:pt x="14" y="36"/>
                    <a:pt x="36" y="54"/>
                  </a:cubicBezTo>
                  <a:cubicBezTo>
                    <a:pt x="36" y="54"/>
                    <a:pt x="36" y="54"/>
                    <a:pt x="54" y="27"/>
                  </a:cubicBezTo>
                  <a:lnTo>
                    <a:pt x="54" y="6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6" name="Freeform 16"/>
            <p:cNvSpPr>
              <a:spLocks noEditPoints="1"/>
            </p:cNvSpPr>
            <p:nvPr/>
          </p:nvSpPr>
          <p:spPr bwMode="auto">
            <a:xfrm>
              <a:off x="3100" y="3335"/>
              <a:ext cx="68" cy="70"/>
            </a:xfrm>
            <a:custGeom>
              <a:avLst/>
              <a:gdLst>
                <a:gd name="T0" fmla="*/ 49 w 49"/>
                <a:gd name="T1" fmla="*/ 3 h 50"/>
                <a:gd name="T2" fmla="*/ 43 w 49"/>
                <a:gd name="T3" fmla="*/ 0 h 50"/>
                <a:gd name="T4" fmla="*/ 39 w 49"/>
                <a:gd name="T5" fmla="*/ 5 h 50"/>
                <a:gd name="T6" fmla="*/ 0 w 49"/>
                <a:gd name="T7" fmla="*/ 5 h 50"/>
                <a:gd name="T8" fmla="*/ 0 w 49"/>
                <a:gd name="T9" fmla="*/ 50 h 50"/>
                <a:gd name="T10" fmla="*/ 45 w 49"/>
                <a:gd name="T11" fmla="*/ 50 h 50"/>
                <a:gd name="T12" fmla="*/ 45 w 49"/>
                <a:gd name="T13" fmla="*/ 8 h 50"/>
                <a:gd name="T14" fmla="*/ 49 w 49"/>
                <a:gd name="T15" fmla="*/ 3 h 50"/>
                <a:gd name="T16" fmla="*/ 38 w 49"/>
                <a:gd name="T17" fmla="*/ 43 h 50"/>
                <a:gd name="T18" fmla="*/ 7 w 49"/>
                <a:gd name="T19" fmla="*/ 43 h 50"/>
                <a:gd name="T20" fmla="*/ 7 w 49"/>
                <a:gd name="T21" fmla="*/ 12 h 50"/>
                <a:gd name="T22" fmla="*/ 35 w 49"/>
                <a:gd name="T23" fmla="*/ 12 h 50"/>
                <a:gd name="T24" fmla="*/ 24 w 49"/>
                <a:gd name="T25" fmla="*/ 28 h 50"/>
                <a:gd name="T26" fmla="*/ 15 w 49"/>
                <a:gd name="T27" fmla="*/ 20 h 50"/>
                <a:gd name="T28" fmla="*/ 10 w 49"/>
                <a:gd name="T29" fmla="*/ 25 h 50"/>
                <a:gd name="T30" fmla="*/ 25 w 49"/>
                <a:gd name="T31" fmla="*/ 37 h 50"/>
                <a:gd name="T32" fmla="*/ 38 w 49"/>
                <a:gd name="T33" fmla="*/ 19 h 50"/>
                <a:gd name="T34" fmla="*/ 38 w 49"/>
                <a:gd name="T35" fmla="*/ 43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9" h="50">
                  <a:moveTo>
                    <a:pt x="49" y="3"/>
                  </a:moveTo>
                  <a:cubicBezTo>
                    <a:pt x="43" y="0"/>
                    <a:pt x="43" y="0"/>
                    <a:pt x="43" y="0"/>
                  </a:cubicBezTo>
                  <a:cubicBezTo>
                    <a:pt x="39" y="5"/>
                    <a:pt x="39" y="5"/>
                    <a:pt x="39" y="5"/>
                  </a:cubicBezTo>
                  <a:cubicBezTo>
                    <a:pt x="0" y="5"/>
                    <a:pt x="0" y="5"/>
                    <a:pt x="0" y="5"/>
                  </a:cubicBezTo>
                  <a:cubicBezTo>
                    <a:pt x="0" y="50"/>
                    <a:pt x="0" y="50"/>
                    <a:pt x="0" y="50"/>
                  </a:cubicBezTo>
                  <a:cubicBezTo>
                    <a:pt x="45" y="50"/>
                    <a:pt x="45" y="50"/>
                    <a:pt x="45" y="50"/>
                  </a:cubicBezTo>
                  <a:cubicBezTo>
                    <a:pt x="45" y="8"/>
                    <a:pt x="45" y="8"/>
                    <a:pt x="45" y="8"/>
                  </a:cubicBezTo>
                  <a:lnTo>
                    <a:pt x="49" y="3"/>
                  </a:lnTo>
                  <a:close/>
                  <a:moveTo>
                    <a:pt x="38" y="43"/>
                  </a:moveTo>
                  <a:cubicBezTo>
                    <a:pt x="7" y="43"/>
                    <a:pt x="7" y="43"/>
                    <a:pt x="7" y="43"/>
                  </a:cubicBezTo>
                  <a:cubicBezTo>
                    <a:pt x="7" y="12"/>
                    <a:pt x="7" y="12"/>
                    <a:pt x="7" y="12"/>
                  </a:cubicBezTo>
                  <a:cubicBezTo>
                    <a:pt x="35" y="12"/>
                    <a:pt x="35" y="12"/>
                    <a:pt x="35" y="12"/>
                  </a:cubicBezTo>
                  <a:cubicBezTo>
                    <a:pt x="32" y="15"/>
                    <a:pt x="29" y="20"/>
                    <a:pt x="24" y="28"/>
                  </a:cubicBezTo>
                  <a:cubicBezTo>
                    <a:pt x="24" y="28"/>
                    <a:pt x="24" y="28"/>
                    <a:pt x="15" y="20"/>
                  </a:cubicBezTo>
                  <a:cubicBezTo>
                    <a:pt x="15" y="20"/>
                    <a:pt x="15" y="20"/>
                    <a:pt x="10" y="25"/>
                  </a:cubicBezTo>
                  <a:cubicBezTo>
                    <a:pt x="10" y="25"/>
                    <a:pt x="10" y="25"/>
                    <a:pt x="25" y="37"/>
                  </a:cubicBezTo>
                  <a:cubicBezTo>
                    <a:pt x="25" y="37"/>
                    <a:pt x="25" y="37"/>
                    <a:pt x="38" y="19"/>
                  </a:cubicBezTo>
                  <a:lnTo>
                    <a:pt x="38" y="43"/>
                  </a:ln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7" name="Freeform 17"/>
            <p:cNvSpPr>
              <a:spLocks noEditPoints="1"/>
            </p:cNvSpPr>
            <p:nvPr/>
          </p:nvSpPr>
          <p:spPr bwMode="auto">
            <a:xfrm>
              <a:off x="2369" y="3345"/>
              <a:ext cx="679" cy="364"/>
            </a:xfrm>
            <a:custGeom>
              <a:avLst/>
              <a:gdLst>
                <a:gd name="T0" fmla="*/ 412 w 485"/>
                <a:gd name="T1" fmla="*/ 0 h 260"/>
                <a:gd name="T2" fmla="*/ 74 w 485"/>
                <a:gd name="T3" fmla="*/ 0 h 260"/>
                <a:gd name="T4" fmla="*/ 62 w 485"/>
                <a:gd name="T5" fmla="*/ 12 h 260"/>
                <a:gd name="T6" fmla="*/ 62 w 485"/>
                <a:gd name="T7" fmla="*/ 220 h 260"/>
                <a:gd name="T8" fmla="*/ 74 w 485"/>
                <a:gd name="T9" fmla="*/ 232 h 260"/>
                <a:gd name="T10" fmla="*/ 412 w 485"/>
                <a:gd name="T11" fmla="*/ 232 h 260"/>
                <a:gd name="T12" fmla="*/ 424 w 485"/>
                <a:gd name="T13" fmla="*/ 220 h 260"/>
                <a:gd name="T14" fmla="*/ 424 w 485"/>
                <a:gd name="T15" fmla="*/ 12 h 260"/>
                <a:gd name="T16" fmla="*/ 412 w 485"/>
                <a:gd name="T17" fmla="*/ 0 h 260"/>
                <a:gd name="T18" fmla="*/ 408 w 485"/>
                <a:gd name="T19" fmla="*/ 218 h 260"/>
                <a:gd name="T20" fmla="*/ 77 w 485"/>
                <a:gd name="T21" fmla="*/ 218 h 260"/>
                <a:gd name="T22" fmla="*/ 77 w 485"/>
                <a:gd name="T23" fmla="*/ 13 h 260"/>
                <a:gd name="T24" fmla="*/ 408 w 485"/>
                <a:gd name="T25" fmla="*/ 13 h 260"/>
                <a:gd name="T26" fmla="*/ 408 w 485"/>
                <a:gd name="T27" fmla="*/ 218 h 260"/>
                <a:gd name="T28" fmla="*/ 276 w 485"/>
                <a:gd name="T29" fmla="*/ 241 h 260"/>
                <a:gd name="T30" fmla="*/ 276 w 485"/>
                <a:gd name="T31" fmla="*/ 243 h 260"/>
                <a:gd name="T32" fmla="*/ 271 w 485"/>
                <a:gd name="T33" fmla="*/ 247 h 260"/>
                <a:gd name="T34" fmla="*/ 214 w 485"/>
                <a:gd name="T35" fmla="*/ 247 h 260"/>
                <a:gd name="T36" fmla="*/ 210 w 485"/>
                <a:gd name="T37" fmla="*/ 243 h 260"/>
                <a:gd name="T38" fmla="*/ 210 w 485"/>
                <a:gd name="T39" fmla="*/ 241 h 260"/>
                <a:gd name="T40" fmla="*/ 0 w 485"/>
                <a:gd name="T41" fmla="*/ 241 h 260"/>
                <a:gd name="T42" fmla="*/ 0 w 485"/>
                <a:gd name="T43" fmla="*/ 253 h 260"/>
                <a:gd name="T44" fmla="*/ 16 w 485"/>
                <a:gd name="T45" fmla="*/ 260 h 260"/>
                <a:gd name="T46" fmla="*/ 16 w 485"/>
                <a:gd name="T47" fmla="*/ 260 h 260"/>
                <a:gd name="T48" fmla="*/ 469 w 485"/>
                <a:gd name="T49" fmla="*/ 260 h 260"/>
                <a:gd name="T50" fmla="*/ 469 w 485"/>
                <a:gd name="T51" fmla="*/ 260 h 260"/>
                <a:gd name="T52" fmla="*/ 485 w 485"/>
                <a:gd name="T53" fmla="*/ 253 h 260"/>
                <a:gd name="T54" fmla="*/ 485 w 485"/>
                <a:gd name="T55" fmla="*/ 241 h 260"/>
                <a:gd name="T56" fmla="*/ 276 w 485"/>
                <a:gd name="T57" fmla="*/ 241 h 260"/>
                <a:gd name="T58" fmla="*/ 276 w 485"/>
                <a:gd name="T59" fmla="*/ 241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85" h="260">
                  <a:moveTo>
                    <a:pt x="412" y="0"/>
                  </a:moveTo>
                  <a:cubicBezTo>
                    <a:pt x="74" y="0"/>
                    <a:pt x="74" y="0"/>
                    <a:pt x="74" y="0"/>
                  </a:cubicBezTo>
                  <a:cubicBezTo>
                    <a:pt x="68" y="0"/>
                    <a:pt x="62" y="5"/>
                    <a:pt x="62" y="12"/>
                  </a:cubicBezTo>
                  <a:cubicBezTo>
                    <a:pt x="62" y="220"/>
                    <a:pt x="62" y="220"/>
                    <a:pt x="62" y="220"/>
                  </a:cubicBezTo>
                  <a:cubicBezTo>
                    <a:pt x="62" y="227"/>
                    <a:pt x="68" y="232"/>
                    <a:pt x="74" y="232"/>
                  </a:cubicBezTo>
                  <a:cubicBezTo>
                    <a:pt x="412" y="232"/>
                    <a:pt x="412" y="232"/>
                    <a:pt x="412" y="232"/>
                  </a:cubicBezTo>
                  <a:cubicBezTo>
                    <a:pt x="419" y="232"/>
                    <a:pt x="424" y="227"/>
                    <a:pt x="424" y="220"/>
                  </a:cubicBezTo>
                  <a:cubicBezTo>
                    <a:pt x="424" y="12"/>
                    <a:pt x="424" y="12"/>
                    <a:pt x="424" y="12"/>
                  </a:cubicBezTo>
                  <a:cubicBezTo>
                    <a:pt x="424" y="5"/>
                    <a:pt x="419" y="0"/>
                    <a:pt x="412" y="0"/>
                  </a:cubicBezTo>
                  <a:close/>
                  <a:moveTo>
                    <a:pt x="408" y="218"/>
                  </a:moveTo>
                  <a:cubicBezTo>
                    <a:pt x="77" y="218"/>
                    <a:pt x="77" y="218"/>
                    <a:pt x="77" y="218"/>
                  </a:cubicBezTo>
                  <a:cubicBezTo>
                    <a:pt x="77" y="13"/>
                    <a:pt x="77" y="13"/>
                    <a:pt x="77" y="13"/>
                  </a:cubicBezTo>
                  <a:cubicBezTo>
                    <a:pt x="408" y="13"/>
                    <a:pt x="408" y="13"/>
                    <a:pt x="408" y="13"/>
                  </a:cubicBezTo>
                  <a:cubicBezTo>
                    <a:pt x="408" y="218"/>
                    <a:pt x="408" y="218"/>
                    <a:pt x="408" y="218"/>
                  </a:cubicBezTo>
                  <a:close/>
                  <a:moveTo>
                    <a:pt x="276" y="241"/>
                  </a:moveTo>
                  <a:cubicBezTo>
                    <a:pt x="276" y="243"/>
                    <a:pt x="276" y="243"/>
                    <a:pt x="276" y="243"/>
                  </a:cubicBezTo>
                  <a:cubicBezTo>
                    <a:pt x="276" y="246"/>
                    <a:pt x="274" y="247"/>
                    <a:pt x="271" y="247"/>
                  </a:cubicBezTo>
                  <a:cubicBezTo>
                    <a:pt x="214" y="247"/>
                    <a:pt x="214" y="247"/>
                    <a:pt x="214" y="247"/>
                  </a:cubicBezTo>
                  <a:cubicBezTo>
                    <a:pt x="212" y="247"/>
                    <a:pt x="210" y="246"/>
                    <a:pt x="210" y="243"/>
                  </a:cubicBezTo>
                  <a:cubicBezTo>
                    <a:pt x="210" y="241"/>
                    <a:pt x="210" y="241"/>
                    <a:pt x="210" y="241"/>
                  </a:cubicBezTo>
                  <a:cubicBezTo>
                    <a:pt x="0" y="241"/>
                    <a:pt x="0" y="241"/>
                    <a:pt x="0" y="241"/>
                  </a:cubicBezTo>
                  <a:cubicBezTo>
                    <a:pt x="0" y="253"/>
                    <a:pt x="0" y="253"/>
                    <a:pt x="0" y="253"/>
                  </a:cubicBezTo>
                  <a:cubicBezTo>
                    <a:pt x="0" y="253"/>
                    <a:pt x="11" y="260"/>
                    <a:pt x="16" y="260"/>
                  </a:cubicBezTo>
                  <a:cubicBezTo>
                    <a:pt x="16" y="260"/>
                    <a:pt x="16" y="260"/>
                    <a:pt x="16" y="260"/>
                  </a:cubicBezTo>
                  <a:cubicBezTo>
                    <a:pt x="469" y="260"/>
                    <a:pt x="469" y="260"/>
                    <a:pt x="469" y="260"/>
                  </a:cubicBezTo>
                  <a:cubicBezTo>
                    <a:pt x="469" y="260"/>
                    <a:pt x="469" y="260"/>
                    <a:pt x="469" y="260"/>
                  </a:cubicBezTo>
                  <a:cubicBezTo>
                    <a:pt x="474" y="260"/>
                    <a:pt x="485" y="253"/>
                    <a:pt x="485" y="253"/>
                  </a:cubicBezTo>
                  <a:cubicBezTo>
                    <a:pt x="485" y="241"/>
                    <a:pt x="485" y="241"/>
                    <a:pt x="485" y="241"/>
                  </a:cubicBezTo>
                  <a:cubicBezTo>
                    <a:pt x="276" y="241"/>
                    <a:pt x="276" y="241"/>
                    <a:pt x="276" y="241"/>
                  </a:cubicBezTo>
                  <a:cubicBezTo>
                    <a:pt x="276" y="241"/>
                    <a:pt x="276" y="241"/>
                    <a:pt x="276" y="241"/>
                  </a:cubicBezTo>
                  <a:close/>
                </a:path>
              </a:pathLst>
            </a:custGeom>
            <a:solidFill>
              <a:schemeClr val="bg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8" name="Rectangle 18"/>
            <p:cNvSpPr>
              <a:spLocks noChangeArrowheads="1"/>
            </p:cNvSpPr>
            <p:nvPr/>
          </p:nvSpPr>
          <p:spPr bwMode="auto">
            <a:xfrm>
              <a:off x="2477" y="3363"/>
              <a:ext cx="463" cy="28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9" name="Freeform 19"/>
            <p:cNvSpPr>
              <a:spLocks noEditPoints="1"/>
            </p:cNvSpPr>
            <p:nvPr/>
          </p:nvSpPr>
          <p:spPr bwMode="auto">
            <a:xfrm>
              <a:off x="2654" y="3440"/>
              <a:ext cx="128" cy="133"/>
            </a:xfrm>
            <a:custGeom>
              <a:avLst/>
              <a:gdLst>
                <a:gd name="T0" fmla="*/ 91 w 91"/>
                <a:gd name="T1" fmla="*/ 7 h 95"/>
                <a:gd name="T2" fmla="*/ 81 w 91"/>
                <a:gd name="T3" fmla="*/ 0 h 95"/>
                <a:gd name="T4" fmla="*/ 74 w 91"/>
                <a:gd name="T5" fmla="*/ 10 h 95"/>
                <a:gd name="T6" fmla="*/ 0 w 91"/>
                <a:gd name="T7" fmla="*/ 10 h 95"/>
                <a:gd name="T8" fmla="*/ 0 w 91"/>
                <a:gd name="T9" fmla="*/ 95 h 95"/>
                <a:gd name="T10" fmla="*/ 85 w 91"/>
                <a:gd name="T11" fmla="*/ 95 h 95"/>
                <a:gd name="T12" fmla="*/ 85 w 91"/>
                <a:gd name="T13" fmla="*/ 16 h 95"/>
                <a:gd name="T14" fmla="*/ 91 w 91"/>
                <a:gd name="T15" fmla="*/ 7 h 95"/>
                <a:gd name="T16" fmla="*/ 72 w 91"/>
                <a:gd name="T17" fmla="*/ 82 h 95"/>
                <a:gd name="T18" fmla="*/ 13 w 91"/>
                <a:gd name="T19" fmla="*/ 82 h 95"/>
                <a:gd name="T20" fmla="*/ 13 w 91"/>
                <a:gd name="T21" fmla="*/ 23 h 95"/>
                <a:gd name="T22" fmla="*/ 65 w 91"/>
                <a:gd name="T23" fmla="*/ 23 h 95"/>
                <a:gd name="T24" fmla="*/ 45 w 91"/>
                <a:gd name="T25" fmla="*/ 52 h 95"/>
                <a:gd name="T26" fmla="*/ 28 w 91"/>
                <a:gd name="T27" fmla="*/ 37 h 95"/>
                <a:gd name="T28" fmla="*/ 19 w 91"/>
                <a:gd name="T29" fmla="*/ 47 h 95"/>
                <a:gd name="T30" fmla="*/ 48 w 91"/>
                <a:gd name="T31" fmla="*/ 71 h 95"/>
                <a:gd name="T32" fmla="*/ 72 w 91"/>
                <a:gd name="T33" fmla="*/ 36 h 95"/>
                <a:gd name="T34" fmla="*/ 72 w 91"/>
                <a:gd name="T35" fmla="*/ 8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1" h="95">
                  <a:moveTo>
                    <a:pt x="91" y="7"/>
                  </a:moveTo>
                  <a:cubicBezTo>
                    <a:pt x="81" y="0"/>
                    <a:pt x="81" y="0"/>
                    <a:pt x="81" y="0"/>
                  </a:cubicBezTo>
                  <a:cubicBezTo>
                    <a:pt x="74" y="10"/>
                    <a:pt x="74" y="10"/>
                    <a:pt x="74" y="10"/>
                  </a:cubicBezTo>
                  <a:cubicBezTo>
                    <a:pt x="0" y="10"/>
                    <a:pt x="0" y="10"/>
                    <a:pt x="0" y="10"/>
                  </a:cubicBezTo>
                  <a:cubicBezTo>
                    <a:pt x="0" y="95"/>
                    <a:pt x="0" y="95"/>
                    <a:pt x="0" y="95"/>
                  </a:cubicBezTo>
                  <a:cubicBezTo>
                    <a:pt x="85" y="95"/>
                    <a:pt x="85" y="95"/>
                    <a:pt x="85" y="95"/>
                  </a:cubicBezTo>
                  <a:cubicBezTo>
                    <a:pt x="85" y="16"/>
                    <a:pt x="85" y="16"/>
                    <a:pt x="85" y="16"/>
                  </a:cubicBezTo>
                  <a:lnTo>
                    <a:pt x="91" y="7"/>
                  </a:lnTo>
                  <a:close/>
                  <a:moveTo>
                    <a:pt x="72" y="82"/>
                  </a:moveTo>
                  <a:cubicBezTo>
                    <a:pt x="13" y="82"/>
                    <a:pt x="13" y="82"/>
                    <a:pt x="13" y="82"/>
                  </a:cubicBezTo>
                  <a:cubicBezTo>
                    <a:pt x="13" y="23"/>
                    <a:pt x="13" y="23"/>
                    <a:pt x="13" y="23"/>
                  </a:cubicBezTo>
                  <a:cubicBezTo>
                    <a:pt x="65" y="23"/>
                    <a:pt x="65" y="23"/>
                    <a:pt x="65" y="23"/>
                  </a:cubicBezTo>
                  <a:cubicBezTo>
                    <a:pt x="61" y="29"/>
                    <a:pt x="55" y="38"/>
                    <a:pt x="45" y="52"/>
                  </a:cubicBezTo>
                  <a:cubicBezTo>
                    <a:pt x="45" y="52"/>
                    <a:pt x="45" y="52"/>
                    <a:pt x="28" y="37"/>
                  </a:cubicBezTo>
                  <a:cubicBezTo>
                    <a:pt x="28" y="37"/>
                    <a:pt x="28" y="37"/>
                    <a:pt x="19" y="47"/>
                  </a:cubicBezTo>
                  <a:cubicBezTo>
                    <a:pt x="19" y="47"/>
                    <a:pt x="19" y="47"/>
                    <a:pt x="48" y="71"/>
                  </a:cubicBezTo>
                  <a:cubicBezTo>
                    <a:pt x="48" y="71"/>
                    <a:pt x="48" y="71"/>
                    <a:pt x="72" y="36"/>
                  </a:cubicBezTo>
                  <a:lnTo>
                    <a:pt x="72" y="8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0" name="Rectangle 20"/>
            <p:cNvSpPr>
              <a:spLocks noChangeArrowheads="1"/>
            </p:cNvSpPr>
            <p:nvPr/>
          </p:nvSpPr>
          <p:spPr bwMode="auto">
            <a:xfrm>
              <a:off x="2530" y="2796"/>
              <a:ext cx="470" cy="303"/>
            </a:xfrm>
            <a:prstGeom prst="rect">
              <a:avLst/>
            </a:prstGeom>
            <a:solidFill>
              <a:schemeClr val="bg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1" name="Freeform 21"/>
            <p:cNvSpPr>
              <a:spLocks noEditPoints="1"/>
            </p:cNvSpPr>
            <p:nvPr/>
          </p:nvSpPr>
          <p:spPr bwMode="auto">
            <a:xfrm>
              <a:off x="3044" y="2895"/>
              <a:ext cx="134" cy="270"/>
            </a:xfrm>
            <a:custGeom>
              <a:avLst/>
              <a:gdLst>
                <a:gd name="T0" fmla="*/ 94 w 96"/>
                <a:gd name="T1" fmla="*/ 0 h 193"/>
                <a:gd name="T2" fmla="*/ 3 w 96"/>
                <a:gd name="T3" fmla="*/ 0 h 193"/>
                <a:gd name="T4" fmla="*/ 0 w 96"/>
                <a:gd name="T5" fmla="*/ 2 h 193"/>
                <a:gd name="T6" fmla="*/ 0 w 96"/>
                <a:gd name="T7" fmla="*/ 40 h 193"/>
                <a:gd name="T8" fmla="*/ 0 w 96"/>
                <a:gd name="T9" fmla="*/ 42 h 193"/>
                <a:gd name="T10" fmla="*/ 0 w 96"/>
                <a:gd name="T11" fmla="*/ 190 h 193"/>
                <a:gd name="T12" fmla="*/ 3 w 96"/>
                <a:gd name="T13" fmla="*/ 193 h 193"/>
                <a:gd name="T14" fmla="*/ 94 w 96"/>
                <a:gd name="T15" fmla="*/ 193 h 193"/>
                <a:gd name="T16" fmla="*/ 96 w 96"/>
                <a:gd name="T17" fmla="*/ 190 h 193"/>
                <a:gd name="T18" fmla="*/ 96 w 96"/>
                <a:gd name="T19" fmla="*/ 42 h 193"/>
                <a:gd name="T20" fmla="*/ 96 w 96"/>
                <a:gd name="T21" fmla="*/ 40 h 193"/>
                <a:gd name="T22" fmla="*/ 96 w 96"/>
                <a:gd name="T23" fmla="*/ 2 h 193"/>
                <a:gd name="T24" fmla="*/ 94 w 96"/>
                <a:gd name="T25" fmla="*/ 0 h 193"/>
                <a:gd name="T26" fmla="*/ 12 w 96"/>
                <a:gd name="T27" fmla="*/ 29 h 193"/>
                <a:gd name="T28" fmla="*/ 12 w 96"/>
                <a:gd name="T29" fmla="*/ 20 h 193"/>
                <a:gd name="T30" fmla="*/ 14 w 96"/>
                <a:gd name="T31" fmla="*/ 18 h 193"/>
                <a:gd name="T32" fmla="*/ 82 w 96"/>
                <a:gd name="T33" fmla="*/ 18 h 193"/>
                <a:gd name="T34" fmla="*/ 85 w 96"/>
                <a:gd name="T35" fmla="*/ 20 h 193"/>
                <a:gd name="T36" fmla="*/ 85 w 96"/>
                <a:gd name="T37" fmla="*/ 29 h 193"/>
                <a:gd name="T38" fmla="*/ 82 w 96"/>
                <a:gd name="T39" fmla="*/ 32 h 193"/>
                <a:gd name="T40" fmla="*/ 14 w 96"/>
                <a:gd name="T41" fmla="*/ 32 h 193"/>
                <a:gd name="T42" fmla="*/ 12 w 96"/>
                <a:gd name="T43" fmla="*/ 29 h 193"/>
                <a:gd name="T44" fmla="*/ 77 w 96"/>
                <a:gd name="T45" fmla="*/ 91 h 193"/>
                <a:gd name="T46" fmla="*/ 70 w 96"/>
                <a:gd name="T47" fmla="*/ 84 h 193"/>
                <a:gd name="T48" fmla="*/ 77 w 96"/>
                <a:gd name="T49" fmla="*/ 78 h 193"/>
                <a:gd name="T50" fmla="*/ 84 w 96"/>
                <a:gd name="T51" fmla="*/ 84 h 193"/>
                <a:gd name="T52" fmla="*/ 77 w 96"/>
                <a:gd name="T53" fmla="*/ 91 h 193"/>
                <a:gd name="T54" fmla="*/ 77 w 96"/>
                <a:gd name="T55" fmla="*/ 69 h 193"/>
                <a:gd name="T56" fmla="*/ 68 w 96"/>
                <a:gd name="T57" fmla="*/ 61 h 193"/>
                <a:gd name="T58" fmla="*/ 77 w 96"/>
                <a:gd name="T59" fmla="*/ 52 h 193"/>
                <a:gd name="T60" fmla="*/ 86 w 96"/>
                <a:gd name="T61" fmla="*/ 61 h 193"/>
                <a:gd name="T62" fmla="*/ 77 w 96"/>
                <a:gd name="T63" fmla="*/ 69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193">
                  <a:moveTo>
                    <a:pt x="94" y="0"/>
                  </a:moveTo>
                  <a:cubicBezTo>
                    <a:pt x="3" y="0"/>
                    <a:pt x="3" y="0"/>
                    <a:pt x="3" y="0"/>
                  </a:cubicBezTo>
                  <a:cubicBezTo>
                    <a:pt x="1" y="0"/>
                    <a:pt x="0" y="1"/>
                    <a:pt x="0" y="2"/>
                  </a:cubicBezTo>
                  <a:cubicBezTo>
                    <a:pt x="0" y="40"/>
                    <a:pt x="0" y="40"/>
                    <a:pt x="0" y="40"/>
                  </a:cubicBezTo>
                  <a:cubicBezTo>
                    <a:pt x="0" y="42"/>
                    <a:pt x="0" y="42"/>
                    <a:pt x="0" y="42"/>
                  </a:cubicBezTo>
                  <a:cubicBezTo>
                    <a:pt x="0" y="190"/>
                    <a:pt x="0" y="190"/>
                    <a:pt x="0" y="190"/>
                  </a:cubicBezTo>
                  <a:cubicBezTo>
                    <a:pt x="0" y="191"/>
                    <a:pt x="1" y="193"/>
                    <a:pt x="3" y="193"/>
                  </a:cubicBezTo>
                  <a:cubicBezTo>
                    <a:pt x="94" y="193"/>
                    <a:pt x="94" y="193"/>
                    <a:pt x="94" y="193"/>
                  </a:cubicBezTo>
                  <a:cubicBezTo>
                    <a:pt x="95" y="193"/>
                    <a:pt x="96" y="191"/>
                    <a:pt x="96" y="190"/>
                  </a:cubicBezTo>
                  <a:cubicBezTo>
                    <a:pt x="96" y="42"/>
                    <a:pt x="96" y="42"/>
                    <a:pt x="96" y="42"/>
                  </a:cubicBezTo>
                  <a:cubicBezTo>
                    <a:pt x="96" y="40"/>
                    <a:pt x="96" y="40"/>
                    <a:pt x="96" y="40"/>
                  </a:cubicBezTo>
                  <a:cubicBezTo>
                    <a:pt x="96" y="2"/>
                    <a:pt x="96" y="2"/>
                    <a:pt x="96" y="2"/>
                  </a:cubicBezTo>
                  <a:cubicBezTo>
                    <a:pt x="96" y="1"/>
                    <a:pt x="95" y="0"/>
                    <a:pt x="94" y="0"/>
                  </a:cubicBezTo>
                  <a:close/>
                  <a:moveTo>
                    <a:pt x="12" y="29"/>
                  </a:moveTo>
                  <a:cubicBezTo>
                    <a:pt x="12" y="20"/>
                    <a:pt x="12" y="20"/>
                    <a:pt x="12" y="20"/>
                  </a:cubicBezTo>
                  <a:cubicBezTo>
                    <a:pt x="12" y="19"/>
                    <a:pt x="13" y="18"/>
                    <a:pt x="14" y="18"/>
                  </a:cubicBezTo>
                  <a:cubicBezTo>
                    <a:pt x="82" y="18"/>
                    <a:pt x="82" y="18"/>
                    <a:pt x="82" y="18"/>
                  </a:cubicBezTo>
                  <a:cubicBezTo>
                    <a:pt x="84" y="18"/>
                    <a:pt x="85" y="19"/>
                    <a:pt x="85" y="20"/>
                  </a:cubicBezTo>
                  <a:cubicBezTo>
                    <a:pt x="85" y="29"/>
                    <a:pt x="85" y="29"/>
                    <a:pt x="85" y="29"/>
                  </a:cubicBezTo>
                  <a:cubicBezTo>
                    <a:pt x="85" y="31"/>
                    <a:pt x="84" y="32"/>
                    <a:pt x="82" y="32"/>
                  </a:cubicBezTo>
                  <a:cubicBezTo>
                    <a:pt x="14" y="32"/>
                    <a:pt x="14" y="32"/>
                    <a:pt x="14" y="32"/>
                  </a:cubicBezTo>
                  <a:cubicBezTo>
                    <a:pt x="13" y="32"/>
                    <a:pt x="12" y="31"/>
                    <a:pt x="12" y="29"/>
                  </a:cubicBezTo>
                  <a:close/>
                  <a:moveTo>
                    <a:pt x="77" y="91"/>
                  </a:moveTo>
                  <a:cubicBezTo>
                    <a:pt x="73" y="91"/>
                    <a:pt x="70" y="88"/>
                    <a:pt x="70" y="84"/>
                  </a:cubicBezTo>
                  <a:cubicBezTo>
                    <a:pt x="70" y="81"/>
                    <a:pt x="73" y="78"/>
                    <a:pt x="77" y="78"/>
                  </a:cubicBezTo>
                  <a:cubicBezTo>
                    <a:pt x="80" y="78"/>
                    <a:pt x="84" y="81"/>
                    <a:pt x="84" y="84"/>
                  </a:cubicBezTo>
                  <a:cubicBezTo>
                    <a:pt x="84" y="88"/>
                    <a:pt x="80" y="91"/>
                    <a:pt x="77" y="91"/>
                  </a:cubicBezTo>
                  <a:close/>
                  <a:moveTo>
                    <a:pt x="77" y="69"/>
                  </a:moveTo>
                  <a:cubicBezTo>
                    <a:pt x="72" y="69"/>
                    <a:pt x="68" y="65"/>
                    <a:pt x="68" y="61"/>
                  </a:cubicBezTo>
                  <a:cubicBezTo>
                    <a:pt x="68" y="56"/>
                    <a:pt x="72" y="52"/>
                    <a:pt x="77" y="52"/>
                  </a:cubicBezTo>
                  <a:cubicBezTo>
                    <a:pt x="82" y="52"/>
                    <a:pt x="86" y="56"/>
                    <a:pt x="86" y="61"/>
                  </a:cubicBezTo>
                  <a:cubicBezTo>
                    <a:pt x="86" y="65"/>
                    <a:pt x="82" y="69"/>
                    <a:pt x="77" y="69"/>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2" name="Freeform 22"/>
            <p:cNvSpPr>
              <a:spLocks noEditPoints="1"/>
            </p:cNvSpPr>
            <p:nvPr/>
          </p:nvSpPr>
          <p:spPr bwMode="auto">
            <a:xfrm>
              <a:off x="2512" y="2779"/>
              <a:ext cx="502" cy="386"/>
            </a:xfrm>
            <a:custGeom>
              <a:avLst/>
              <a:gdLst>
                <a:gd name="T0" fmla="*/ 348 w 359"/>
                <a:gd name="T1" fmla="*/ 0 h 276"/>
                <a:gd name="T2" fmla="*/ 12 w 359"/>
                <a:gd name="T3" fmla="*/ 0 h 276"/>
                <a:gd name="T4" fmla="*/ 0 w 359"/>
                <a:gd name="T5" fmla="*/ 10 h 276"/>
                <a:gd name="T6" fmla="*/ 0 w 359"/>
                <a:gd name="T7" fmla="*/ 229 h 276"/>
                <a:gd name="T8" fmla="*/ 12 w 359"/>
                <a:gd name="T9" fmla="*/ 239 h 276"/>
                <a:gd name="T10" fmla="*/ 123 w 359"/>
                <a:gd name="T11" fmla="*/ 239 h 276"/>
                <a:gd name="T12" fmla="*/ 123 w 359"/>
                <a:gd name="T13" fmla="*/ 255 h 276"/>
                <a:gd name="T14" fmla="*/ 98 w 359"/>
                <a:gd name="T15" fmla="*/ 276 h 276"/>
                <a:gd name="T16" fmla="*/ 268 w 359"/>
                <a:gd name="T17" fmla="*/ 276 h 276"/>
                <a:gd name="T18" fmla="*/ 244 w 359"/>
                <a:gd name="T19" fmla="*/ 255 h 276"/>
                <a:gd name="T20" fmla="*/ 244 w 359"/>
                <a:gd name="T21" fmla="*/ 239 h 276"/>
                <a:gd name="T22" fmla="*/ 348 w 359"/>
                <a:gd name="T23" fmla="*/ 239 h 276"/>
                <a:gd name="T24" fmla="*/ 359 w 359"/>
                <a:gd name="T25" fmla="*/ 229 h 276"/>
                <a:gd name="T26" fmla="*/ 359 w 359"/>
                <a:gd name="T27" fmla="*/ 10 h 276"/>
                <a:gd name="T28" fmla="*/ 348 w 359"/>
                <a:gd name="T29" fmla="*/ 0 h 276"/>
                <a:gd name="T30" fmla="*/ 339 w 359"/>
                <a:gd name="T31" fmla="*/ 212 h 276"/>
                <a:gd name="T32" fmla="*/ 329 w 359"/>
                <a:gd name="T33" fmla="*/ 221 h 276"/>
                <a:gd name="T34" fmla="*/ 31 w 359"/>
                <a:gd name="T35" fmla="*/ 221 h 276"/>
                <a:gd name="T36" fmla="*/ 21 w 359"/>
                <a:gd name="T37" fmla="*/ 212 h 276"/>
                <a:gd name="T38" fmla="*/ 21 w 359"/>
                <a:gd name="T39" fmla="*/ 27 h 276"/>
                <a:gd name="T40" fmla="*/ 31 w 359"/>
                <a:gd name="T41" fmla="*/ 18 h 276"/>
                <a:gd name="T42" fmla="*/ 329 w 359"/>
                <a:gd name="T43" fmla="*/ 18 h 276"/>
                <a:gd name="T44" fmla="*/ 339 w 359"/>
                <a:gd name="T45" fmla="*/ 27 h 276"/>
                <a:gd name="T46" fmla="*/ 339 w 359"/>
                <a:gd name="T47" fmla="*/ 212 h 276"/>
                <a:gd name="T48" fmla="*/ 339 w 359"/>
                <a:gd name="T49" fmla="*/ 212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59" h="276">
                  <a:moveTo>
                    <a:pt x="348" y="0"/>
                  </a:moveTo>
                  <a:cubicBezTo>
                    <a:pt x="12" y="0"/>
                    <a:pt x="12" y="0"/>
                    <a:pt x="12" y="0"/>
                  </a:cubicBezTo>
                  <a:cubicBezTo>
                    <a:pt x="6" y="0"/>
                    <a:pt x="0" y="4"/>
                    <a:pt x="0" y="10"/>
                  </a:cubicBezTo>
                  <a:cubicBezTo>
                    <a:pt x="0" y="229"/>
                    <a:pt x="0" y="229"/>
                    <a:pt x="0" y="229"/>
                  </a:cubicBezTo>
                  <a:cubicBezTo>
                    <a:pt x="0" y="234"/>
                    <a:pt x="6" y="239"/>
                    <a:pt x="12" y="239"/>
                  </a:cubicBezTo>
                  <a:cubicBezTo>
                    <a:pt x="123" y="239"/>
                    <a:pt x="123" y="239"/>
                    <a:pt x="123" y="239"/>
                  </a:cubicBezTo>
                  <a:cubicBezTo>
                    <a:pt x="123" y="255"/>
                    <a:pt x="123" y="255"/>
                    <a:pt x="123" y="255"/>
                  </a:cubicBezTo>
                  <a:cubicBezTo>
                    <a:pt x="98" y="276"/>
                    <a:pt x="98" y="276"/>
                    <a:pt x="98" y="276"/>
                  </a:cubicBezTo>
                  <a:cubicBezTo>
                    <a:pt x="268" y="276"/>
                    <a:pt x="268" y="276"/>
                    <a:pt x="268" y="276"/>
                  </a:cubicBezTo>
                  <a:cubicBezTo>
                    <a:pt x="244" y="255"/>
                    <a:pt x="244" y="255"/>
                    <a:pt x="244" y="255"/>
                  </a:cubicBezTo>
                  <a:cubicBezTo>
                    <a:pt x="244" y="239"/>
                    <a:pt x="244" y="239"/>
                    <a:pt x="244" y="239"/>
                  </a:cubicBezTo>
                  <a:cubicBezTo>
                    <a:pt x="348" y="239"/>
                    <a:pt x="348" y="239"/>
                    <a:pt x="348" y="239"/>
                  </a:cubicBezTo>
                  <a:cubicBezTo>
                    <a:pt x="354" y="239"/>
                    <a:pt x="359" y="234"/>
                    <a:pt x="359" y="229"/>
                  </a:cubicBezTo>
                  <a:cubicBezTo>
                    <a:pt x="359" y="10"/>
                    <a:pt x="359" y="10"/>
                    <a:pt x="359" y="10"/>
                  </a:cubicBezTo>
                  <a:cubicBezTo>
                    <a:pt x="359" y="4"/>
                    <a:pt x="354" y="0"/>
                    <a:pt x="348" y="0"/>
                  </a:cubicBezTo>
                  <a:close/>
                  <a:moveTo>
                    <a:pt x="339" y="212"/>
                  </a:moveTo>
                  <a:cubicBezTo>
                    <a:pt x="339" y="217"/>
                    <a:pt x="335" y="221"/>
                    <a:pt x="329" y="221"/>
                  </a:cubicBezTo>
                  <a:cubicBezTo>
                    <a:pt x="31" y="221"/>
                    <a:pt x="31" y="221"/>
                    <a:pt x="31" y="221"/>
                  </a:cubicBezTo>
                  <a:cubicBezTo>
                    <a:pt x="25" y="221"/>
                    <a:pt x="21" y="217"/>
                    <a:pt x="21" y="212"/>
                  </a:cubicBezTo>
                  <a:cubicBezTo>
                    <a:pt x="21" y="27"/>
                    <a:pt x="21" y="27"/>
                    <a:pt x="21" y="27"/>
                  </a:cubicBezTo>
                  <a:cubicBezTo>
                    <a:pt x="21" y="22"/>
                    <a:pt x="25" y="18"/>
                    <a:pt x="31" y="18"/>
                  </a:cubicBezTo>
                  <a:cubicBezTo>
                    <a:pt x="329" y="18"/>
                    <a:pt x="329" y="18"/>
                    <a:pt x="329" y="18"/>
                  </a:cubicBezTo>
                  <a:cubicBezTo>
                    <a:pt x="335" y="18"/>
                    <a:pt x="339" y="22"/>
                    <a:pt x="339" y="27"/>
                  </a:cubicBezTo>
                  <a:cubicBezTo>
                    <a:pt x="339" y="212"/>
                    <a:pt x="339" y="212"/>
                    <a:pt x="339" y="212"/>
                  </a:cubicBezTo>
                  <a:cubicBezTo>
                    <a:pt x="339" y="212"/>
                    <a:pt x="339" y="212"/>
                    <a:pt x="339" y="212"/>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3" name="Freeform 23"/>
            <p:cNvSpPr>
              <a:spLocks noEditPoints="1"/>
            </p:cNvSpPr>
            <p:nvPr/>
          </p:nvSpPr>
          <p:spPr bwMode="auto">
            <a:xfrm>
              <a:off x="2717" y="2889"/>
              <a:ext cx="96" cy="101"/>
            </a:xfrm>
            <a:custGeom>
              <a:avLst/>
              <a:gdLst>
                <a:gd name="T0" fmla="*/ 68 w 68"/>
                <a:gd name="T1" fmla="*/ 6 h 72"/>
                <a:gd name="T2" fmla="*/ 60 w 68"/>
                <a:gd name="T3" fmla="*/ 0 h 72"/>
                <a:gd name="T4" fmla="*/ 55 w 68"/>
                <a:gd name="T5" fmla="*/ 8 h 72"/>
                <a:gd name="T6" fmla="*/ 0 w 68"/>
                <a:gd name="T7" fmla="*/ 8 h 72"/>
                <a:gd name="T8" fmla="*/ 0 w 68"/>
                <a:gd name="T9" fmla="*/ 72 h 72"/>
                <a:gd name="T10" fmla="*/ 64 w 68"/>
                <a:gd name="T11" fmla="*/ 72 h 72"/>
                <a:gd name="T12" fmla="*/ 64 w 68"/>
                <a:gd name="T13" fmla="*/ 12 h 72"/>
                <a:gd name="T14" fmla="*/ 68 w 68"/>
                <a:gd name="T15" fmla="*/ 6 h 72"/>
                <a:gd name="T16" fmla="*/ 54 w 68"/>
                <a:gd name="T17" fmla="*/ 62 h 72"/>
                <a:gd name="T18" fmla="*/ 10 w 68"/>
                <a:gd name="T19" fmla="*/ 62 h 72"/>
                <a:gd name="T20" fmla="*/ 10 w 68"/>
                <a:gd name="T21" fmla="*/ 18 h 72"/>
                <a:gd name="T22" fmla="*/ 48 w 68"/>
                <a:gd name="T23" fmla="*/ 18 h 72"/>
                <a:gd name="T24" fmla="*/ 34 w 68"/>
                <a:gd name="T25" fmla="*/ 40 h 72"/>
                <a:gd name="T26" fmla="*/ 21 w 68"/>
                <a:gd name="T27" fmla="*/ 29 h 72"/>
                <a:gd name="T28" fmla="*/ 14 w 68"/>
                <a:gd name="T29" fmla="*/ 36 h 72"/>
                <a:gd name="T30" fmla="*/ 36 w 68"/>
                <a:gd name="T31" fmla="*/ 54 h 72"/>
                <a:gd name="T32" fmla="*/ 54 w 68"/>
                <a:gd name="T33" fmla="*/ 27 h 72"/>
                <a:gd name="T34" fmla="*/ 54 w 68"/>
                <a:gd name="T35" fmla="*/ 6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8" h="72">
                  <a:moveTo>
                    <a:pt x="68" y="6"/>
                  </a:moveTo>
                  <a:cubicBezTo>
                    <a:pt x="60" y="0"/>
                    <a:pt x="60" y="0"/>
                    <a:pt x="60" y="0"/>
                  </a:cubicBezTo>
                  <a:cubicBezTo>
                    <a:pt x="55" y="8"/>
                    <a:pt x="55" y="8"/>
                    <a:pt x="55" y="8"/>
                  </a:cubicBezTo>
                  <a:cubicBezTo>
                    <a:pt x="0" y="8"/>
                    <a:pt x="0" y="8"/>
                    <a:pt x="0" y="8"/>
                  </a:cubicBezTo>
                  <a:cubicBezTo>
                    <a:pt x="0" y="72"/>
                    <a:pt x="0" y="72"/>
                    <a:pt x="0" y="72"/>
                  </a:cubicBezTo>
                  <a:cubicBezTo>
                    <a:pt x="64" y="72"/>
                    <a:pt x="64" y="72"/>
                    <a:pt x="64" y="72"/>
                  </a:cubicBezTo>
                  <a:cubicBezTo>
                    <a:pt x="64" y="12"/>
                    <a:pt x="64" y="12"/>
                    <a:pt x="64" y="12"/>
                  </a:cubicBezTo>
                  <a:lnTo>
                    <a:pt x="68" y="6"/>
                  </a:lnTo>
                  <a:close/>
                  <a:moveTo>
                    <a:pt x="54" y="62"/>
                  </a:moveTo>
                  <a:cubicBezTo>
                    <a:pt x="10" y="62"/>
                    <a:pt x="10" y="62"/>
                    <a:pt x="10" y="62"/>
                  </a:cubicBezTo>
                  <a:cubicBezTo>
                    <a:pt x="10" y="18"/>
                    <a:pt x="10" y="18"/>
                    <a:pt x="10" y="18"/>
                  </a:cubicBezTo>
                  <a:cubicBezTo>
                    <a:pt x="48" y="18"/>
                    <a:pt x="48" y="18"/>
                    <a:pt x="48" y="18"/>
                  </a:cubicBezTo>
                  <a:cubicBezTo>
                    <a:pt x="45" y="22"/>
                    <a:pt x="41" y="29"/>
                    <a:pt x="34" y="40"/>
                  </a:cubicBezTo>
                  <a:cubicBezTo>
                    <a:pt x="34" y="40"/>
                    <a:pt x="34" y="40"/>
                    <a:pt x="21" y="29"/>
                  </a:cubicBezTo>
                  <a:cubicBezTo>
                    <a:pt x="21" y="29"/>
                    <a:pt x="21" y="29"/>
                    <a:pt x="14" y="36"/>
                  </a:cubicBezTo>
                  <a:cubicBezTo>
                    <a:pt x="14" y="36"/>
                    <a:pt x="14" y="36"/>
                    <a:pt x="36" y="54"/>
                  </a:cubicBezTo>
                  <a:cubicBezTo>
                    <a:pt x="36" y="54"/>
                    <a:pt x="36" y="54"/>
                    <a:pt x="54" y="27"/>
                  </a:cubicBezTo>
                  <a:lnTo>
                    <a:pt x="54" y="62"/>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4" name="Freeform 24"/>
            <p:cNvSpPr>
              <a:spLocks/>
            </p:cNvSpPr>
            <p:nvPr/>
          </p:nvSpPr>
          <p:spPr bwMode="auto">
            <a:xfrm>
              <a:off x="2512" y="3210"/>
              <a:ext cx="446" cy="100"/>
            </a:xfrm>
            <a:custGeom>
              <a:avLst/>
              <a:gdLst>
                <a:gd name="T0" fmla="*/ 311 w 319"/>
                <a:gd name="T1" fmla="*/ 0 h 71"/>
                <a:gd name="T2" fmla="*/ 8 w 319"/>
                <a:gd name="T3" fmla="*/ 0 h 71"/>
                <a:gd name="T4" fmla="*/ 0 w 319"/>
                <a:gd name="T5" fmla="*/ 9 h 71"/>
                <a:gd name="T6" fmla="*/ 0 w 319"/>
                <a:gd name="T7" fmla="*/ 30 h 71"/>
                <a:gd name="T8" fmla="*/ 8 w 319"/>
                <a:gd name="T9" fmla="*/ 38 h 71"/>
                <a:gd name="T10" fmla="*/ 149 w 319"/>
                <a:gd name="T11" fmla="*/ 38 h 71"/>
                <a:gd name="T12" fmla="*/ 149 w 319"/>
                <a:gd name="T13" fmla="*/ 43 h 71"/>
                <a:gd name="T14" fmla="*/ 128 w 319"/>
                <a:gd name="T15" fmla="*/ 50 h 71"/>
                <a:gd name="T16" fmla="*/ 120 w 319"/>
                <a:gd name="T17" fmla="*/ 60 h 71"/>
                <a:gd name="T18" fmla="*/ 130 w 319"/>
                <a:gd name="T19" fmla="*/ 71 h 71"/>
                <a:gd name="T20" fmla="*/ 189 w 319"/>
                <a:gd name="T21" fmla="*/ 71 h 71"/>
                <a:gd name="T22" fmla="*/ 200 w 319"/>
                <a:gd name="T23" fmla="*/ 60 h 71"/>
                <a:gd name="T24" fmla="*/ 193 w 319"/>
                <a:gd name="T25" fmla="*/ 50 h 71"/>
                <a:gd name="T26" fmla="*/ 170 w 319"/>
                <a:gd name="T27" fmla="*/ 43 h 71"/>
                <a:gd name="T28" fmla="*/ 170 w 319"/>
                <a:gd name="T29" fmla="*/ 38 h 71"/>
                <a:gd name="T30" fmla="*/ 311 w 319"/>
                <a:gd name="T31" fmla="*/ 38 h 71"/>
                <a:gd name="T32" fmla="*/ 319 w 319"/>
                <a:gd name="T33" fmla="*/ 30 h 71"/>
                <a:gd name="T34" fmla="*/ 319 w 319"/>
                <a:gd name="T35" fmla="*/ 9 h 71"/>
                <a:gd name="T36" fmla="*/ 311 w 319"/>
                <a:gd name="T37"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9" h="71">
                  <a:moveTo>
                    <a:pt x="311" y="0"/>
                  </a:moveTo>
                  <a:cubicBezTo>
                    <a:pt x="8" y="0"/>
                    <a:pt x="8" y="0"/>
                    <a:pt x="8" y="0"/>
                  </a:cubicBezTo>
                  <a:cubicBezTo>
                    <a:pt x="4" y="0"/>
                    <a:pt x="0" y="4"/>
                    <a:pt x="0" y="9"/>
                  </a:cubicBezTo>
                  <a:cubicBezTo>
                    <a:pt x="0" y="30"/>
                    <a:pt x="0" y="30"/>
                    <a:pt x="0" y="30"/>
                  </a:cubicBezTo>
                  <a:cubicBezTo>
                    <a:pt x="0" y="34"/>
                    <a:pt x="4" y="38"/>
                    <a:pt x="8" y="38"/>
                  </a:cubicBezTo>
                  <a:cubicBezTo>
                    <a:pt x="149" y="38"/>
                    <a:pt x="149" y="38"/>
                    <a:pt x="149" y="38"/>
                  </a:cubicBezTo>
                  <a:cubicBezTo>
                    <a:pt x="149" y="43"/>
                    <a:pt x="149" y="43"/>
                    <a:pt x="149" y="43"/>
                  </a:cubicBezTo>
                  <a:cubicBezTo>
                    <a:pt x="140" y="46"/>
                    <a:pt x="128" y="50"/>
                    <a:pt x="128" y="50"/>
                  </a:cubicBezTo>
                  <a:cubicBezTo>
                    <a:pt x="123" y="51"/>
                    <a:pt x="120" y="55"/>
                    <a:pt x="120" y="60"/>
                  </a:cubicBezTo>
                  <a:cubicBezTo>
                    <a:pt x="120" y="66"/>
                    <a:pt x="125" y="71"/>
                    <a:pt x="130" y="71"/>
                  </a:cubicBezTo>
                  <a:cubicBezTo>
                    <a:pt x="189" y="71"/>
                    <a:pt x="189" y="71"/>
                    <a:pt x="189" y="71"/>
                  </a:cubicBezTo>
                  <a:cubicBezTo>
                    <a:pt x="195" y="71"/>
                    <a:pt x="200" y="66"/>
                    <a:pt x="200" y="60"/>
                  </a:cubicBezTo>
                  <a:cubicBezTo>
                    <a:pt x="200" y="56"/>
                    <a:pt x="197" y="52"/>
                    <a:pt x="193" y="50"/>
                  </a:cubicBezTo>
                  <a:cubicBezTo>
                    <a:pt x="192" y="50"/>
                    <a:pt x="180" y="46"/>
                    <a:pt x="170" y="43"/>
                  </a:cubicBezTo>
                  <a:cubicBezTo>
                    <a:pt x="170" y="38"/>
                    <a:pt x="170" y="38"/>
                    <a:pt x="170" y="38"/>
                  </a:cubicBezTo>
                  <a:cubicBezTo>
                    <a:pt x="311" y="38"/>
                    <a:pt x="311" y="38"/>
                    <a:pt x="311" y="38"/>
                  </a:cubicBezTo>
                  <a:cubicBezTo>
                    <a:pt x="316" y="38"/>
                    <a:pt x="319" y="34"/>
                    <a:pt x="319" y="30"/>
                  </a:cubicBezTo>
                  <a:cubicBezTo>
                    <a:pt x="319" y="9"/>
                    <a:pt x="319" y="9"/>
                    <a:pt x="319" y="9"/>
                  </a:cubicBezTo>
                  <a:cubicBezTo>
                    <a:pt x="319" y="4"/>
                    <a:pt x="316" y="0"/>
                    <a:pt x="311"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5" name="Oval 25"/>
            <p:cNvSpPr>
              <a:spLocks noChangeArrowheads="1"/>
            </p:cNvSpPr>
            <p:nvPr/>
          </p:nvSpPr>
          <p:spPr bwMode="auto">
            <a:xfrm>
              <a:off x="2743" y="3223"/>
              <a:ext cx="28" cy="28"/>
            </a:xfrm>
            <a:prstGeom prst="ellipse">
              <a:avLst/>
            </a:pr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6" name="Oval 26"/>
            <p:cNvSpPr>
              <a:spLocks noChangeArrowheads="1"/>
            </p:cNvSpPr>
            <p:nvPr/>
          </p:nvSpPr>
          <p:spPr bwMode="auto">
            <a:xfrm>
              <a:off x="2701" y="3223"/>
              <a:ext cx="28" cy="28"/>
            </a:xfrm>
            <a:prstGeom prst="ellipse">
              <a:avLst/>
            </a:pr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7" name="Oval 27"/>
            <p:cNvSpPr>
              <a:spLocks noChangeArrowheads="1"/>
            </p:cNvSpPr>
            <p:nvPr/>
          </p:nvSpPr>
          <p:spPr bwMode="auto">
            <a:xfrm>
              <a:off x="2604" y="3223"/>
              <a:ext cx="28" cy="28"/>
            </a:xfrm>
            <a:prstGeom prst="ellipse">
              <a:avLst/>
            </a:pr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grpSp>
        <p:nvGrpSpPr>
          <p:cNvPr id="48" name="Group 30"/>
          <p:cNvGrpSpPr>
            <a:grpSpLocks noChangeAspect="1"/>
          </p:cNvGrpSpPr>
          <p:nvPr/>
        </p:nvGrpSpPr>
        <p:grpSpPr bwMode="auto">
          <a:xfrm>
            <a:off x="6797819" y="1658330"/>
            <a:ext cx="1655030" cy="1141401"/>
            <a:chOff x="2567" y="1160"/>
            <a:chExt cx="812" cy="560"/>
          </a:xfrm>
        </p:grpSpPr>
        <p:sp>
          <p:nvSpPr>
            <p:cNvPr id="49" name="Freeform 63"/>
            <p:cNvSpPr>
              <a:spLocks/>
            </p:cNvSpPr>
            <p:nvPr/>
          </p:nvSpPr>
          <p:spPr bwMode="auto">
            <a:xfrm>
              <a:off x="2567" y="1308"/>
              <a:ext cx="52" cy="56"/>
            </a:xfrm>
            <a:custGeom>
              <a:avLst/>
              <a:gdLst>
                <a:gd name="T0" fmla="*/ 0 w 52"/>
                <a:gd name="T1" fmla="*/ 6 h 56"/>
                <a:gd name="T2" fmla="*/ 46 w 52"/>
                <a:gd name="T3" fmla="*/ 56 h 56"/>
                <a:gd name="T4" fmla="*/ 52 w 52"/>
                <a:gd name="T5" fmla="*/ 51 h 56"/>
                <a:gd name="T6" fmla="*/ 7 w 52"/>
                <a:gd name="T7" fmla="*/ 0 h 56"/>
                <a:gd name="T8" fmla="*/ 0 w 52"/>
                <a:gd name="T9" fmla="*/ 6 h 56"/>
              </a:gdLst>
              <a:ahLst/>
              <a:cxnLst>
                <a:cxn ang="0">
                  <a:pos x="T0" y="T1"/>
                </a:cxn>
                <a:cxn ang="0">
                  <a:pos x="T2" y="T3"/>
                </a:cxn>
                <a:cxn ang="0">
                  <a:pos x="T4" y="T5"/>
                </a:cxn>
                <a:cxn ang="0">
                  <a:pos x="T6" y="T7"/>
                </a:cxn>
                <a:cxn ang="0">
                  <a:pos x="T8" y="T9"/>
                </a:cxn>
              </a:cxnLst>
              <a:rect l="0" t="0" r="r" b="b"/>
              <a:pathLst>
                <a:path w="52" h="56">
                  <a:moveTo>
                    <a:pt x="0" y="6"/>
                  </a:moveTo>
                  <a:lnTo>
                    <a:pt x="46" y="56"/>
                  </a:lnTo>
                  <a:lnTo>
                    <a:pt x="52" y="51"/>
                  </a:lnTo>
                  <a:lnTo>
                    <a:pt x="7" y="0"/>
                  </a:lnTo>
                  <a:lnTo>
                    <a:pt x="0" y="6"/>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50" name="Freeform 64"/>
            <p:cNvSpPr>
              <a:spLocks/>
            </p:cNvSpPr>
            <p:nvPr/>
          </p:nvSpPr>
          <p:spPr bwMode="auto">
            <a:xfrm>
              <a:off x="2592" y="1293"/>
              <a:ext cx="38" cy="43"/>
            </a:xfrm>
            <a:custGeom>
              <a:avLst/>
              <a:gdLst>
                <a:gd name="T0" fmla="*/ 0 w 38"/>
                <a:gd name="T1" fmla="*/ 7 h 43"/>
                <a:gd name="T2" fmla="*/ 30 w 38"/>
                <a:gd name="T3" fmla="*/ 43 h 43"/>
                <a:gd name="T4" fmla="*/ 38 w 38"/>
                <a:gd name="T5" fmla="*/ 36 h 43"/>
                <a:gd name="T6" fmla="*/ 7 w 38"/>
                <a:gd name="T7" fmla="*/ 0 h 43"/>
                <a:gd name="T8" fmla="*/ 0 w 38"/>
                <a:gd name="T9" fmla="*/ 7 h 43"/>
              </a:gdLst>
              <a:ahLst/>
              <a:cxnLst>
                <a:cxn ang="0">
                  <a:pos x="T0" y="T1"/>
                </a:cxn>
                <a:cxn ang="0">
                  <a:pos x="T2" y="T3"/>
                </a:cxn>
                <a:cxn ang="0">
                  <a:pos x="T4" y="T5"/>
                </a:cxn>
                <a:cxn ang="0">
                  <a:pos x="T6" y="T7"/>
                </a:cxn>
                <a:cxn ang="0">
                  <a:pos x="T8" y="T9"/>
                </a:cxn>
              </a:cxnLst>
              <a:rect l="0" t="0" r="r" b="b"/>
              <a:pathLst>
                <a:path w="38" h="43">
                  <a:moveTo>
                    <a:pt x="0" y="7"/>
                  </a:moveTo>
                  <a:lnTo>
                    <a:pt x="30" y="43"/>
                  </a:lnTo>
                  <a:lnTo>
                    <a:pt x="38" y="36"/>
                  </a:lnTo>
                  <a:lnTo>
                    <a:pt x="7" y="0"/>
                  </a:lnTo>
                  <a:lnTo>
                    <a:pt x="0" y="7"/>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51" name="Freeform 65"/>
            <p:cNvSpPr>
              <a:spLocks/>
            </p:cNvSpPr>
            <p:nvPr/>
          </p:nvSpPr>
          <p:spPr bwMode="auto">
            <a:xfrm>
              <a:off x="2615" y="1276"/>
              <a:ext cx="36" cy="43"/>
            </a:xfrm>
            <a:custGeom>
              <a:avLst/>
              <a:gdLst>
                <a:gd name="T0" fmla="*/ 0 w 36"/>
                <a:gd name="T1" fmla="*/ 6 h 43"/>
                <a:gd name="T2" fmla="*/ 28 w 36"/>
                <a:gd name="T3" fmla="*/ 43 h 43"/>
                <a:gd name="T4" fmla="*/ 36 w 36"/>
                <a:gd name="T5" fmla="*/ 38 h 43"/>
                <a:gd name="T6" fmla="*/ 8 w 36"/>
                <a:gd name="T7" fmla="*/ 0 h 43"/>
                <a:gd name="T8" fmla="*/ 0 w 36"/>
                <a:gd name="T9" fmla="*/ 6 h 43"/>
              </a:gdLst>
              <a:ahLst/>
              <a:cxnLst>
                <a:cxn ang="0">
                  <a:pos x="T0" y="T1"/>
                </a:cxn>
                <a:cxn ang="0">
                  <a:pos x="T2" y="T3"/>
                </a:cxn>
                <a:cxn ang="0">
                  <a:pos x="T4" y="T5"/>
                </a:cxn>
                <a:cxn ang="0">
                  <a:pos x="T6" y="T7"/>
                </a:cxn>
                <a:cxn ang="0">
                  <a:pos x="T8" y="T9"/>
                </a:cxn>
              </a:cxnLst>
              <a:rect l="0" t="0" r="r" b="b"/>
              <a:pathLst>
                <a:path w="36" h="43">
                  <a:moveTo>
                    <a:pt x="0" y="6"/>
                  </a:moveTo>
                  <a:lnTo>
                    <a:pt x="28" y="43"/>
                  </a:lnTo>
                  <a:lnTo>
                    <a:pt x="36" y="38"/>
                  </a:lnTo>
                  <a:lnTo>
                    <a:pt x="8" y="0"/>
                  </a:lnTo>
                  <a:lnTo>
                    <a:pt x="0" y="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52" name="Freeform 66"/>
            <p:cNvSpPr>
              <a:spLocks/>
            </p:cNvSpPr>
            <p:nvPr/>
          </p:nvSpPr>
          <p:spPr bwMode="auto">
            <a:xfrm>
              <a:off x="2638" y="1259"/>
              <a:ext cx="35" cy="45"/>
            </a:xfrm>
            <a:custGeom>
              <a:avLst/>
              <a:gdLst>
                <a:gd name="T0" fmla="*/ 0 w 35"/>
                <a:gd name="T1" fmla="*/ 6 h 45"/>
                <a:gd name="T2" fmla="*/ 27 w 35"/>
                <a:gd name="T3" fmla="*/ 45 h 45"/>
                <a:gd name="T4" fmla="*/ 35 w 35"/>
                <a:gd name="T5" fmla="*/ 39 h 45"/>
                <a:gd name="T6" fmla="*/ 9 w 35"/>
                <a:gd name="T7" fmla="*/ 0 h 45"/>
                <a:gd name="T8" fmla="*/ 0 w 35"/>
                <a:gd name="T9" fmla="*/ 6 h 45"/>
              </a:gdLst>
              <a:ahLst/>
              <a:cxnLst>
                <a:cxn ang="0">
                  <a:pos x="T0" y="T1"/>
                </a:cxn>
                <a:cxn ang="0">
                  <a:pos x="T2" y="T3"/>
                </a:cxn>
                <a:cxn ang="0">
                  <a:pos x="T4" y="T5"/>
                </a:cxn>
                <a:cxn ang="0">
                  <a:pos x="T6" y="T7"/>
                </a:cxn>
                <a:cxn ang="0">
                  <a:pos x="T8" y="T9"/>
                </a:cxn>
              </a:cxnLst>
              <a:rect l="0" t="0" r="r" b="b"/>
              <a:pathLst>
                <a:path w="35" h="45">
                  <a:moveTo>
                    <a:pt x="0" y="6"/>
                  </a:moveTo>
                  <a:lnTo>
                    <a:pt x="27" y="45"/>
                  </a:lnTo>
                  <a:lnTo>
                    <a:pt x="35" y="39"/>
                  </a:lnTo>
                  <a:lnTo>
                    <a:pt x="9" y="0"/>
                  </a:lnTo>
                  <a:lnTo>
                    <a:pt x="0" y="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53" name="Freeform 67"/>
            <p:cNvSpPr>
              <a:spLocks/>
            </p:cNvSpPr>
            <p:nvPr/>
          </p:nvSpPr>
          <p:spPr bwMode="auto">
            <a:xfrm>
              <a:off x="2664" y="1244"/>
              <a:ext cx="32" cy="46"/>
            </a:xfrm>
            <a:custGeom>
              <a:avLst/>
              <a:gdLst>
                <a:gd name="T0" fmla="*/ 0 w 32"/>
                <a:gd name="T1" fmla="*/ 5 h 46"/>
                <a:gd name="T2" fmla="*/ 23 w 32"/>
                <a:gd name="T3" fmla="*/ 46 h 46"/>
                <a:gd name="T4" fmla="*/ 32 w 32"/>
                <a:gd name="T5" fmla="*/ 40 h 46"/>
                <a:gd name="T6" fmla="*/ 8 w 32"/>
                <a:gd name="T7" fmla="*/ 0 h 46"/>
                <a:gd name="T8" fmla="*/ 0 w 32"/>
                <a:gd name="T9" fmla="*/ 5 h 46"/>
              </a:gdLst>
              <a:ahLst/>
              <a:cxnLst>
                <a:cxn ang="0">
                  <a:pos x="T0" y="T1"/>
                </a:cxn>
                <a:cxn ang="0">
                  <a:pos x="T2" y="T3"/>
                </a:cxn>
                <a:cxn ang="0">
                  <a:pos x="T4" y="T5"/>
                </a:cxn>
                <a:cxn ang="0">
                  <a:pos x="T6" y="T7"/>
                </a:cxn>
                <a:cxn ang="0">
                  <a:pos x="T8" y="T9"/>
                </a:cxn>
              </a:cxnLst>
              <a:rect l="0" t="0" r="r" b="b"/>
              <a:pathLst>
                <a:path w="32" h="46">
                  <a:moveTo>
                    <a:pt x="0" y="5"/>
                  </a:moveTo>
                  <a:lnTo>
                    <a:pt x="23" y="46"/>
                  </a:lnTo>
                  <a:lnTo>
                    <a:pt x="32" y="40"/>
                  </a:lnTo>
                  <a:lnTo>
                    <a:pt x="8" y="0"/>
                  </a:lnTo>
                  <a:lnTo>
                    <a:pt x="0" y="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54" name="Freeform 68"/>
            <p:cNvSpPr>
              <a:spLocks/>
            </p:cNvSpPr>
            <p:nvPr/>
          </p:nvSpPr>
          <p:spPr bwMode="auto">
            <a:xfrm>
              <a:off x="2686" y="1226"/>
              <a:ext cx="41" cy="64"/>
            </a:xfrm>
            <a:custGeom>
              <a:avLst/>
              <a:gdLst>
                <a:gd name="T0" fmla="*/ 0 w 41"/>
                <a:gd name="T1" fmla="*/ 4 h 64"/>
                <a:gd name="T2" fmla="*/ 32 w 41"/>
                <a:gd name="T3" fmla="*/ 64 h 64"/>
                <a:gd name="T4" fmla="*/ 41 w 41"/>
                <a:gd name="T5" fmla="*/ 60 h 64"/>
                <a:gd name="T6" fmla="*/ 8 w 41"/>
                <a:gd name="T7" fmla="*/ 0 h 64"/>
                <a:gd name="T8" fmla="*/ 0 w 41"/>
                <a:gd name="T9" fmla="*/ 4 h 64"/>
              </a:gdLst>
              <a:ahLst/>
              <a:cxnLst>
                <a:cxn ang="0">
                  <a:pos x="T0" y="T1"/>
                </a:cxn>
                <a:cxn ang="0">
                  <a:pos x="T2" y="T3"/>
                </a:cxn>
                <a:cxn ang="0">
                  <a:pos x="T4" y="T5"/>
                </a:cxn>
                <a:cxn ang="0">
                  <a:pos x="T6" y="T7"/>
                </a:cxn>
                <a:cxn ang="0">
                  <a:pos x="T8" y="T9"/>
                </a:cxn>
              </a:cxnLst>
              <a:rect l="0" t="0" r="r" b="b"/>
              <a:pathLst>
                <a:path w="41" h="64">
                  <a:moveTo>
                    <a:pt x="0" y="4"/>
                  </a:moveTo>
                  <a:lnTo>
                    <a:pt x="32" y="64"/>
                  </a:lnTo>
                  <a:lnTo>
                    <a:pt x="41" y="60"/>
                  </a:lnTo>
                  <a:lnTo>
                    <a:pt x="8" y="0"/>
                  </a:lnTo>
                  <a:lnTo>
                    <a:pt x="0" y="4"/>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55" name="Freeform 69"/>
            <p:cNvSpPr>
              <a:spLocks/>
            </p:cNvSpPr>
            <p:nvPr/>
          </p:nvSpPr>
          <p:spPr bwMode="auto">
            <a:xfrm>
              <a:off x="2714" y="1217"/>
              <a:ext cx="29" cy="46"/>
            </a:xfrm>
            <a:custGeom>
              <a:avLst/>
              <a:gdLst>
                <a:gd name="T0" fmla="*/ 0 w 29"/>
                <a:gd name="T1" fmla="*/ 4 h 46"/>
                <a:gd name="T2" fmla="*/ 21 w 29"/>
                <a:gd name="T3" fmla="*/ 46 h 46"/>
                <a:gd name="T4" fmla="*/ 29 w 29"/>
                <a:gd name="T5" fmla="*/ 42 h 46"/>
                <a:gd name="T6" fmla="*/ 10 w 29"/>
                <a:gd name="T7" fmla="*/ 0 h 46"/>
                <a:gd name="T8" fmla="*/ 0 w 29"/>
                <a:gd name="T9" fmla="*/ 4 h 46"/>
              </a:gdLst>
              <a:ahLst/>
              <a:cxnLst>
                <a:cxn ang="0">
                  <a:pos x="T0" y="T1"/>
                </a:cxn>
                <a:cxn ang="0">
                  <a:pos x="T2" y="T3"/>
                </a:cxn>
                <a:cxn ang="0">
                  <a:pos x="T4" y="T5"/>
                </a:cxn>
                <a:cxn ang="0">
                  <a:pos x="T6" y="T7"/>
                </a:cxn>
                <a:cxn ang="0">
                  <a:pos x="T8" y="T9"/>
                </a:cxn>
              </a:cxnLst>
              <a:rect l="0" t="0" r="r" b="b"/>
              <a:pathLst>
                <a:path w="29" h="46">
                  <a:moveTo>
                    <a:pt x="0" y="4"/>
                  </a:moveTo>
                  <a:lnTo>
                    <a:pt x="21" y="46"/>
                  </a:lnTo>
                  <a:lnTo>
                    <a:pt x="29" y="42"/>
                  </a:lnTo>
                  <a:lnTo>
                    <a:pt x="10" y="0"/>
                  </a:lnTo>
                  <a:lnTo>
                    <a:pt x="0" y="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56" name="Freeform 70"/>
            <p:cNvSpPr>
              <a:spLocks/>
            </p:cNvSpPr>
            <p:nvPr/>
          </p:nvSpPr>
          <p:spPr bwMode="auto">
            <a:xfrm>
              <a:off x="2741" y="1206"/>
              <a:ext cx="28" cy="48"/>
            </a:xfrm>
            <a:custGeom>
              <a:avLst/>
              <a:gdLst>
                <a:gd name="T0" fmla="*/ 0 w 28"/>
                <a:gd name="T1" fmla="*/ 4 h 48"/>
                <a:gd name="T2" fmla="*/ 18 w 28"/>
                <a:gd name="T3" fmla="*/ 48 h 48"/>
                <a:gd name="T4" fmla="*/ 28 w 28"/>
                <a:gd name="T5" fmla="*/ 43 h 48"/>
                <a:gd name="T6" fmla="*/ 9 w 28"/>
                <a:gd name="T7" fmla="*/ 0 h 48"/>
                <a:gd name="T8" fmla="*/ 0 w 28"/>
                <a:gd name="T9" fmla="*/ 4 h 48"/>
              </a:gdLst>
              <a:ahLst/>
              <a:cxnLst>
                <a:cxn ang="0">
                  <a:pos x="T0" y="T1"/>
                </a:cxn>
                <a:cxn ang="0">
                  <a:pos x="T2" y="T3"/>
                </a:cxn>
                <a:cxn ang="0">
                  <a:pos x="T4" y="T5"/>
                </a:cxn>
                <a:cxn ang="0">
                  <a:pos x="T6" y="T7"/>
                </a:cxn>
                <a:cxn ang="0">
                  <a:pos x="T8" y="T9"/>
                </a:cxn>
              </a:cxnLst>
              <a:rect l="0" t="0" r="r" b="b"/>
              <a:pathLst>
                <a:path w="28" h="48">
                  <a:moveTo>
                    <a:pt x="0" y="4"/>
                  </a:moveTo>
                  <a:lnTo>
                    <a:pt x="18" y="48"/>
                  </a:lnTo>
                  <a:lnTo>
                    <a:pt x="28" y="43"/>
                  </a:lnTo>
                  <a:lnTo>
                    <a:pt x="9" y="0"/>
                  </a:lnTo>
                  <a:lnTo>
                    <a:pt x="0" y="4"/>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57" name="Freeform 71"/>
            <p:cNvSpPr>
              <a:spLocks/>
            </p:cNvSpPr>
            <p:nvPr/>
          </p:nvSpPr>
          <p:spPr bwMode="auto">
            <a:xfrm>
              <a:off x="2769" y="1196"/>
              <a:ext cx="25" cy="48"/>
            </a:xfrm>
            <a:custGeom>
              <a:avLst/>
              <a:gdLst>
                <a:gd name="T0" fmla="*/ 0 w 25"/>
                <a:gd name="T1" fmla="*/ 3 h 48"/>
                <a:gd name="T2" fmla="*/ 15 w 25"/>
                <a:gd name="T3" fmla="*/ 48 h 48"/>
                <a:gd name="T4" fmla="*/ 25 w 25"/>
                <a:gd name="T5" fmla="*/ 44 h 48"/>
                <a:gd name="T6" fmla="*/ 8 w 25"/>
                <a:gd name="T7" fmla="*/ 0 h 48"/>
                <a:gd name="T8" fmla="*/ 0 w 25"/>
                <a:gd name="T9" fmla="*/ 3 h 48"/>
              </a:gdLst>
              <a:ahLst/>
              <a:cxnLst>
                <a:cxn ang="0">
                  <a:pos x="T0" y="T1"/>
                </a:cxn>
                <a:cxn ang="0">
                  <a:pos x="T2" y="T3"/>
                </a:cxn>
                <a:cxn ang="0">
                  <a:pos x="T4" y="T5"/>
                </a:cxn>
                <a:cxn ang="0">
                  <a:pos x="T6" y="T7"/>
                </a:cxn>
                <a:cxn ang="0">
                  <a:pos x="T8" y="T9"/>
                </a:cxn>
              </a:cxnLst>
              <a:rect l="0" t="0" r="r" b="b"/>
              <a:pathLst>
                <a:path w="25" h="48">
                  <a:moveTo>
                    <a:pt x="0" y="3"/>
                  </a:moveTo>
                  <a:lnTo>
                    <a:pt x="15" y="48"/>
                  </a:lnTo>
                  <a:lnTo>
                    <a:pt x="25" y="44"/>
                  </a:lnTo>
                  <a:lnTo>
                    <a:pt x="8" y="0"/>
                  </a:lnTo>
                  <a:lnTo>
                    <a:pt x="0" y="3"/>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58" name="Freeform 72"/>
            <p:cNvSpPr>
              <a:spLocks/>
            </p:cNvSpPr>
            <p:nvPr/>
          </p:nvSpPr>
          <p:spPr bwMode="auto">
            <a:xfrm>
              <a:off x="2797" y="1188"/>
              <a:ext cx="22" cy="47"/>
            </a:xfrm>
            <a:custGeom>
              <a:avLst/>
              <a:gdLst>
                <a:gd name="T0" fmla="*/ 0 w 22"/>
                <a:gd name="T1" fmla="*/ 3 h 47"/>
                <a:gd name="T2" fmla="*/ 12 w 22"/>
                <a:gd name="T3" fmla="*/ 47 h 47"/>
                <a:gd name="T4" fmla="*/ 22 w 22"/>
                <a:gd name="T5" fmla="*/ 45 h 47"/>
                <a:gd name="T6" fmla="*/ 8 w 22"/>
                <a:gd name="T7" fmla="*/ 0 h 47"/>
                <a:gd name="T8" fmla="*/ 0 w 22"/>
                <a:gd name="T9" fmla="*/ 3 h 47"/>
              </a:gdLst>
              <a:ahLst/>
              <a:cxnLst>
                <a:cxn ang="0">
                  <a:pos x="T0" y="T1"/>
                </a:cxn>
                <a:cxn ang="0">
                  <a:pos x="T2" y="T3"/>
                </a:cxn>
                <a:cxn ang="0">
                  <a:pos x="T4" y="T5"/>
                </a:cxn>
                <a:cxn ang="0">
                  <a:pos x="T6" y="T7"/>
                </a:cxn>
                <a:cxn ang="0">
                  <a:pos x="T8" y="T9"/>
                </a:cxn>
              </a:cxnLst>
              <a:rect l="0" t="0" r="r" b="b"/>
              <a:pathLst>
                <a:path w="22" h="47">
                  <a:moveTo>
                    <a:pt x="0" y="3"/>
                  </a:moveTo>
                  <a:lnTo>
                    <a:pt x="12" y="47"/>
                  </a:lnTo>
                  <a:lnTo>
                    <a:pt x="22" y="45"/>
                  </a:lnTo>
                  <a:lnTo>
                    <a:pt x="8" y="0"/>
                  </a:lnTo>
                  <a:lnTo>
                    <a:pt x="0" y="3"/>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59" name="Freeform 73"/>
            <p:cNvSpPr>
              <a:spLocks/>
            </p:cNvSpPr>
            <p:nvPr/>
          </p:nvSpPr>
          <p:spPr bwMode="auto">
            <a:xfrm>
              <a:off x="2823" y="1175"/>
              <a:ext cx="25" cy="67"/>
            </a:xfrm>
            <a:custGeom>
              <a:avLst/>
              <a:gdLst>
                <a:gd name="T0" fmla="*/ 0 w 25"/>
                <a:gd name="T1" fmla="*/ 3 h 67"/>
                <a:gd name="T2" fmla="*/ 17 w 25"/>
                <a:gd name="T3" fmla="*/ 67 h 67"/>
                <a:gd name="T4" fmla="*/ 25 w 25"/>
                <a:gd name="T5" fmla="*/ 66 h 67"/>
                <a:gd name="T6" fmla="*/ 9 w 25"/>
                <a:gd name="T7" fmla="*/ 0 h 67"/>
                <a:gd name="T8" fmla="*/ 0 w 25"/>
                <a:gd name="T9" fmla="*/ 3 h 67"/>
              </a:gdLst>
              <a:ahLst/>
              <a:cxnLst>
                <a:cxn ang="0">
                  <a:pos x="T0" y="T1"/>
                </a:cxn>
                <a:cxn ang="0">
                  <a:pos x="T2" y="T3"/>
                </a:cxn>
                <a:cxn ang="0">
                  <a:pos x="T4" y="T5"/>
                </a:cxn>
                <a:cxn ang="0">
                  <a:pos x="T6" y="T7"/>
                </a:cxn>
                <a:cxn ang="0">
                  <a:pos x="T8" y="T9"/>
                </a:cxn>
              </a:cxnLst>
              <a:rect l="0" t="0" r="r" b="b"/>
              <a:pathLst>
                <a:path w="25" h="67">
                  <a:moveTo>
                    <a:pt x="0" y="3"/>
                  </a:moveTo>
                  <a:lnTo>
                    <a:pt x="17" y="67"/>
                  </a:lnTo>
                  <a:lnTo>
                    <a:pt x="25" y="66"/>
                  </a:lnTo>
                  <a:lnTo>
                    <a:pt x="9" y="0"/>
                  </a:lnTo>
                  <a:lnTo>
                    <a:pt x="0" y="3"/>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0" name="Freeform 74"/>
            <p:cNvSpPr>
              <a:spLocks/>
            </p:cNvSpPr>
            <p:nvPr/>
          </p:nvSpPr>
          <p:spPr bwMode="auto">
            <a:xfrm>
              <a:off x="2853" y="1174"/>
              <a:ext cx="19" cy="47"/>
            </a:xfrm>
            <a:custGeom>
              <a:avLst/>
              <a:gdLst>
                <a:gd name="T0" fmla="*/ 0 w 19"/>
                <a:gd name="T1" fmla="*/ 1 h 47"/>
                <a:gd name="T2" fmla="*/ 9 w 19"/>
                <a:gd name="T3" fmla="*/ 47 h 47"/>
                <a:gd name="T4" fmla="*/ 19 w 19"/>
                <a:gd name="T5" fmla="*/ 46 h 47"/>
                <a:gd name="T6" fmla="*/ 9 w 19"/>
                <a:gd name="T7" fmla="*/ 0 h 47"/>
                <a:gd name="T8" fmla="*/ 0 w 19"/>
                <a:gd name="T9" fmla="*/ 1 h 47"/>
              </a:gdLst>
              <a:ahLst/>
              <a:cxnLst>
                <a:cxn ang="0">
                  <a:pos x="T0" y="T1"/>
                </a:cxn>
                <a:cxn ang="0">
                  <a:pos x="T2" y="T3"/>
                </a:cxn>
                <a:cxn ang="0">
                  <a:pos x="T4" y="T5"/>
                </a:cxn>
                <a:cxn ang="0">
                  <a:pos x="T6" y="T7"/>
                </a:cxn>
                <a:cxn ang="0">
                  <a:pos x="T8" y="T9"/>
                </a:cxn>
              </a:cxnLst>
              <a:rect l="0" t="0" r="r" b="b"/>
              <a:pathLst>
                <a:path w="19" h="47">
                  <a:moveTo>
                    <a:pt x="0" y="1"/>
                  </a:moveTo>
                  <a:lnTo>
                    <a:pt x="9" y="47"/>
                  </a:lnTo>
                  <a:lnTo>
                    <a:pt x="19" y="46"/>
                  </a:lnTo>
                  <a:lnTo>
                    <a:pt x="9" y="0"/>
                  </a:ln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1" name="Freeform 75"/>
            <p:cNvSpPr>
              <a:spLocks/>
            </p:cNvSpPr>
            <p:nvPr/>
          </p:nvSpPr>
          <p:spPr bwMode="auto">
            <a:xfrm>
              <a:off x="2882" y="1170"/>
              <a:ext cx="17" cy="47"/>
            </a:xfrm>
            <a:custGeom>
              <a:avLst/>
              <a:gdLst>
                <a:gd name="T0" fmla="*/ 0 w 17"/>
                <a:gd name="T1" fmla="*/ 1 h 47"/>
                <a:gd name="T2" fmla="*/ 6 w 17"/>
                <a:gd name="T3" fmla="*/ 47 h 47"/>
                <a:gd name="T4" fmla="*/ 17 w 17"/>
                <a:gd name="T5" fmla="*/ 46 h 47"/>
                <a:gd name="T6" fmla="*/ 10 w 17"/>
                <a:gd name="T7" fmla="*/ 0 h 47"/>
                <a:gd name="T8" fmla="*/ 0 w 17"/>
                <a:gd name="T9" fmla="*/ 1 h 47"/>
              </a:gdLst>
              <a:ahLst/>
              <a:cxnLst>
                <a:cxn ang="0">
                  <a:pos x="T0" y="T1"/>
                </a:cxn>
                <a:cxn ang="0">
                  <a:pos x="T2" y="T3"/>
                </a:cxn>
                <a:cxn ang="0">
                  <a:pos x="T4" y="T5"/>
                </a:cxn>
                <a:cxn ang="0">
                  <a:pos x="T6" y="T7"/>
                </a:cxn>
                <a:cxn ang="0">
                  <a:pos x="T8" y="T9"/>
                </a:cxn>
              </a:cxnLst>
              <a:rect l="0" t="0" r="r" b="b"/>
              <a:pathLst>
                <a:path w="17" h="47">
                  <a:moveTo>
                    <a:pt x="0" y="1"/>
                  </a:moveTo>
                  <a:lnTo>
                    <a:pt x="6" y="47"/>
                  </a:lnTo>
                  <a:lnTo>
                    <a:pt x="17" y="46"/>
                  </a:lnTo>
                  <a:lnTo>
                    <a:pt x="10" y="0"/>
                  </a:ln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2" name="Freeform 76"/>
            <p:cNvSpPr>
              <a:spLocks/>
            </p:cNvSpPr>
            <p:nvPr/>
          </p:nvSpPr>
          <p:spPr bwMode="auto">
            <a:xfrm>
              <a:off x="2910" y="1167"/>
              <a:ext cx="15" cy="46"/>
            </a:xfrm>
            <a:custGeom>
              <a:avLst/>
              <a:gdLst>
                <a:gd name="T0" fmla="*/ 0 w 15"/>
                <a:gd name="T1" fmla="*/ 0 h 46"/>
                <a:gd name="T2" fmla="*/ 6 w 15"/>
                <a:gd name="T3" fmla="*/ 46 h 46"/>
                <a:gd name="T4" fmla="*/ 15 w 15"/>
                <a:gd name="T5" fmla="*/ 46 h 46"/>
                <a:gd name="T6" fmla="*/ 11 w 15"/>
                <a:gd name="T7" fmla="*/ 0 h 46"/>
                <a:gd name="T8" fmla="*/ 0 w 15"/>
                <a:gd name="T9" fmla="*/ 0 h 46"/>
              </a:gdLst>
              <a:ahLst/>
              <a:cxnLst>
                <a:cxn ang="0">
                  <a:pos x="T0" y="T1"/>
                </a:cxn>
                <a:cxn ang="0">
                  <a:pos x="T2" y="T3"/>
                </a:cxn>
                <a:cxn ang="0">
                  <a:pos x="T4" y="T5"/>
                </a:cxn>
                <a:cxn ang="0">
                  <a:pos x="T6" y="T7"/>
                </a:cxn>
                <a:cxn ang="0">
                  <a:pos x="T8" y="T9"/>
                </a:cxn>
              </a:cxnLst>
              <a:rect l="0" t="0" r="r" b="b"/>
              <a:pathLst>
                <a:path w="15" h="46">
                  <a:moveTo>
                    <a:pt x="0" y="0"/>
                  </a:moveTo>
                  <a:lnTo>
                    <a:pt x="6" y="46"/>
                  </a:lnTo>
                  <a:lnTo>
                    <a:pt x="15" y="46"/>
                  </a:lnTo>
                  <a:lnTo>
                    <a:pt x="11" y="0"/>
                  </a:lnTo>
                  <a:lnTo>
                    <a:pt x="0"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3" name="Freeform 77"/>
            <p:cNvSpPr>
              <a:spLocks/>
            </p:cNvSpPr>
            <p:nvPr/>
          </p:nvSpPr>
          <p:spPr bwMode="auto">
            <a:xfrm>
              <a:off x="2939" y="1164"/>
              <a:ext cx="13" cy="48"/>
            </a:xfrm>
            <a:custGeom>
              <a:avLst/>
              <a:gdLst>
                <a:gd name="T0" fmla="*/ 0 w 13"/>
                <a:gd name="T1" fmla="*/ 1 h 48"/>
                <a:gd name="T2" fmla="*/ 3 w 13"/>
                <a:gd name="T3" fmla="*/ 48 h 48"/>
                <a:gd name="T4" fmla="*/ 13 w 13"/>
                <a:gd name="T5" fmla="*/ 48 h 48"/>
                <a:gd name="T6" fmla="*/ 10 w 13"/>
                <a:gd name="T7" fmla="*/ 0 h 48"/>
                <a:gd name="T8" fmla="*/ 0 w 13"/>
                <a:gd name="T9" fmla="*/ 1 h 48"/>
              </a:gdLst>
              <a:ahLst/>
              <a:cxnLst>
                <a:cxn ang="0">
                  <a:pos x="T0" y="T1"/>
                </a:cxn>
                <a:cxn ang="0">
                  <a:pos x="T2" y="T3"/>
                </a:cxn>
                <a:cxn ang="0">
                  <a:pos x="T4" y="T5"/>
                </a:cxn>
                <a:cxn ang="0">
                  <a:pos x="T6" y="T7"/>
                </a:cxn>
                <a:cxn ang="0">
                  <a:pos x="T8" y="T9"/>
                </a:cxn>
              </a:cxnLst>
              <a:rect l="0" t="0" r="r" b="b"/>
              <a:pathLst>
                <a:path w="13" h="48">
                  <a:moveTo>
                    <a:pt x="0" y="1"/>
                  </a:moveTo>
                  <a:lnTo>
                    <a:pt x="3" y="48"/>
                  </a:lnTo>
                  <a:lnTo>
                    <a:pt x="13" y="48"/>
                  </a:lnTo>
                  <a:lnTo>
                    <a:pt x="10" y="0"/>
                  </a:lnTo>
                  <a:lnTo>
                    <a:pt x="0" y="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4" name="Freeform 78"/>
            <p:cNvSpPr>
              <a:spLocks/>
            </p:cNvSpPr>
            <p:nvPr/>
          </p:nvSpPr>
          <p:spPr bwMode="auto">
            <a:xfrm>
              <a:off x="2969" y="1160"/>
              <a:ext cx="10" cy="67"/>
            </a:xfrm>
            <a:custGeom>
              <a:avLst/>
              <a:gdLst>
                <a:gd name="T0" fmla="*/ 0 w 10"/>
                <a:gd name="T1" fmla="*/ 67 h 67"/>
                <a:gd name="T2" fmla="*/ 10 w 10"/>
                <a:gd name="T3" fmla="*/ 67 h 67"/>
                <a:gd name="T4" fmla="*/ 10 w 10"/>
                <a:gd name="T5" fmla="*/ 0 h 67"/>
                <a:gd name="T6" fmla="*/ 1 w 10"/>
                <a:gd name="T7" fmla="*/ 0 h 67"/>
                <a:gd name="T8" fmla="*/ 0 w 10"/>
                <a:gd name="T9" fmla="*/ 67 h 67"/>
              </a:gdLst>
              <a:ahLst/>
              <a:cxnLst>
                <a:cxn ang="0">
                  <a:pos x="T0" y="T1"/>
                </a:cxn>
                <a:cxn ang="0">
                  <a:pos x="T2" y="T3"/>
                </a:cxn>
                <a:cxn ang="0">
                  <a:pos x="T4" y="T5"/>
                </a:cxn>
                <a:cxn ang="0">
                  <a:pos x="T6" y="T7"/>
                </a:cxn>
                <a:cxn ang="0">
                  <a:pos x="T8" y="T9"/>
                </a:cxn>
              </a:cxnLst>
              <a:rect l="0" t="0" r="r" b="b"/>
              <a:pathLst>
                <a:path w="10" h="67">
                  <a:moveTo>
                    <a:pt x="0" y="67"/>
                  </a:moveTo>
                  <a:lnTo>
                    <a:pt x="10" y="67"/>
                  </a:lnTo>
                  <a:lnTo>
                    <a:pt x="10" y="0"/>
                  </a:lnTo>
                  <a:lnTo>
                    <a:pt x="1" y="0"/>
                  </a:lnTo>
                  <a:lnTo>
                    <a:pt x="0" y="67"/>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5" name="Freeform 79"/>
            <p:cNvSpPr>
              <a:spLocks/>
            </p:cNvSpPr>
            <p:nvPr/>
          </p:nvSpPr>
          <p:spPr bwMode="auto">
            <a:xfrm>
              <a:off x="2995" y="1165"/>
              <a:ext cx="13" cy="47"/>
            </a:xfrm>
            <a:custGeom>
              <a:avLst/>
              <a:gdLst>
                <a:gd name="T0" fmla="*/ 0 w 13"/>
                <a:gd name="T1" fmla="*/ 47 h 47"/>
                <a:gd name="T2" fmla="*/ 10 w 13"/>
                <a:gd name="T3" fmla="*/ 47 h 47"/>
                <a:gd name="T4" fmla="*/ 13 w 13"/>
                <a:gd name="T5" fmla="*/ 0 h 47"/>
                <a:gd name="T6" fmla="*/ 3 w 13"/>
                <a:gd name="T7" fmla="*/ 0 h 47"/>
                <a:gd name="T8" fmla="*/ 0 w 13"/>
                <a:gd name="T9" fmla="*/ 47 h 47"/>
              </a:gdLst>
              <a:ahLst/>
              <a:cxnLst>
                <a:cxn ang="0">
                  <a:pos x="T0" y="T1"/>
                </a:cxn>
                <a:cxn ang="0">
                  <a:pos x="T2" y="T3"/>
                </a:cxn>
                <a:cxn ang="0">
                  <a:pos x="T4" y="T5"/>
                </a:cxn>
                <a:cxn ang="0">
                  <a:pos x="T6" y="T7"/>
                </a:cxn>
                <a:cxn ang="0">
                  <a:pos x="T8" y="T9"/>
                </a:cxn>
              </a:cxnLst>
              <a:rect l="0" t="0" r="r" b="b"/>
              <a:pathLst>
                <a:path w="13" h="47">
                  <a:moveTo>
                    <a:pt x="0" y="47"/>
                  </a:moveTo>
                  <a:lnTo>
                    <a:pt x="10" y="47"/>
                  </a:lnTo>
                  <a:lnTo>
                    <a:pt x="13" y="0"/>
                  </a:lnTo>
                  <a:lnTo>
                    <a:pt x="3" y="0"/>
                  </a:lnTo>
                  <a:lnTo>
                    <a:pt x="0" y="47"/>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6" name="Freeform 80"/>
            <p:cNvSpPr>
              <a:spLocks/>
            </p:cNvSpPr>
            <p:nvPr/>
          </p:nvSpPr>
          <p:spPr bwMode="auto">
            <a:xfrm>
              <a:off x="3022" y="1167"/>
              <a:ext cx="15" cy="47"/>
            </a:xfrm>
            <a:custGeom>
              <a:avLst/>
              <a:gdLst>
                <a:gd name="T0" fmla="*/ 0 w 15"/>
                <a:gd name="T1" fmla="*/ 46 h 47"/>
                <a:gd name="T2" fmla="*/ 10 w 15"/>
                <a:gd name="T3" fmla="*/ 47 h 47"/>
                <a:gd name="T4" fmla="*/ 15 w 15"/>
                <a:gd name="T5" fmla="*/ 1 h 47"/>
                <a:gd name="T6" fmla="*/ 6 w 15"/>
                <a:gd name="T7" fmla="*/ 0 h 47"/>
                <a:gd name="T8" fmla="*/ 0 w 15"/>
                <a:gd name="T9" fmla="*/ 46 h 47"/>
              </a:gdLst>
              <a:ahLst/>
              <a:cxnLst>
                <a:cxn ang="0">
                  <a:pos x="T0" y="T1"/>
                </a:cxn>
                <a:cxn ang="0">
                  <a:pos x="T2" y="T3"/>
                </a:cxn>
                <a:cxn ang="0">
                  <a:pos x="T4" y="T5"/>
                </a:cxn>
                <a:cxn ang="0">
                  <a:pos x="T6" y="T7"/>
                </a:cxn>
                <a:cxn ang="0">
                  <a:pos x="T8" y="T9"/>
                </a:cxn>
              </a:cxnLst>
              <a:rect l="0" t="0" r="r" b="b"/>
              <a:pathLst>
                <a:path w="15" h="47">
                  <a:moveTo>
                    <a:pt x="0" y="46"/>
                  </a:moveTo>
                  <a:lnTo>
                    <a:pt x="10" y="47"/>
                  </a:lnTo>
                  <a:lnTo>
                    <a:pt x="15" y="1"/>
                  </a:lnTo>
                  <a:lnTo>
                    <a:pt x="6" y="0"/>
                  </a:lnTo>
                  <a:lnTo>
                    <a:pt x="0" y="4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7" name="Freeform 81"/>
            <p:cNvSpPr>
              <a:spLocks/>
            </p:cNvSpPr>
            <p:nvPr/>
          </p:nvSpPr>
          <p:spPr bwMode="auto">
            <a:xfrm>
              <a:off x="3049" y="1171"/>
              <a:ext cx="18" cy="48"/>
            </a:xfrm>
            <a:custGeom>
              <a:avLst/>
              <a:gdLst>
                <a:gd name="T0" fmla="*/ 0 w 18"/>
                <a:gd name="T1" fmla="*/ 46 h 48"/>
                <a:gd name="T2" fmla="*/ 9 w 18"/>
                <a:gd name="T3" fmla="*/ 48 h 48"/>
                <a:gd name="T4" fmla="*/ 18 w 18"/>
                <a:gd name="T5" fmla="*/ 1 h 48"/>
                <a:gd name="T6" fmla="*/ 8 w 18"/>
                <a:gd name="T7" fmla="*/ 0 h 48"/>
                <a:gd name="T8" fmla="*/ 0 w 18"/>
                <a:gd name="T9" fmla="*/ 46 h 48"/>
              </a:gdLst>
              <a:ahLst/>
              <a:cxnLst>
                <a:cxn ang="0">
                  <a:pos x="T0" y="T1"/>
                </a:cxn>
                <a:cxn ang="0">
                  <a:pos x="T2" y="T3"/>
                </a:cxn>
                <a:cxn ang="0">
                  <a:pos x="T4" y="T5"/>
                </a:cxn>
                <a:cxn ang="0">
                  <a:pos x="T6" y="T7"/>
                </a:cxn>
                <a:cxn ang="0">
                  <a:pos x="T8" y="T9"/>
                </a:cxn>
              </a:cxnLst>
              <a:rect l="0" t="0" r="r" b="b"/>
              <a:pathLst>
                <a:path w="18" h="48">
                  <a:moveTo>
                    <a:pt x="0" y="46"/>
                  </a:moveTo>
                  <a:lnTo>
                    <a:pt x="9" y="48"/>
                  </a:lnTo>
                  <a:lnTo>
                    <a:pt x="18" y="1"/>
                  </a:lnTo>
                  <a:lnTo>
                    <a:pt x="8" y="0"/>
                  </a:lnTo>
                  <a:lnTo>
                    <a:pt x="0" y="4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8" name="Freeform 82"/>
            <p:cNvSpPr>
              <a:spLocks/>
            </p:cNvSpPr>
            <p:nvPr/>
          </p:nvSpPr>
          <p:spPr bwMode="auto">
            <a:xfrm>
              <a:off x="3075" y="1175"/>
              <a:ext cx="20" cy="48"/>
            </a:xfrm>
            <a:custGeom>
              <a:avLst/>
              <a:gdLst>
                <a:gd name="T0" fmla="*/ 0 w 20"/>
                <a:gd name="T1" fmla="*/ 46 h 48"/>
                <a:gd name="T2" fmla="*/ 10 w 20"/>
                <a:gd name="T3" fmla="*/ 48 h 48"/>
                <a:gd name="T4" fmla="*/ 20 w 20"/>
                <a:gd name="T5" fmla="*/ 3 h 48"/>
                <a:gd name="T6" fmla="*/ 10 w 20"/>
                <a:gd name="T7" fmla="*/ 0 h 48"/>
                <a:gd name="T8" fmla="*/ 0 w 20"/>
                <a:gd name="T9" fmla="*/ 46 h 48"/>
              </a:gdLst>
              <a:ahLst/>
              <a:cxnLst>
                <a:cxn ang="0">
                  <a:pos x="T0" y="T1"/>
                </a:cxn>
                <a:cxn ang="0">
                  <a:pos x="T2" y="T3"/>
                </a:cxn>
                <a:cxn ang="0">
                  <a:pos x="T4" y="T5"/>
                </a:cxn>
                <a:cxn ang="0">
                  <a:pos x="T6" y="T7"/>
                </a:cxn>
                <a:cxn ang="0">
                  <a:pos x="T8" y="T9"/>
                </a:cxn>
              </a:cxnLst>
              <a:rect l="0" t="0" r="r" b="b"/>
              <a:pathLst>
                <a:path w="20" h="48">
                  <a:moveTo>
                    <a:pt x="0" y="46"/>
                  </a:moveTo>
                  <a:lnTo>
                    <a:pt x="10" y="48"/>
                  </a:lnTo>
                  <a:lnTo>
                    <a:pt x="20" y="3"/>
                  </a:lnTo>
                  <a:lnTo>
                    <a:pt x="10" y="0"/>
                  </a:lnTo>
                  <a:lnTo>
                    <a:pt x="0" y="4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69" name="Freeform 83"/>
            <p:cNvSpPr>
              <a:spLocks/>
            </p:cNvSpPr>
            <p:nvPr/>
          </p:nvSpPr>
          <p:spPr bwMode="auto">
            <a:xfrm>
              <a:off x="3099" y="1178"/>
              <a:ext cx="25" cy="66"/>
            </a:xfrm>
            <a:custGeom>
              <a:avLst/>
              <a:gdLst>
                <a:gd name="T0" fmla="*/ 0 w 25"/>
                <a:gd name="T1" fmla="*/ 64 h 66"/>
                <a:gd name="T2" fmla="*/ 8 w 25"/>
                <a:gd name="T3" fmla="*/ 66 h 66"/>
                <a:gd name="T4" fmla="*/ 25 w 25"/>
                <a:gd name="T5" fmla="*/ 1 h 66"/>
                <a:gd name="T6" fmla="*/ 17 w 25"/>
                <a:gd name="T7" fmla="*/ 0 h 66"/>
                <a:gd name="T8" fmla="*/ 0 w 25"/>
                <a:gd name="T9" fmla="*/ 64 h 66"/>
              </a:gdLst>
              <a:ahLst/>
              <a:cxnLst>
                <a:cxn ang="0">
                  <a:pos x="T0" y="T1"/>
                </a:cxn>
                <a:cxn ang="0">
                  <a:pos x="T2" y="T3"/>
                </a:cxn>
                <a:cxn ang="0">
                  <a:pos x="T4" y="T5"/>
                </a:cxn>
                <a:cxn ang="0">
                  <a:pos x="T6" y="T7"/>
                </a:cxn>
                <a:cxn ang="0">
                  <a:pos x="T8" y="T9"/>
                </a:cxn>
              </a:cxnLst>
              <a:rect l="0" t="0" r="r" b="b"/>
              <a:pathLst>
                <a:path w="25" h="66">
                  <a:moveTo>
                    <a:pt x="0" y="64"/>
                  </a:moveTo>
                  <a:lnTo>
                    <a:pt x="8" y="66"/>
                  </a:lnTo>
                  <a:lnTo>
                    <a:pt x="25" y="1"/>
                  </a:lnTo>
                  <a:lnTo>
                    <a:pt x="17" y="0"/>
                  </a:lnTo>
                  <a:lnTo>
                    <a:pt x="0" y="64"/>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0" name="Freeform 84"/>
            <p:cNvSpPr>
              <a:spLocks/>
            </p:cNvSpPr>
            <p:nvPr/>
          </p:nvSpPr>
          <p:spPr bwMode="auto">
            <a:xfrm>
              <a:off x="3128" y="1189"/>
              <a:ext cx="24" cy="48"/>
            </a:xfrm>
            <a:custGeom>
              <a:avLst/>
              <a:gdLst>
                <a:gd name="T0" fmla="*/ 0 w 24"/>
                <a:gd name="T1" fmla="*/ 45 h 48"/>
                <a:gd name="T2" fmla="*/ 9 w 24"/>
                <a:gd name="T3" fmla="*/ 48 h 48"/>
                <a:gd name="T4" fmla="*/ 24 w 24"/>
                <a:gd name="T5" fmla="*/ 3 h 48"/>
                <a:gd name="T6" fmla="*/ 14 w 24"/>
                <a:gd name="T7" fmla="*/ 0 h 48"/>
                <a:gd name="T8" fmla="*/ 0 w 24"/>
                <a:gd name="T9" fmla="*/ 45 h 48"/>
              </a:gdLst>
              <a:ahLst/>
              <a:cxnLst>
                <a:cxn ang="0">
                  <a:pos x="T0" y="T1"/>
                </a:cxn>
                <a:cxn ang="0">
                  <a:pos x="T2" y="T3"/>
                </a:cxn>
                <a:cxn ang="0">
                  <a:pos x="T4" y="T5"/>
                </a:cxn>
                <a:cxn ang="0">
                  <a:pos x="T6" y="T7"/>
                </a:cxn>
                <a:cxn ang="0">
                  <a:pos x="T8" y="T9"/>
                </a:cxn>
              </a:cxnLst>
              <a:rect l="0" t="0" r="r" b="b"/>
              <a:pathLst>
                <a:path w="24" h="48">
                  <a:moveTo>
                    <a:pt x="0" y="45"/>
                  </a:moveTo>
                  <a:lnTo>
                    <a:pt x="9" y="48"/>
                  </a:lnTo>
                  <a:lnTo>
                    <a:pt x="24" y="3"/>
                  </a:lnTo>
                  <a:lnTo>
                    <a:pt x="14" y="0"/>
                  </a:lnTo>
                  <a:lnTo>
                    <a:pt x="0" y="4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1" name="Freeform 85"/>
            <p:cNvSpPr>
              <a:spLocks/>
            </p:cNvSpPr>
            <p:nvPr/>
          </p:nvSpPr>
          <p:spPr bwMode="auto">
            <a:xfrm>
              <a:off x="3154" y="1199"/>
              <a:ext cx="25" cy="48"/>
            </a:xfrm>
            <a:custGeom>
              <a:avLst/>
              <a:gdLst>
                <a:gd name="T0" fmla="*/ 16 w 25"/>
                <a:gd name="T1" fmla="*/ 0 h 48"/>
                <a:gd name="T2" fmla="*/ 0 w 25"/>
                <a:gd name="T3" fmla="*/ 43 h 48"/>
                <a:gd name="T4" fmla="*/ 9 w 25"/>
                <a:gd name="T5" fmla="*/ 48 h 48"/>
                <a:gd name="T6" fmla="*/ 25 w 25"/>
                <a:gd name="T7" fmla="*/ 3 h 48"/>
                <a:gd name="T8" fmla="*/ 16 w 25"/>
                <a:gd name="T9" fmla="*/ 0 h 48"/>
              </a:gdLst>
              <a:ahLst/>
              <a:cxnLst>
                <a:cxn ang="0">
                  <a:pos x="T0" y="T1"/>
                </a:cxn>
                <a:cxn ang="0">
                  <a:pos x="T2" y="T3"/>
                </a:cxn>
                <a:cxn ang="0">
                  <a:pos x="T4" y="T5"/>
                </a:cxn>
                <a:cxn ang="0">
                  <a:pos x="T6" y="T7"/>
                </a:cxn>
                <a:cxn ang="0">
                  <a:pos x="T8" y="T9"/>
                </a:cxn>
              </a:cxnLst>
              <a:rect l="0" t="0" r="r" b="b"/>
              <a:pathLst>
                <a:path w="25" h="48">
                  <a:moveTo>
                    <a:pt x="16" y="0"/>
                  </a:moveTo>
                  <a:lnTo>
                    <a:pt x="0" y="43"/>
                  </a:lnTo>
                  <a:lnTo>
                    <a:pt x="9" y="48"/>
                  </a:lnTo>
                  <a:lnTo>
                    <a:pt x="25" y="3"/>
                  </a:lnTo>
                  <a:lnTo>
                    <a:pt x="16"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2" name="Freeform 86"/>
            <p:cNvSpPr>
              <a:spLocks/>
            </p:cNvSpPr>
            <p:nvPr/>
          </p:nvSpPr>
          <p:spPr bwMode="auto">
            <a:xfrm>
              <a:off x="3179" y="1209"/>
              <a:ext cx="28" cy="47"/>
            </a:xfrm>
            <a:custGeom>
              <a:avLst/>
              <a:gdLst>
                <a:gd name="T0" fmla="*/ 18 w 28"/>
                <a:gd name="T1" fmla="*/ 0 h 47"/>
                <a:gd name="T2" fmla="*/ 0 w 28"/>
                <a:gd name="T3" fmla="*/ 43 h 47"/>
                <a:gd name="T4" fmla="*/ 8 w 28"/>
                <a:gd name="T5" fmla="*/ 47 h 47"/>
                <a:gd name="T6" fmla="*/ 28 w 28"/>
                <a:gd name="T7" fmla="*/ 4 h 47"/>
                <a:gd name="T8" fmla="*/ 18 w 28"/>
                <a:gd name="T9" fmla="*/ 0 h 47"/>
              </a:gdLst>
              <a:ahLst/>
              <a:cxnLst>
                <a:cxn ang="0">
                  <a:pos x="T0" y="T1"/>
                </a:cxn>
                <a:cxn ang="0">
                  <a:pos x="T2" y="T3"/>
                </a:cxn>
                <a:cxn ang="0">
                  <a:pos x="T4" y="T5"/>
                </a:cxn>
                <a:cxn ang="0">
                  <a:pos x="T6" y="T7"/>
                </a:cxn>
                <a:cxn ang="0">
                  <a:pos x="T8" y="T9"/>
                </a:cxn>
              </a:cxnLst>
              <a:rect l="0" t="0" r="r" b="b"/>
              <a:pathLst>
                <a:path w="28" h="47">
                  <a:moveTo>
                    <a:pt x="18" y="0"/>
                  </a:moveTo>
                  <a:lnTo>
                    <a:pt x="0" y="43"/>
                  </a:lnTo>
                  <a:lnTo>
                    <a:pt x="8" y="47"/>
                  </a:lnTo>
                  <a:lnTo>
                    <a:pt x="28" y="4"/>
                  </a:lnTo>
                  <a:lnTo>
                    <a:pt x="18"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3" name="Freeform 87"/>
            <p:cNvSpPr>
              <a:spLocks/>
            </p:cNvSpPr>
            <p:nvPr/>
          </p:nvSpPr>
          <p:spPr bwMode="auto">
            <a:xfrm>
              <a:off x="3203" y="1221"/>
              <a:ext cx="30" cy="47"/>
            </a:xfrm>
            <a:custGeom>
              <a:avLst/>
              <a:gdLst>
                <a:gd name="T0" fmla="*/ 21 w 30"/>
                <a:gd name="T1" fmla="*/ 0 h 47"/>
                <a:gd name="T2" fmla="*/ 0 w 30"/>
                <a:gd name="T3" fmla="*/ 42 h 47"/>
                <a:gd name="T4" fmla="*/ 9 w 30"/>
                <a:gd name="T5" fmla="*/ 47 h 47"/>
                <a:gd name="T6" fmla="*/ 30 w 30"/>
                <a:gd name="T7" fmla="*/ 5 h 47"/>
                <a:gd name="T8" fmla="*/ 21 w 30"/>
                <a:gd name="T9" fmla="*/ 0 h 47"/>
              </a:gdLst>
              <a:ahLst/>
              <a:cxnLst>
                <a:cxn ang="0">
                  <a:pos x="T0" y="T1"/>
                </a:cxn>
                <a:cxn ang="0">
                  <a:pos x="T2" y="T3"/>
                </a:cxn>
                <a:cxn ang="0">
                  <a:pos x="T4" y="T5"/>
                </a:cxn>
                <a:cxn ang="0">
                  <a:pos x="T6" y="T7"/>
                </a:cxn>
                <a:cxn ang="0">
                  <a:pos x="T8" y="T9"/>
                </a:cxn>
              </a:cxnLst>
              <a:rect l="0" t="0" r="r" b="b"/>
              <a:pathLst>
                <a:path w="30" h="47">
                  <a:moveTo>
                    <a:pt x="21" y="0"/>
                  </a:moveTo>
                  <a:lnTo>
                    <a:pt x="0" y="42"/>
                  </a:lnTo>
                  <a:lnTo>
                    <a:pt x="9" y="47"/>
                  </a:lnTo>
                  <a:lnTo>
                    <a:pt x="30" y="5"/>
                  </a:lnTo>
                  <a:lnTo>
                    <a:pt x="21"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4" name="Freeform 88"/>
            <p:cNvSpPr>
              <a:spLocks/>
            </p:cNvSpPr>
            <p:nvPr/>
          </p:nvSpPr>
          <p:spPr bwMode="auto">
            <a:xfrm>
              <a:off x="3219" y="1230"/>
              <a:ext cx="41" cy="63"/>
            </a:xfrm>
            <a:custGeom>
              <a:avLst/>
              <a:gdLst>
                <a:gd name="T0" fmla="*/ 34 w 41"/>
                <a:gd name="T1" fmla="*/ 0 h 63"/>
                <a:gd name="T2" fmla="*/ 0 w 41"/>
                <a:gd name="T3" fmla="*/ 59 h 63"/>
                <a:gd name="T4" fmla="*/ 9 w 41"/>
                <a:gd name="T5" fmla="*/ 63 h 63"/>
                <a:gd name="T6" fmla="*/ 41 w 41"/>
                <a:gd name="T7" fmla="*/ 4 h 63"/>
                <a:gd name="T8" fmla="*/ 34 w 41"/>
                <a:gd name="T9" fmla="*/ 0 h 63"/>
              </a:gdLst>
              <a:ahLst/>
              <a:cxnLst>
                <a:cxn ang="0">
                  <a:pos x="T0" y="T1"/>
                </a:cxn>
                <a:cxn ang="0">
                  <a:pos x="T2" y="T3"/>
                </a:cxn>
                <a:cxn ang="0">
                  <a:pos x="T4" y="T5"/>
                </a:cxn>
                <a:cxn ang="0">
                  <a:pos x="T6" y="T7"/>
                </a:cxn>
                <a:cxn ang="0">
                  <a:pos x="T8" y="T9"/>
                </a:cxn>
              </a:cxnLst>
              <a:rect l="0" t="0" r="r" b="b"/>
              <a:pathLst>
                <a:path w="41" h="63">
                  <a:moveTo>
                    <a:pt x="34" y="0"/>
                  </a:moveTo>
                  <a:lnTo>
                    <a:pt x="0" y="59"/>
                  </a:lnTo>
                  <a:lnTo>
                    <a:pt x="9" y="63"/>
                  </a:lnTo>
                  <a:lnTo>
                    <a:pt x="41" y="4"/>
                  </a:lnTo>
                  <a:lnTo>
                    <a:pt x="34"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5" name="Freeform 89"/>
            <p:cNvSpPr>
              <a:spLocks/>
            </p:cNvSpPr>
            <p:nvPr/>
          </p:nvSpPr>
          <p:spPr bwMode="auto">
            <a:xfrm>
              <a:off x="3250" y="1248"/>
              <a:ext cx="34" cy="45"/>
            </a:xfrm>
            <a:custGeom>
              <a:avLst/>
              <a:gdLst>
                <a:gd name="T0" fmla="*/ 25 w 34"/>
                <a:gd name="T1" fmla="*/ 0 h 45"/>
                <a:gd name="T2" fmla="*/ 0 w 34"/>
                <a:gd name="T3" fmla="*/ 41 h 45"/>
                <a:gd name="T4" fmla="*/ 9 w 34"/>
                <a:gd name="T5" fmla="*/ 45 h 45"/>
                <a:gd name="T6" fmla="*/ 34 w 34"/>
                <a:gd name="T7" fmla="*/ 6 h 45"/>
                <a:gd name="T8" fmla="*/ 25 w 34"/>
                <a:gd name="T9" fmla="*/ 0 h 45"/>
              </a:gdLst>
              <a:ahLst/>
              <a:cxnLst>
                <a:cxn ang="0">
                  <a:pos x="T0" y="T1"/>
                </a:cxn>
                <a:cxn ang="0">
                  <a:pos x="T2" y="T3"/>
                </a:cxn>
                <a:cxn ang="0">
                  <a:pos x="T4" y="T5"/>
                </a:cxn>
                <a:cxn ang="0">
                  <a:pos x="T6" y="T7"/>
                </a:cxn>
                <a:cxn ang="0">
                  <a:pos x="T8" y="T9"/>
                </a:cxn>
              </a:cxnLst>
              <a:rect l="0" t="0" r="r" b="b"/>
              <a:pathLst>
                <a:path w="34" h="45">
                  <a:moveTo>
                    <a:pt x="25" y="0"/>
                  </a:moveTo>
                  <a:lnTo>
                    <a:pt x="0" y="41"/>
                  </a:lnTo>
                  <a:lnTo>
                    <a:pt x="9" y="45"/>
                  </a:lnTo>
                  <a:lnTo>
                    <a:pt x="34" y="6"/>
                  </a:lnTo>
                  <a:lnTo>
                    <a:pt x="25"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6" name="Freeform 90"/>
            <p:cNvSpPr>
              <a:spLocks/>
            </p:cNvSpPr>
            <p:nvPr/>
          </p:nvSpPr>
          <p:spPr bwMode="auto">
            <a:xfrm>
              <a:off x="3273" y="1263"/>
              <a:ext cx="35" cy="45"/>
            </a:xfrm>
            <a:custGeom>
              <a:avLst/>
              <a:gdLst>
                <a:gd name="T0" fmla="*/ 26 w 35"/>
                <a:gd name="T1" fmla="*/ 0 h 45"/>
                <a:gd name="T2" fmla="*/ 0 w 35"/>
                <a:gd name="T3" fmla="*/ 40 h 45"/>
                <a:gd name="T4" fmla="*/ 8 w 35"/>
                <a:gd name="T5" fmla="*/ 45 h 45"/>
                <a:gd name="T6" fmla="*/ 35 w 35"/>
                <a:gd name="T7" fmla="*/ 6 h 45"/>
                <a:gd name="T8" fmla="*/ 26 w 35"/>
                <a:gd name="T9" fmla="*/ 0 h 45"/>
              </a:gdLst>
              <a:ahLst/>
              <a:cxnLst>
                <a:cxn ang="0">
                  <a:pos x="T0" y="T1"/>
                </a:cxn>
                <a:cxn ang="0">
                  <a:pos x="T2" y="T3"/>
                </a:cxn>
                <a:cxn ang="0">
                  <a:pos x="T4" y="T5"/>
                </a:cxn>
                <a:cxn ang="0">
                  <a:pos x="T6" y="T7"/>
                </a:cxn>
                <a:cxn ang="0">
                  <a:pos x="T8" y="T9"/>
                </a:cxn>
              </a:cxnLst>
              <a:rect l="0" t="0" r="r" b="b"/>
              <a:pathLst>
                <a:path w="35" h="45">
                  <a:moveTo>
                    <a:pt x="26" y="0"/>
                  </a:moveTo>
                  <a:lnTo>
                    <a:pt x="0" y="40"/>
                  </a:lnTo>
                  <a:lnTo>
                    <a:pt x="8" y="45"/>
                  </a:lnTo>
                  <a:lnTo>
                    <a:pt x="35" y="6"/>
                  </a:lnTo>
                  <a:lnTo>
                    <a:pt x="26"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7" name="Freeform 91"/>
            <p:cNvSpPr>
              <a:spLocks/>
            </p:cNvSpPr>
            <p:nvPr/>
          </p:nvSpPr>
          <p:spPr bwMode="auto">
            <a:xfrm>
              <a:off x="3295" y="1280"/>
              <a:ext cx="36" cy="44"/>
            </a:xfrm>
            <a:custGeom>
              <a:avLst/>
              <a:gdLst>
                <a:gd name="T0" fmla="*/ 29 w 36"/>
                <a:gd name="T1" fmla="*/ 0 h 44"/>
                <a:gd name="T2" fmla="*/ 0 w 36"/>
                <a:gd name="T3" fmla="*/ 38 h 44"/>
                <a:gd name="T4" fmla="*/ 8 w 36"/>
                <a:gd name="T5" fmla="*/ 44 h 44"/>
                <a:gd name="T6" fmla="*/ 36 w 36"/>
                <a:gd name="T7" fmla="*/ 7 h 44"/>
                <a:gd name="T8" fmla="*/ 29 w 36"/>
                <a:gd name="T9" fmla="*/ 0 h 44"/>
              </a:gdLst>
              <a:ahLst/>
              <a:cxnLst>
                <a:cxn ang="0">
                  <a:pos x="T0" y="T1"/>
                </a:cxn>
                <a:cxn ang="0">
                  <a:pos x="T2" y="T3"/>
                </a:cxn>
                <a:cxn ang="0">
                  <a:pos x="T4" y="T5"/>
                </a:cxn>
                <a:cxn ang="0">
                  <a:pos x="T6" y="T7"/>
                </a:cxn>
                <a:cxn ang="0">
                  <a:pos x="T8" y="T9"/>
                </a:cxn>
              </a:cxnLst>
              <a:rect l="0" t="0" r="r" b="b"/>
              <a:pathLst>
                <a:path w="36" h="44">
                  <a:moveTo>
                    <a:pt x="29" y="0"/>
                  </a:moveTo>
                  <a:lnTo>
                    <a:pt x="0" y="38"/>
                  </a:lnTo>
                  <a:lnTo>
                    <a:pt x="8" y="44"/>
                  </a:lnTo>
                  <a:lnTo>
                    <a:pt x="36" y="7"/>
                  </a:lnTo>
                  <a:lnTo>
                    <a:pt x="29"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8" name="Freeform 92"/>
            <p:cNvSpPr>
              <a:spLocks/>
            </p:cNvSpPr>
            <p:nvPr/>
          </p:nvSpPr>
          <p:spPr bwMode="auto">
            <a:xfrm>
              <a:off x="3316" y="1298"/>
              <a:ext cx="38" cy="42"/>
            </a:xfrm>
            <a:custGeom>
              <a:avLst/>
              <a:gdLst>
                <a:gd name="T0" fmla="*/ 31 w 38"/>
                <a:gd name="T1" fmla="*/ 0 h 42"/>
                <a:gd name="T2" fmla="*/ 0 w 38"/>
                <a:gd name="T3" fmla="*/ 37 h 42"/>
                <a:gd name="T4" fmla="*/ 8 w 38"/>
                <a:gd name="T5" fmla="*/ 42 h 42"/>
                <a:gd name="T6" fmla="*/ 38 w 38"/>
                <a:gd name="T7" fmla="*/ 7 h 42"/>
                <a:gd name="T8" fmla="*/ 31 w 38"/>
                <a:gd name="T9" fmla="*/ 0 h 42"/>
              </a:gdLst>
              <a:ahLst/>
              <a:cxnLst>
                <a:cxn ang="0">
                  <a:pos x="T0" y="T1"/>
                </a:cxn>
                <a:cxn ang="0">
                  <a:pos x="T2" y="T3"/>
                </a:cxn>
                <a:cxn ang="0">
                  <a:pos x="T4" y="T5"/>
                </a:cxn>
                <a:cxn ang="0">
                  <a:pos x="T6" y="T7"/>
                </a:cxn>
                <a:cxn ang="0">
                  <a:pos x="T8" y="T9"/>
                </a:cxn>
              </a:cxnLst>
              <a:rect l="0" t="0" r="r" b="b"/>
              <a:pathLst>
                <a:path w="38" h="42">
                  <a:moveTo>
                    <a:pt x="31" y="0"/>
                  </a:moveTo>
                  <a:lnTo>
                    <a:pt x="0" y="37"/>
                  </a:lnTo>
                  <a:lnTo>
                    <a:pt x="8" y="42"/>
                  </a:lnTo>
                  <a:lnTo>
                    <a:pt x="38" y="7"/>
                  </a:lnTo>
                  <a:lnTo>
                    <a:pt x="31"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79" name="Freeform 93"/>
            <p:cNvSpPr>
              <a:spLocks/>
            </p:cNvSpPr>
            <p:nvPr/>
          </p:nvSpPr>
          <p:spPr bwMode="auto">
            <a:xfrm>
              <a:off x="3326" y="1314"/>
              <a:ext cx="53" cy="56"/>
            </a:xfrm>
            <a:custGeom>
              <a:avLst/>
              <a:gdLst>
                <a:gd name="T0" fmla="*/ 46 w 53"/>
                <a:gd name="T1" fmla="*/ 0 h 56"/>
                <a:gd name="T2" fmla="*/ 0 w 53"/>
                <a:gd name="T3" fmla="*/ 49 h 56"/>
                <a:gd name="T4" fmla="*/ 7 w 53"/>
                <a:gd name="T5" fmla="*/ 56 h 56"/>
                <a:gd name="T6" fmla="*/ 53 w 53"/>
                <a:gd name="T7" fmla="*/ 5 h 56"/>
                <a:gd name="T8" fmla="*/ 46 w 53"/>
                <a:gd name="T9" fmla="*/ 0 h 56"/>
              </a:gdLst>
              <a:ahLst/>
              <a:cxnLst>
                <a:cxn ang="0">
                  <a:pos x="T0" y="T1"/>
                </a:cxn>
                <a:cxn ang="0">
                  <a:pos x="T2" y="T3"/>
                </a:cxn>
                <a:cxn ang="0">
                  <a:pos x="T4" y="T5"/>
                </a:cxn>
                <a:cxn ang="0">
                  <a:pos x="T6" y="T7"/>
                </a:cxn>
                <a:cxn ang="0">
                  <a:pos x="T8" y="T9"/>
                </a:cxn>
              </a:cxnLst>
              <a:rect l="0" t="0" r="r" b="b"/>
              <a:pathLst>
                <a:path w="53" h="56">
                  <a:moveTo>
                    <a:pt x="46" y="0"/>
                  </a:moveTo>
                  <a:lnTo>
                    <a:pt x="0" y="49"/>
                  </a:lnTo>
                  <a:lnTo>
                    <a:pt x="7" y="56"/>
                  </a:lnTo>
                  <a:lnTo>
                    <a:pt x="53" y="5"/>
                  </a:lnTo>
                  <a:lnTo>
                    <a:pt x="46"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0" name="Freeform 95"/>
            <p:cNvSpPr>
              <a:spLocks/>
            </p:cNvSpPr>
            <p:nvPr/>
          </p:nvSpPr>
          <p:spPr bwMode="auto">
            <a:xfrm>
              <a:off x="2610" y="1213"/>
              <a:ext cx="720" cy="400"/>
            </a:xfrm>
            <a:custGeom>
              <a:avLst/>
              <a:gdLst>
                <a:gd name="T0" fmla="*/ 432 w 514"/>
                <a:gd name="T1" fmla="*/ 74 h 286"/>
                <a:gd name="T2" fmla="*/ 426 w 514"/>
                <a:gd name="T3" fmla="*/ 71 h 286"/>
                <a:gd name="T4" fmla="*/ 424 w 514"/>
                <a:gd name="T5" fmla="*/ 70 h 286"/>
                <a:gd name="T6" fmla="*/ 418 w 514"/>
                <a:gd name="T7" fmla="*/ 67 h 286"/>
                <a:gd name="T8" fmla="*/ 0 w 514"/>
                <a:gd name="T9" fmla="*/ 136 h 286"/>
                <a:gd name="T10" fmla="*/ 150 w 514"/>
                <a:gd name="T11" fmla="*/ 286 h 286"/>
                <a:gd name="T12" fmla="*/ 287 w 514"/>
                <a:gd name="T13" fmla="*/ 245 h 286"/>
                <a:gd name="T14" fmla="*/ 310 w 514"/>
                <a:gd name="T15" fmla="*/ 251 h 286"/>
                <a:gd name="T16" fmla="*/ 319 w 514"/>
                <a:gd name="T17" fmla="*/ 255 h 286"/>
                <a:gd name="T18" fmla="*/ 364 w 514"/>
                <a:gd name="T19" fmla="*/ 286 h 286"/>
                <a:gd name="T20" fmla="*/ 514 w 514"/>
                <a:gd name="T21" fmla="*/ 136 h 286"/>
                <a:gd name="T22" fmla="*/ 432 w 514"/>
                <a:gd name="T23" fmla="*/ 74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4" h="286">
                  <a:moveTo>
                    <a:pt x="432" y="74"/>
                  </a:moveTo>
                  <a:cubicBezTo>
                    <a:pt x="430" y="73"/>
                    <a:pt x="428" y="72"/>
                    <a:pt x="426" y="71"/>
                  </a:cubicBezTo>
                  <a:cubicBezTo>
                    <a:pt x="425" y="71"/>
                    <a:pt x="424" y="70"/>
                    <a:pt x="424" y="70"/>
                  </a:cubicBezTo>
                  <a:cubicBezTo>
                    <a:pt x="422" y="69"/>
                    <a:pt x="420" y="68"/>
                    <a:pt x="418" y="67"/>
                  </a:cubicBezTo>
                  <a:cubicBezTo>
                    <a:pt x="282" y="0"/>
                    <a:pt x="113" y="23"/>
                    <a:pt x="0" y="136"/>
                  </a:cubicBezTo>
                  <a:cubicBezTo>
                    <a:pt x="150" y="286"/>
                    <a:pt x="150" y="286"/>
                    <a:pt x="150" y="286"/>
                  </a:cubicBezTo>
                  <a:cubicBezTo>
                    <a:pt x="187" y="249"/>
                    <a:pt x="239" y="235"/>
                    <a:pt x="287" y="245"/>
                  </a:cubicBezTo>
                  <a:cubicBezTo>
                    <a:pt x="295" y="246"/>
                    <a:pt x="302" y="248"/>
                    <a:pt x="310" y="251"/>
                  </a:cubicBezTo>
                  <a:cubicBezTo>
                    <a:pt x="313" y="252"/>
                    <a:pt x="316" y="253"/>
                    <a:pt x="319" y="255"/>
                  </a:cubicBezTo>
                  <a:cubicBezTo>
                    <a:pt x="335" y="262"/>
                    <a:pt x="351" y="272"/>
                    <a:pt x="364" y="286"/>
                  </a:cubicBezTo>
                  <a:cubicBezTo>
                    <a:pt x="514" y="136"/>
                    <a:pt x="514" y="136"/>
                    <a:pt x="514" y="136"/>
                  </a:cubicBezTo>
                  <a:cubicBezTo>
                    <a:pt x="489" y="111"/>
                    <a:pt x="461" y="91"/>
                    <a:pt x="432" y="74"/>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1" name="Freeform 101"/>
            <p:cNvSpPr>
              <a:spLocks noEditPoints="1"/>
            </p:cNvSpPr>
            <p:nvPr/>
          </p:nvSpPr>
          <p:spPr bwMode="auto">
            <a:xfrm>
              <a:off x="2784" y="1356"/>
              <a:ext cx="38" cy="39"/>
            </a:xfrm>
            <a:custGeom>
              <a:avLst/>
              <a:gdLst>
                <a:gd name="T0" fmla="*/ 27 w 27"/>
                <a:gd name="T1" fmla="*/ 28 h 28"/>
                <a:gd name="T2" fmla="*/ 20 w 27"/>
                <a:gd name="T3" fmla="*/ 28 h 28"/>
                <a:gd name="T4" fmla="*/ 18 w 27"/>
                <a:gd name="T5" fmla="*/ 22 h 28"/>
                <a:gd name="T6" fmla="*/ 9 w 27"/>
                <a:gd name="T7" fmla="*/ 22 h 28"/>
                <a:gd name="T8" fmla="*/ 7 w 27"/>
                <a:gd name="T9" fmla="*/ 28 h 28"/>
                <a:gd name="T10" fmla="*/ 0 w 27"/>
                <a:gd name="T11" fmla="*/ 28 h 28"/>
                <a:gd name="T12" fmla="*/ 10 w 27"/>
                <a:gd name="T13" fmla="*/ 0 h 28"/>
                <a:gd name="T14" fmla="*/ 17 w 27"/>
                <a:gd name="T15" fmla="*/ 0 h 28"/>
                <a:gd name="T16" fmla="*/ 27 w 27"/>
                <a:gd name="T17" fmla="*/ 28 h 28"/>
                <a:gd name="T18" fmla="*/ 17 w 27"/>
                <a:gd name="T19" fmla="*/ 17 h 28"/>
                <a:gd name="T20" fmla="*/ 14 w 27"/>
                <a:gd name="T21" fmla="*/ 8 h 28"/>
                <a:gd name="T22" fmla="*/ 14 w 27"/>
                <a:gd name="T23" fmla="*/ 5 h 28"/>
                <a:gd name="T24" fmla="*/ 13 w 27"/>
                <a:gd name="T25" fmla="*/ 5 h 28"/>
                <a:gd name="T26" fmla="*/ 13 w 27"/>
                <a:gd name="T27" fmla="*/ 7 h 28"/>
                <a:gd name="T28" fmla="*/ 10 w 27"/>
                <a:gd name="T29" fmla="*/ 17 h 28"/>
                <a:gd name="T30" fmla="*/ 17 w 27"/>
                <a:gd name="T31" fmla="*/ 1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 h="28">
                  <a:moveTo>
                    <a:pt x="27" y="28"/>
                  </a:moveTo>
                  <a:cubicBezTo>
                    <a:pt x="20" y="28"/>
                    <a:pt x="20" y="28"/>
                    <a:pt x="20" y="28"/>
                  </a:cubicBezTo>
                  <a:cubicBezTo>
                    <a:pt x="18" y="22"/>
                    <a:pt x="18" y="22"/>
                    <a:pt x="18" y="22"/>
                  </a:cubicBezTo>
                  <a:cubicBezTo>
                    <a:pt x="9" y="22"/>
                    <a:pt x="9" y="22"/>
                    <a:pt x="9" y="22"/>
                  </a:cubicBezTo>
                  <a:cubicBezTo>
                    <a:pt x="7" y="28"/>
                    <a:pt x="7" y="28"/>
                    <a:pt x="7" y="28"/>
                  </a:cubicBezTo>
                  <a:cubicBezTo>
                    <a:pt x="0" y="28"/>
                    <a:pt x="0" y="28"/>
                    <a:pt x="0" y="28"/>
                  </a:cubicBezTo>
                  <a:cubicBezTo>
                    <a:pt x="10" y="0"/>
                    <a:pt x="10" y="0"/>
                    <a:pt x="10" y="0"/>
                  </a:cubicBezTo>
                  <a:cubicBezTo>
                    <a:pt x="17" y="0"/>
                    <a:pt x="17" y="0"/>
                    <a:pt x="17" y="0"/>
                  </a:cubicBezTo>
                  <a:lnTo>
                    <a:pt x="27" y="28"/>
                  </a:lnTo>
                  <a:close/>
                  <a:moveTo>
                    <a:pt x="17" y="17"/>
                  </a:moveTo>
                  <a:cubicBezTo>
                    <a:pt x="14" y="8"/>
                    <a:pt x="14" y="8"/>
                    <a:pt x="14" y="8"/>
                  </a:cubicBezTo>
                  <a:cubicBezTo>
                    <a:pt x="14" y="7"/>
                    <a:pt x="14" y="6"/>
                    <a:pt x="14" y="5"/>
                  </a:cubicBezTo>
                  <a:cubicBezTo>
                    <a:pt x="13" y="5"/>
                    <a:pt x="13" y="5"/>
                    <a:pt x="13" y="5"/>
                  </a:cubicBezTo>
                  <a:cubicBezTo>
                    <a:pt x="13" y="6"/>
                    <a:pt x="13" y="7"/>
                    <a:pt x="13" y="7"/>
                  </a:cubicBezTo>
                  <a:cubicBezTo>
                    <a:pt x="10" y="17"/>
                    <a:pt x="10" y="17"/>
                    <a:pt x="10" y="17"/>
                  </a:cubicBezTo>
                  <a:lnTo>
                    <a:pt x="17" y="17"/>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2" name="Freeform 102"/>
            <p:cNvSpPr>
              <a:spLocks/>
            </p:cNvSpPr>
            <p:nvPr/>
          </p:nvSpPr>
          <p:spPr bwMode="auto">
            <a:xfrm>
              <a:off x="2820" y="1356"/>
              <a:ext cx="37" cy="39"/>
            </a:xfrm>
            <a:custGeom>
              <a:avLst/>
              <a:gdLst>
                <a:gd name="T0" fmla="*/ 26 w 26"/>
                <a:gd name="T1" fmla="*/ 0 h 28"/>
                <a:gd name="T2" fmla="*/ 16 w 26"/>
                <a:gd name="T3" fmla="*/ 28 h 28"/>
                <a:gd name="T4" fmla="*/ 9 w 26"/>
                <a:gd name="T5" fmla="*/ 28 h 28"/>
                <a:gd name="T6" fmla="*/ 0 w 26"/>
                <a:gd name="T7" fmla="*/ 0 h 28"/>
                <a:gd name="T8" fmla="*/ 6 w 26"/>
                <a:gd name="T9" fmla="*/ 0 h 28"/>
                <a:gd name="T10" fmla="*/ 12 w 26"/>
                <a:gd name="T11" fmla="*/ 19 h 28"/>
                <a:gd name="T12" fmla="*/ 13 w 26"/>
                <a:gd name="T13" fmla="*/ 22 h 28"/>
                <a:gd name="T14" fmla="*/ 13 w 26"/>
                <a:gd name="T15" fmla="*/ 22 h 28"/>
                <a:gd name="T16" fmla="*/ 13 w 26"/>
                <a:gd name="T17" fmla="*/ 19 h 28"/>
                <a:gd name="T18" fmla="*/ 19 w 26"/>
                <a:gd name="T19" fmla="*/ 0 h 28"/>
                <a:gd name="T20" fmla="*/ 26 w 26"/>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28">
                  <a:moveTo>
                    <a:pt x="26" y="0"/>
                  </a:moveTo>
                  <a:cubicBezTo>
                    <a:pt x="16" y="28"/>
                    <a:pt x="16" y="28"/>
                    <a:pt x="16" y="28"/>
                  </a:cubicBezTo>
                  <a:cubicBezTo>
                    <a:pt x="9" y="28"/>
                    <a:pt x="9" y="28"/>
                    <a:pt x="9" y="28"/>
                  </a:cubicBezTo>
                  <a:cubicBezTo>
                    <a:pt x="0" y="0"/>
                    <a:pt x="0" y="0"/>
                    <a:pt x="0" y="0"/>
                  </a:cubicBezTo>
                  <a:cubicBezTo>
                    <a:pt x="6" y="0"/>
                    <a:pt x="6" y="0"/>
                    <a:pt x="6" y="0"/>
                  </a:cubicBezTo>
                  <a:cubicBezTo>
                    <a:pt x="12" y="19"/>
                    <a:pt x="12" y="19"/>
                    <a:pt x="12" y="19"/>
                  </a:cubicBezTo>
                  <a:cubicBezTo>
                    <a:pt x="12" y="20"/>
                    <a:pt x="13" y="21"/>
                    <a:pt x="13" y="22"/>
                  </a:cubicBezTo>
                  <a:cubicBezTo>
                    <a:pt x="13" y="22"/>
                    <a:pt x="13" y="22"/>
                    <a:pt x="13" y="22"/>
                  </a:cubicBezTo>
                  <a:cubicBezTo>
                    <a:pt x="13" y="21"/>
                    <a:pt x="13" y="20"/>
                    <a:pt x="13" y="19"/>
                  </a:cubicBezTo>
                  <a:cubicBezTo>
                    <a:pt x="19" y="0"/>
                    <a:pt x="19" y="0"/>
                    <a:pt x="19" y="0"/>
                  </a:cubicBezTo>
                  <a:lnTo>
                    <a:pt x="26"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3" name="Freeform 103"/>
            <p:cNvSpPr>
              <a:spLocks noEditPoints="1"/>
            </p:cNvSpPr>
            <p:nvPr/>
          </p:nvSpPr>
          <p:spPr bwMode="auto">
            <a:xfrm>
              <a:off x="2854" y="1356"/>
              <a:ext cx="38" cy="39"/>
            </a:xfrm>
            <a:custGeom>
              <a:avLst/>
              <a:gdLst>
                <a:gd name="T0" fmla="*/ 27 w 27"/>
                <a:gd name="T1" fmla="*/ 28 h 28"/>
                <a:gd name="T2" fmla="*/ 21 w 27"/>
                <a:gd name="T3" fmla="*/ 28 h 28"/>
                <a:gd name="T4" fmla="*/ 19 w 27"/>
                <a:gd name="T5" fmla="*/ 22 h 28"/>
                <a:gd name="T6" fmla="*/ 9 w 27"/>
                <a:gd name="T7" fmla="*/ 22 h 28"/>
                <a:gd name="T8" fmla="*/ 7 w 27"/>
                <a:gd name="T9" fmla="*/ 28 h 28"/>
                <a:gd name="T10" fmla="*/ 0 w 27"/>
                <a:gd name="T11" fmla="*/ 28 h 28"/>
                <a:gd name="T12" fmla="*/ 10 w 27"/>
                <a:gd name="T13" fmla="*/ 0 h 28"/>
                <a:gd name="T14" fmla="*/ 18 w 27"/>
                <a:gd name="T15" fmla="*/ 0 h 28"/>
                <a:gd name="T16" fmla="*/ 27 w 27"/>
                <a:gd name="T17" fmla="*/ 28 h 28"/>
                <a:gd name="T18" fmla="*/ 17 w 27"/>
                <a:gd name="T19" fmla="*/ 17 h 28"/>
                <a:gd name="T20" fmla="*/ 14 w 27"/>
                <a:gd name="T21" fmla="*/ 8 h 28"/>
                <a:gd name="T22" fmla="*/ 14 w 27"/>
                <a:gd name="T23" fmla="*/ 5 h 28"/>
                <a:gd name="T24" fmla="*/ 14 w 27"/>
                <a:gd name="T25" fmla="*/ 5 h 28"/>
                <a:gd name="T26" fmla="*/ 13 w 27"/>
                <a:gd name="T27" fmla="*/ 7 h 28"/>
                <a:gd name="T28" fmla="*/ 10 w 27"/>
                <a:gd name="T29" fmla="*/ 17 h 28"/>
                <a:gd name="T30" fmla="*/ 17 w 27"/>
                <a:gd name="T31" fmla="*/ 1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 h="28">
                  <a:moveTo>
                    <a:pt x="27" y="28"/>
                  </a:moveTo>
                  <a:cubicBezTo>
                    <a:pt x="21" y="28"/>
                    <a:pt x="21" y="28"/>
                    <a:pt x="21" y="28"/>
                  </a:cubicBezTo>
                  <a:cubicBezTo>
                    <a:pt x="19" y="22"/>
                    <a:pt x="19" y="22"/>
                    <a:pt x="19" y="22"/>
                  </a:cubicBezTo>
                  <a:cubicBezTo>
                    <a:pt x="9" y="22"/>
                    <a:pt x="9" y="22"/>
                    <a:pt x="9" y="22"/>
                  </a:cubicBezTo>
                  <a:cubicBezTo>
                    <a:pt x="7" y="28"/>
                    <a:pt x="7" y="28"/>
                    <a:pt x="7" y="28"/>
                  </a:cubicBezTo>
                  <a:cubicBezTo>
                    <a:pt x="0" y="28"/>
                    <a:pt x="0" y="28"/>
                    <a:pt x="0" y="28"/>
                  </a:cubicBezTo>
                  <a:cubicBezTo>
                    <a:pt x="10" y="0"/>
                    <a:pt x="10" y="0"/>
                    <a:pt x="10" y="0"/>
                  </a:cubicBezTo>
                  <a:cubicBezTo>
                    <a:pt x="18" y="0"/>
                    <a:pt x="18" y="0"/>
                    <a:pt x="18" y="0"/>
                  </a:cubicBezTo>
                  <a:lnTo>
                    <a:pt x="27" y="28"/>
                  </a:lnTo>
                  <a:close/>
                  <a:moveTo>
                    <a:pt x="17" y="17"/>
                  </a:moveTo>
                  <a:cubicBezTo>
                    <a:pt x="14" y="8"/>
                    <a:pt x="14" y="8"/>
                    <a:pt x="14" y="8"/>
                  </a:cubicBezTo>
                  <a:cubicBezTo>
                    <a:pt x="14" y="7"/>
                    <a:pt x="14" y="6"/>
                    <a:pt x="14" y="5"/>
                  </a:cubicBezTo>
                  <a:cubicBezTo>
                    <a:pt x="14" y="5"/>
                    <a:pt x="14" y="5"/>
                    <a:pt x="14" y="5"/>
                  </a:cubicBezTo>
                  <a:cubicBezTo>
                    <a:pt x="14" y="6"/>
                    <a:pt x="13" y="7"/>
                    <a:pt x="13" y="7"/>
                  </a:cubicBezTo>
                  <a:cubicBezTo>
                    <a:pt x="10" y="17"/>
                    <a:pt x="10" y="17"/>
                    <a:pt x="10" y="17"/>
                  </a:cubicBezTo>
                  <a:lnTo>
                    <a:pt x="17" y="17"/>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4" name="Rectangle 104"/>
            <p:cNvSpPr>
              <a:spLocks noChangeArrowheads="1"/>
            </p:cNvSpPr>
            <p:nvPr/>
          </p:nvSpPr>
          <p:spPr bwMode="auto">
            <a:xfrm>
              <a:off x="2897" y="1356"/>
              <a:ext cx="9" cy="3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5" name="Freeform 105"/>
            <p:cNvSpPr>
              <a:spLocks/>
            </p:cNvSpPr>
            <p:nvPr/>
          </p:nvSpPr>
          <p:spPr bwMode="auto">
            <a:xfrm>
              <a:off x="2916" y="1356"/>
              <a:ext cx="22" cy="39"/>
            </a:xfrm>
            <a:custGeom>
              <a:avLst/>
              <a:gdLst>
                <a:gd name="T0" fmla="*/ 22 w 22"/>
                <a:gd name="T1" fmla="*/ 39 h 39"/>
                <a:gd name="T2" fmla="*/ 0 w 22"/>
                <a:gd name="T3" fmla="*/ 39 h 39"/>
                <a:gd name="T4" fmla="*/ 0 w 22"/>
                <a:gd name="T5" fmla="*/ 0 h 39"/>
                <a:gd name="T6" fmla="*/ 8 w 22"/>
                <a:gd name="T7" fmla="*/ 0 h 39"/>
                <a:gd name="T8" fmla="*/ 8 w 22"/>
                <a:gd name="T9" fmla="*/ 32 h 39"/>
                <a:gd name="T10" fmla="*/ 22 w 22"/>
                <a:gd name="T11" fmla="*/ 32 h 39"/>
                <a:gd name="T12" fmla="*/ 22 w 22"/>
                <a:gd name="T13" fmla="*/ 39 h 39"/>
              </a:gdLst>
              <a:ahLst/>
              <a:cxnLst>
                <a:cxn ang="0">
                  <a:pos x="T0" y="T1"/>
                </a:cxn>
                <a:cxn ang="0">
                  <a:pos x="T2" y="T3"/>
                </a:cxn>
                <a:cxn ang="0">
                  <a:pos x="T4" y="T5"/>
                </a:cxn>
                <a:cxn ang="0">
                  <a:pos x="T6" y="T7"/>
                </a:cxn>
                <a:cxn ang="0">
                  <a:pos x="T8" y="T9"/>
                </a:cxn>
                <a:cxn ang="0">
                  <a:pos x="T10" y="T11"/>
                </a:cxn>
                <a:cxn ang="0">
                  <a:pos x="T12" y="T13"/>
                </a:cxn>
              </a:cxnLst>
              <a:rect l="0" t="0" r="r" b="b"/>
              <a:pathLst>
                <a:path w="22" h="39">
                  <a:moveTo>
                    <a:pt x="22" y="39"/>
                  </a:moveTo>
                  <a:lnTo>
                    <a:pt x="0" y="39"/>
                  </a:lnTo>
                  <a:lnTo>
                    <a:pt x="0" y="0"/>
                  </a:lnTo>
                  <a:lnTo>
                    <a:pt x="8" y="0"/>
                  </a:lnTo>
                  <a:lnTo>
                    <a:pt x="8" y="32"/>
                  </a:lnTo>
                  <a:lnTo>
                    <a:pt x="22" y="32"/>
                  </a:lnTo>
                  <a:lnTo>
                    <a:pt x="22" y="39"/>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6" name="Freeform 106"/>
            <p:cNvSpPr>
              <a:spLocks noEditPoints="1"/>
            </p:cNvSpPr>
            <p:nvPr/>
          </p:nvSpPr>
          <p:spPr bwMode="auto">
            <a:xfrm>
              <a:off x="2941" y="1356"/>
              <a:ext cx="38" cy="39"/>
            </a:xfrm>
            <a:custGeom>
              <a:avLst/>
              <a:gdLst>
                <a:gd name="T0" fmla="*/ 27 w 27"/>
                <a:gd name="T1" fmla="*/ 28 h 28"/>
                <a:gd name="T2" fmla="*/ 20 w 27"/>
                <a:gd name="T3" fmla="*/ 28 h 28"/>
                <a:gd name="T4" fmla="*/ 18 w 27"/>
                <a:gd name="T5" fmla="*/ 22 h 28"/>
                <a:gd name="T6" fmla="*/ 9 w 27"/>
                <a:gd name="T7" fmla="*/ 22 h 28"/>
                <a:gd name="T8" fmla="*/ 7 w 27"/>
                <a:gd name="T9" fmla="*/ 28 h 28"/>
                <a:gd name="T10" fmla="*/ 0 w 27"/>
                <a:gd name="T11" fmla="*/ 28 h 28"/>
                <a:gd name="T12" fmla="*/ 10 w 27"/>
                <a:gd name="T13" fmla="*/ 0 h 28"/>
                <a:gd name="T14" fmla="*/ 17 w 27"/>
                <a:gd name="T15" fmla="*/ 0 h 28"/>
                <a:gd name="T16" fmla="*/ 27 w 27"/>
                <a:gd name="T17" fmla="*/ 28 h 28"/>
                <a:gd name="T18" fmla="*/ 17 w 27"/>
                <a:gd name="T19" fmla="*/ 17 h 28"/>
                <a:gd name="T20" fmla="*/ 14 w 27"/>
                <a:gd name="T21" fmla="*/ 8 h 28"/>
                <a:gd name="T22" fmla="*/ 14 w 27"/>
                <a:gd name="T23" fmla="*/ 5 h 28"/>
                <a:gd name="T24" fmla="*/ 13 w 27"/>
                <a:gd name="T25" fmla="*/ 5 h 28"/>
                <a:gd name="T26" fmla="*/ 13 w 27"/>
                <a:gd name="T27" fmla="*/ 7 h 28"/>
                <a:gd name="T28" fmla="*/ 10 w 27"/>
                <a:gd name="T29" fmla="*/ 17 h 28"/>
                <a:gd name="T30" fmla="*/ 17 w 27"/>
                <a:gd name="T31" fmla="*/ 1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 h="28">
                  <a:moveTo>
                    <a:pt x="27" y="28"/>
                  </a:moveTo>
                  <a:cubicBezTo>
                    <a:pt x="20" y="28"/>
                    <a:pt x="20" y="28"/>
                    <a:pt x="20" y="28"/>
                  </a:cubicBezTo>
                  <a:cubicBezTo>
                    <a:pt x="18" y="22"/>
                    <a:pt x="18" y="22"/>
                    <a:pt x="18" y="22"/>
                  </a:cubicBezTo>
                  <a:cubicBezTo>
                    <a:pt x="9" y="22"/>
                    <a:pt x="9" y="22"/>
                    <a:pt x="9" y="22"/>
                  </a:cubicBezTo>
                  <a:cubicBezTo>
                    <a:pt x="7" y="28"/>
                    <a:pt x="7" y="28"/>
                    <a:pt x="7" y="28"/>
                  </a:cubicBezTo>
                  <a:cubicBezTo>
                    <a:pt x="0" y="28"/>
                    <a:pt x="0" y="28"/>
                    <a:pt x="0" y="28"/>
                  </a:cubicBezTo>
                  <a:cubicBezTo>
                    <a:pt x="10" y="0"/>
                    <a:pt x="10" y="0"/>
                    <a:pt x="10" y="0"/>
                  </a:cubicBezTo>
                  <a:cubicBezTo>
                    <a:pt x="17" y="0"/>
                    <a:pt x="17" y="0"/>
                    <a:pt x="17" y="0"/>
                  </a:cubicBezTo>
                  <a:lnTo>
                    <a:pt x="27" y="28"/>
                  </a:lnTo>
                  <a:close/>
                  <a:moveTo>
                    <a:pt x="17" y="17"/>
                  </a:moveTo>
                  <a:cubicBezTo>
                    <a:pt x="14" y="8"/>
                    <a:pt x="14" y="8"/>
                    <a:pt x="14" y="8"/>
                  </a:cubicBezTo>
                  <a:cubicBezTo>
                    <a:pt x="14" y="7"/>
                    <a:pt x="14" y="6"/>
                    <a:pt x="14" y="5"/>
                  </a:cubicBezTo>
                  <a:cubicBezTo>
                    <a:pt x="13" y="5"/>
                    <a:pt x="13" y="5"/>
                    <a:pt x="13" y="5"/>
                  </a:cubicBezTo>
                  <a:cubicBezTo>
                    <a:pt x="13" y="6"/>
                    <a:pt x="13" y="7"/>
                    <a:pt x="13" y="7"/>
                  </a:cubicBezTo>
                  <a:cubicBezTo>
                    <a:pt x="10" y="17"/>
                    <a:pt x="10" y="17"/>
                    <a:pt x="10" y="17"/>
                  </a:cubicBezTo>
                  <a:lnTo>
                    <a:pt x="17" y="17"/>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7" name="Freeform 107"/>
            <p:cNvSpPr>
              <a:spLocks noEditPoints="1"/>
            </p:cNvSpPr>
            <p:nvPr/>
          </p:nvSpPr>
          <p:spPr bwMode="auto">
            <a:xfrm>
              <a:off x="2984" y="1356"/>
              <a:ext cx="30" cy="39"/>
            </a:xfrm>
            <a:custGeom>
              <a:avLst/>
              <a:gdLst>
                <a:gd name="T0" fmla="*/ 0 w 21"/>
                <a:gd name="T1" fmla="*/ 28 h 28"/>
                <a:gd name="T2" fmla="*/ 0 w 21"/>
                <a:gd name="T3" fmla="*/ 0 h 28"/>
                <a:gd name="T4" fmla="*/ 10 w 21"/>
                <a:gd name="T5" fmla="*/ 0 h 28"/>
                <a:gd name="T6" fmla="*/ 17 w 21"/>
                <a:gd name="T7" fmla="*/ 2 h 28"/>
                <a:gd name="T8" fmla="*/ 20 w 21"/>
                <a:gd name="T9" fmla="*/ 7 h 28"/>
                <a:gd name="T10" fmla="*/ 18 w 21"/>
                <a:gd name="T11" fmla="*/ 11 h 28"/>
                <a:gd name="T12" fmla="*/ 14 w 21"/>
                <a:gd name="T13" fmla="*/ 13 h 28"/>
                <a:gd name="T14" fmla="*/ 14 w 21"/>
                <a:gd name="T15" fmla="*/ 13 h 28"/>
                <a:gd name="T16" fmla="*/ 19 w 21"/>
                <a:gd name="T17" fmla="*/ 15 h 28"/>
                <a:gd name="T18" fmla="*/ 21 w 21"/>
                <a:gd name="T19" fmla="*/ 20 h 28"/>
                <a:gd name="T20" fmla="*/ 18 w 21"/>
                <a:gd name="T21" fmla="*/ 26 h 28"/>
                <a:gd name="T22" fmla="*/ 10 w 21"/>
                <a:gd name="T23" fmla="*/ 28 h 28"/>
                <a:gd name="T24" fmla="*/ 0 w 21"/>
                <a:gd name="T25" fmla="*/ 28 h 28"/>
                <a:gd name="T26" fmla="*/ 6 w 21"/>
                <a:gd name="T27" fmla="*/ 5 h 28"/>
                <a:gd name="T28" fmla="*/ 6 w 21"/>
                <a:gd name="T29" fmla="*/ 11 h 28"/>
                <a:gd name="T30" fmla="*/ 9 w 21"/>
                <a:gd name="T31" fmla="*/ 11 h 28"/>
                <a:gd name="T32" fmla="*/ 12 w 21"/>
                <a:gd name="T33" fmla="*/ 10 h 28"/>
                <a:gd name="T34" fmla="*/ 13 w 21"/>
                <a:gd name="T35" fmla="*/ 8 h 28"/>
                <a:gd name="T36" fmla="*/ 8 w 21"/>
                <a:gd name="T37" fmla="*/ 5 h 28"/>
                <a:gd name="T38" fmla="*/ 6 w 21"/>
                <a:gd name="T39" fmla="*/ 5 h 28"/>
                <a:gd name="T40" fmla="*/ 6 w 21"/>
                <a:gd name="T41" fmla="*/ 16 h 28"/>
                <a:gd name="T42" fmla="*/ 6 w 21"/>
                <a:gd name="T43" fmla="*/ 23 h 28"/>
                <a:gd name="T44" fmla="*/ 9 w 21"/>
                <a:gd name="T45" fmla="*/ 23 h 28"/>
                <a:gd name="T46" fmla="*/ 13 w 21"/>
                <a:gd name="T47" fmla="*/ 22 h 28"/>
                <a:gd name="T48" fmla="*/ 14 w 21"/>
                <a:gd name="T49" fmla="*/ 19 h 28"/>
                <a:gd name="T50" fmla="*/ 13 w 21"/>
                <a:gd name="T51" fmla="*/ 17 h 28"/>
                <a:gd name="T52" fmla="*/ 9 w 21"/>
                <a:gd name="T53" fmla="*/ 16 h 28"/>
                <a:gd name="T54" fmla="*/ 6 w 21"/>
                <a:gd name="T55" fmla="*/ 1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1" h="28">
                  <a:moveTo>
                    <a:pt x="0" y="28"/>
                  </a:moveTo>
                  <a:cubicBezTo>
                    <a:pt x="0" y="0"/>
                    <a:pt x="0" y="0"/>
                    <a:pt x="0" y="0"/>
                  </a:cubicBezTo>
                  <a:cubicBezTo>
                    <a:pt x="10" y="0"/>
                    <a:pt x="10" y="0"/>
                    <a:pt x="10" y="0"/>
                  </a:cubicBezTo>
                  <a:cubicBezTo>
                    <a:pt x="13" y="0"/>
                    <a:pt x="15" y="1"/>
                    <a:pt x="17" y="2"/>
                  </a:cubicBezTo>
                  <a:cubicBezTo>
                    <a:pt x="19" y="3"/>
                    <a:pt x="20" y="4"/>
                    <a:pt x="20" y="7"/>
                  </a:cubicBezTo>
                  <a:cubicBezTo>
                    <a:pt x="20" y="8"/>
                    <a:pt x="19" y="9"/>
                    <a:pt x="18" y="11"/>
                  </a:cubicBezTo>
                  <a:cubicBezTo>
                    <a:pt x="17" y="12"/>
                    <a:pt x="16" y="12"/>
                    <a:pt x="14" y="13"/>
                  </a:cubicBezTo>
                  <a:cubicBezTo>
                    <a:pt x="14" y="13"/>
                    <a:pt x="14" y="13"/>
                    <a:pt x="14" y="13"/>
                  </a:cubicBezTo>
                  <a:cubicBezTo>
                    <a:pt x="16" y="13"/>
                    <a:pt x="18" y="14"/>
                    <a:pt x="19" y="15"/>
                  </a:cubicBezTo>
                  <a:cubicBezTo>
                    <a:pt x="20" y="16"/>
                    <a:pt x="21" y="18"/>
                    <a:pt x="21" y="20"/>
                  </a:cubicBezTo>
                  <a:cubicBezTo>
                    <a:pt x="21" y="22"/>
                    <a:pt x="20" y="24"/>
                    <a:pt x="18" y="26"/>
                  </a:cubicBezTo>
                  <a:cubicBezTo>
                    <a:pt x="16" y="27"/>
                    <a:pt x="14" y="28"/>
                    <a:pt x="10" y="28"/>
                  </a:cubicBezTo>
                  <a:lnTo>
                    <a:pt x="0" y="28"/>
                  </a:lnTo>
                  <a:close/>
                  <a:moveTo>
                    <a:pt x="6" y="5"/>
                  </a:moveTo>
                  <a:cubicBezTo>
                    <a:pt x="6" y="11"/>
                    <a:pt x="6" y="11"/>
                    <a:pt x="6" y="11"/>
                  </a:cubicBezTo>
                  <a:cubicBezTo>
                    <a:pt x="9" y="11"/>
                    <a:pt x="9" y="11"/>
                    <a:pt x="9" y="11"/>
                  </a:cubicBezTo>
                  <a:cubicBezTo>
                    <a:pt x="10" y="11"/>
                    <a:pt x="11" y="11"/>
                    <a:pt x="12" y="10"/>
                  </a:cubicBezTo>
                  <a:cubicBezTo>
                    <a:pt x="13" y="10"/>
                    <a:pt x="13" y="9"/>
                    <a:pt x="13" y="8"/>
                  </a:cubicBezTo>
                  <a:cubicBezTo>
                    <a:pt x="13" y="6"/>
                    <a:pt x="11" y="5"/>
                    <a:pt x="8" y="5"/>
                  </a:cubicBezTo>
                  <a:lnTo>
                    <a:pt x="6" y="5"/>
                  </a:lnTo>
                  <a:close/>
                  <a:moveTo>
                    <a:pt x="6" y="16"/>
                  </a:moveTo>
                  <a:cubicBezTo>
                    <a:pt x="6" y="23"/>
                    <a:pt x="6" y="23"/>
                    <a:pt x="6" y="23"/>
                  </a:cubicBezTo>
                  <a:cubicBezTo>
                    <a:pt x="9" y="23"/>
                    <a:pt x="9" y="23"/>
                    <a:pt x="9" y="23"/>
                  </a:cubicBezTo>
                  <a:cubicBezTo>
                    <a:pt x="11" y="23"/>
                    <a:pt x="12" y="23"/>
                    <a:pt x="13" y="22"/>
                  </a:cubicBezTo>
                  <a:cubicBezTo>
                    <a:pt x="14" y="22"/>
                    <a:pt x="14" y="21"/>
                    <a:pt x="14" y="19"/>
                  </a:cubicBezTo>
                  <a:cubicBezTo>
                    <a:pt x="14" y="18"/>
                    <a:pt x="14" y="18"/>
                    <a:pt x="13" y="17"/>
                  </a:cubicBezTo>
                  <a:cubicBezTo>
                    <a:pt x="12" y="16"/>
                    <a:pt x="11" y="16"/>
                    <a:pt x="9" y="16"/>
                  </a:cubicBezTo>
                  <a:lnTo>
                    <a:pt x="6" y="16"/>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8" name="Rectangle 108"/>
            <p:cNvSpPr>
              <a:spLocks noChangeArrowheads="1"/>
            </p:cNvSpPr>
            <p:nvPr/>
          </p:nvSpPr>
          <p:spPr bwMode="auto">
            <a:xfrm>
              <a:off x="3019" y="1356"/>
              <a:ext cx="9" cy="3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89" name="Freeform 109"/>
            <p:cNvSpPr>
              <a:spLocks/>
            </p:cNvSpPr>
            <p:nvPr/>
          </p:nvSpPr>
          <p:spPr bwMode="auto">
            <a:xfrm>
              <a:off x="3037" y="1356"/>
              <a:ext cx="23" cy="39"/>
            </a:xfrm>
            <a:custGeom>
              <a:avLst/>
              <a:gdLst>
                <a:gd name="T0" fmla="*/ 23 w 23"/>
                <a:gd name="T1" fmla="*/ 39 h 39"/>
                <a:gd name="T2" fmla="*/ 0 w 23"/>
                <a:gd name="T3" fmla="*/ 39 h 39"/>
                <a:gd name="T4" fmla="*/ 0 w 23"/>
                <a:gd name="T5" fmla="*/ 0 h 39"/>
                <a:gd name="T6" fmla="*/ 9 w 23"/>
                <a:gd name="T7" fmla="*/ 0 h 39"/>
                <a:gd name="T8" fmla="*/ 9 w 23"/>
                <a:gd name="T9" fmla="*/ 32 h 39"/>
                <a:gd name="T10" fmla="*/ 23 w 23"/>
                <a:gd name="T11" fmla="*/ 32 h 39"/>
                <a:gd name="T12" fmla="*/ 23 w 23"/>
                <a:gd name="T13" fmla="*/ 39 h 39"/>
              </a:gdLst>
              <a:ahLst/>
              <a:cxnLst>
                <a:cxn ang="0">
                  <a:pos x="T0" y="T1"/>
                </a:cxn>
                <a:cxn ang="0">
                  <a:pos x="T2" y="T3"/>
                </a:cxn>
                <a:cxn ang="0">
                  <a:pos x="T4" y="T5"/>
                </a:cxn>
                <a:cxn ang="0">
                  <a:pos x="T6" y="T7"/>
                </a:cxn>
                <a:cxn ang="0">
                  <a:pos x="T8" y="T9"/>
                </a:cxn>
                <a:cxn ang="0">
                  <a:pos x="T10" y="T11"/>
                </a:cxn>
                <a:cxn ang="0">
                  <a:pos x="T12" y="T13"/>
                </a:cxn>
              </a:cxnLst>
              <a:rect l="0" t="0" r="r" b="b"/>
              <a:pathLst>
                <a:path w="23" h="39">
                  <a:moveTo>
                    <a:pt x="23" y="39"/>
                  </a:moveTo>
                  <a:lnTo>
                    <a:pt x="0" y="39"/>
                  </a:lnTo>
                  <a:lnTo>
                    <a:pt x="0" y="0"/>
                  </a:lnTo>
                  <a:lnTo>
                    <a:pt x="9" y="0"/>
                  </a:lnTo>
                  <a:lnTo>
                    <a:pt x="9" y="32"/>
                  </a:lnTo>
                  <a:lnTo>
                    <a:pt x="23" y="32"/>
                  </a:lnTo>
                  <a:lnTo>
                    <a:pt x="23" y="39"/>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0" name="Rectangle 110"/>
            <p:cNvSpPr>
              <a:spLocks noChangeArrowheads="1"/>
            </p:cNvSpPr>
            <p:nvPr/>
          </p:nvSpPr>
          <p:spPr bwMode="auto">
            <a:xfrm>
              <a:off x="3065" y="1356"/>
              <a:ext cx="9" cy="3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1" name="Freeform 111"/>
            <p:cNvSpPr>
              <a:spLocks/>
            </p:cNvSpPr>
            <p:nvPr/>
          </p:nvSpPr>
          <p:spPr bwMode="auto">
            <a:xfrm>
              <a:off x="3079" y="1356"/>
              <a:ext cx="31" cy="39"/>
            </a:xfrm>
            <a:custGeom>
              <a:avLst/>
              <a:gdLst>
                <a:gd name="T0" fmla="*/ 31 w 31"/>
                <a:gd name="T1" fmla="*/ 7 h 39"/>
                <a:gd name="T2" fmla="*/ 20 w 31"/>
                <a:gd name="T3" fmla="*/ 7 h 39"/>
                <a:gd name="T4" fmla="*/ 20 w 31"/>
                <a:gd name="T5" fmla="*/ 39 h 39"/>
                <a:gd name="T6" fmla="*/ 12 w 31"/>
                <a:gd name="T7" fmla="*/ 39 h 39"/>
                <a:gd name="T8" fmla="*/ 12 w 31"/>
                <a:gd name="T9" fmla="*/ 7 h 39"/>
                <a:gd name="T10" fmla="*/ 0 w 31"/>
                <a:gd name="T11" fmla="*/ 7 h 39"/>
                <a:gd name="T12" fmla="*/ 0 w 31"/>
                <a:gd name="T13" fmla="*/ 0 h 39"/>
                <a:gd name="T14" fmla="*/ 31 w 31"/>
                <a:gd name="T15" fmla="*/ 0 h 39"/>
                <a:gd name="T16" fmla="*/ 31 w 31"/>
                <a:gd name="T17" fmla="*/ 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9">
                  <a:moveTo>
                    <a:pt x="31" y="7"/>
                  </a:moveTo>
                  <a:lnTo>
                    <a:pt x="20" y="7"/>
                  </a:lnTo>
                  <a:lnTo>
                    <a:pt x="20" y="39"/>
                  </a:lnTo>
                  <a:lnTo>
                    <a:pt x="12" y="39"/>
                  </a:lnTo>
                  <a:lnTo>
                    <a:pt x="12" y="7"/>
                  </a:lnTo>
                  <a:lnTo>
                    <a:pt x="0" y="7"/>
                  </a:lnTo>
                  <a:lnTo>
                    <a:pt x="0" y="0"/>
                  </a:lnTo>
                  <a:lnTo>
                    <a:pt x="31" y="0"/>
                  </a:lnTo>
                  <a:lnTo>
                    <a:pt x="31" y="7"/>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2" name="Freeform 112"/>
            <p:cNvSpPr>
              <a:spLocks/>
            </p:cNvSpPr>
            <p:nvPr/>
          </p:nvSpPr>
          <p:spPr bwMode="auto">
            <a:xfrm>
              <a:off x="3113" y="1356"/>
              <a:ext cx="34" cy="39"/>
            </a:xfrm>
            <a:custGeom>
              <a:avLst/>
              <a:gdLst>
                <a:gd name="T0" fmla="*/ 24 w 24"/>
                <a:gd name="T1" fmla="*/ 0 h 28"/>
                <a:gd name="T2" fmla="*/ 15 w 24"/>
                <a:gd name="T3" fmla="*/ 18 h 28"/>
                <a:gd name="T4" fmla="*/ 15 w 24"/>
                <a:gd name="T5" fmla="*/ 28 h 28"/>
                <a:gd name="T6" fmla="*/ 9 w 24"/>
                <a:gd name="T7" fmla="*/ 28 h 28"/>
                <a:gd name="T8" fmla="*/ 9 w 24"/>
                <a:gd name="T9" fmla="*/ 18 h 28"/>
                <a:gd name="T10" fmla="*/ 0 w 24"/>
                <a:gd name="T11" fmla="*/ 0 h 28"/>
                <a:gd name="T12" fmla="*/ 7 w 24"/>
                <a:gd name="T13" fmla="*/ 0 h 28"/>
                <a:gd name="T14" fmla="*/ 11 w 24"/>
                <a:gd name="T15" fmla="*/ 10 h 28"/>
                <a:gd name="T16" fmla="*/ 12 w 24"/>
                <a:gd name="T17" fmla="*/ 13 h 28"/>
                <a:gd name="T18" fmla="*/ 12 w 24"/>
                <a:gd name="T19" fmla="*/ 13 h 28"/>
                <a:gd name="T20" fmla="*/ 13 w 24"/>
                <a:gd name="T21" fmla="*/ 11 h 28"/>
                <a:gd name="T22" fmla="*/ 17 w 24"/>
                <a:gd name="T23" fmla="*/ 0 h 28"/>
                <a:gd name="T24" fmla="*/ 24 w 24"/>
                <a:gd name="T2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 h="28">
                  <a:moveTo>
                    <a:pt x="24" y="0"/>
                  </a:moveTo>
                  <a:cubicBezTo>
                    <a:pt x="15" y="18"/>
                    <a:pt x="15" y="18"/>
                    <a:pt x="15" y="18"/>
                  </a:cubicBezTo>
                  <a:cubicBezTo>
                    <a:pt x="15" y="28"/>
                    <a:pt x="15" y="28"/>
                    <a:pt x="15" y="28"/>
                  </a:cubicBezTo>
                  <a:cubicBezTo>
                    <a:pt x="9" y="28"/>
                    <a:pt x="9" y="28"/>
                    <a:pt x="9" y="28"/>
                  </a:cubicBezTo>
                  <a:cubicBezTo>
                    <a:pt x="9" y="18"/>
                    <a:pt x="9" y="18"/>
                    <a:pt x="9" y="18"/>
                  </a:cubicBezTo>
                  <a:cubicBezTo>
                    <a:pt x="0" y="0"/>
                    <a:pt x="0" y="0"/>
                    <a:pt x="0" y="0"/>
                  </a:cubicBezTo>
                  <a:cubicBezTo>
                    <a:pt x="7" y="0"/>
                    <a:pt x="7" y="0"/>
                    <a:pt x="7" y="0"/>
                  </a:cubicBezTo>
                  <a:cubicBezTo>
                    <a:pt x="11" y="10"/>
                    <a:pt x="11" y="10"/>
                    <a:pt x="11" y="10"/>
                  </a:cubicBezTo>
                  <a:cubicBezTo>
                    <a:pt x="11" y="11"/>
                    <a:pt x="12" y="11"/>
                    <a:pt x="12" y="13"/>
                  </a:cubicBezTo>
                  <a:cubicBezTo>
                    <a:pt x="12" y="13"/>
                    <a:pt x="12" y="13"/>
                    <a:pt x="12" y="13"/>
                  </a:cubicBezTo>
                  <a:cubicBezTo>
                    <a:pt x="12" y="12"/>
                    <a:pt x="12" y="11"/>
                    <a:pt x="13" y="11"/>
                  </a:cubicBezTo>
                  <a:cubicBezTo>
                    <a:pt x="17" y="0"/>
                    <a:pt x="17" y="0"/>
                    <a:pt x="17" y="0"/>
                  </a:cubicBezTo>
                  <a:lnTo>
                    <a:pt x="24" y="0"/>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3" name="Freeform 118"/>
            <p:cNvSpPr>
              <a:spLocks/>
            </p:cNvSpPr>
            <p:nvPr/>
          </p:nvSpPr>
          <p:spPr bwMode="auto">
            <a:xfrm>
              <a:off x="2703" y="1244"/>
              <a:ext cx="544" cy="115"/>
            </a:xfrm>
            <a:custGeom>
              <a:avLst/>
              <a:gdLst>
                <a:gd name="T0" fmla="*/ 55 w 389"/>
                <a:gd name="T1" fmla="*/ 47 h 82"/>
                <a:gd name="T2" fmla="*/ 54 w 389"/>
                <a:gd name="T3" fmla="*/ 47 h 82"/>
                <a:gd name="T4" fmla="*/ 49 w 389"/>
                <a:gd name="T5" fmla="*/ 49 h 82"/>
                <a:gd name="T6" fmla="*/ 47 w 389"/>
                <a:gd name="T7" fmla="*/ 50 h 82"/>
                <a:gd name="T8" fmla="*/ 42 w 389"/>
                <a:gd name="T9" fmla="*/ 53 h 82"/>
                <a:gd name="T10" fmla="*/ 0 w 389"/>
                <a:gd name="T11" fmla="*/ 78 h 82"/>
                <a:gd name="T12" fmla="*/ 68 w 389"/>
                <a:gd name="T13" fmla="*/ 66 h 82"/>
                <a:gd name="T14" fmla="*/ 76 w 389"/>
                <a:gd name="T15" fmla="*/ 65 h 82"/>
                <a:gd name="T16" fmla="*/ 186 w 389"/>
                <a:gd name="T17" fmla="*/ 58 h 82"/>
                <a:gd name="T18" fmla="*/ 389 w 389"/>
                <a:gd name="T19" fmla="*/ 82 h 82"/>
                <a:gd name="T20" fmla="*/ 60 w 389"/>
                <a:gd name="T21" fmla="*/ 45 h 82"/>
                <a:gd name="T22" fmla="*/ 55 w 389"/>
                <a:gd name="T23" fmla="*/ 47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9" h="82">
                  <a:moveTo>
                    <a:pt x="55" y="47"/>
                  </a:moveTo>
                  <a:cubicBezTo>
                    <a:pt x="54" y="47"/>
                    <a:pt x="54" y="47"/>
                    <a:pt x="54" y="47"/>
                  </a:cubicBezTo>
                  <a:cubicBezTo>
                    <a:pt x="52" y="48"/>
                    <a:pt x="51" y="49"/>
                    <a:pt x="49" y="49"/>
                  </a:cubicBezTo>
                  <a:cubicBezTo>
                    <a:pt x="49" y="50"/>
                    <a:pt x="48" y="50"/>
                    <a:pt x="47" y="50"/>
                  </a:cubicBezTo>
                  <a:cubicBezTo>
                    <a:pt x="46" y="51"/>
                    <a:pt x="44" y="52"/>
                    <a:pt x="42" y="53"/>
                  </a:cubicBezTo>
                  <a:cubicBezTo>
                    <a:pt x="28" y="60"/>
                    <a:pt x="14" y="68"/>
                    <a:pt x="0" y="78"/>
                  </a:cubicBezTo>
                  <a:cubicBezTo>
                    <a:pt x="21" y="73"/>
                    <a:pt x="44" y="69"/>
                    <a:pt x="68" y="66"/>
                  </a:cubicBezTo>
                  <a:cubicBezTo>
                    <a:pt x="76" y="65"/>
                    <a:pt x="76" y="65"/>
                    <a:pt x="76" y="65"/>
                  </a:cubicBezTo>
                  <a:cubicBezTo>
                    <a:pt x="111" y="60"/>
                    <a:pt x="147" y="58"/>
                    <a:pt x="186" y="58"/>
                  </a:cubicBezTo>
                  <a:cubicBezTo>
                    <a:pt x="262" y="58"/>
                    <a:pt x="333" y="67"/>
                    <a:pt x="389" y="82"/>
                  </a:cubicBezTo>
                  <a:cubicBezTo>
                    <a:pt x="295" y="13"/>
                    <a:pt x="166" y="0"/>
                    <a:pt x="60" y="45"/>
                  </a:cubicBezTo>
                  <a:lnTo>
                    <a:pt x="55" y="47"/>
                  </a:lnTo>
                  <a:close/>
                </a:path>
              </a:pathLst>
            </a:custGeom>
            <a:solidFill>
              <a:srgbClr val="E6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4" name="Freeform 119"/>
            <p:cNvSpPr>
              <a:spLocks/>
            </p:cNvSpPr>
            <p:nvPr/>
          </p:nvSpPr>
          <p:spPr bwMode="auto">
            <a:xfrm>
              <a:off x="3044" y="1312"/>
              <a:ext cx="171" cy="258"/>
            </a:xfrm>
            <a:custGeom>
              <a:avLst/>
              <a:gdLst>
                <a:gd name="T0" fmla="*/ 13 w 122"/>
                <a:gd name="T1" fmla="*/ 177 h 184"/>
                <a:gd name="T2" fmla="*/ 122 w 122"/>
                <a:gd name="T3" fmla="*/ 3 h 184"/>
                <a:gd name="T4" fmla="*/ 116 w 122"/>
                <a:gd name="T5" fmla="*/ 0 h 184"/>
                <a:gd name="T6" fmla="*/ 94 w 122"/>
                <a:gd name="T7" fmla="*/ 31 h 184"/>
                <a:gd name="T8" fmla="*/ 0 w 122"/>
                <a:gd name="T9" fmla="*/ 180 h 184"/>
                <a:gd name="T10" fmla="*/ 9 w 122"/>
                <a:gd name="T11" fmla="*/ 184 h 184"/>
                <a:gd name="T12" fmla="*/ 13 w 122"/>
                <a:gd name="T13" fmla="*/ 177 h 184"/>
              </a:gdLst>
              <a:ahLst/>
              <a:cxnLst>
                <a:cxn ang="0">
                  <a:pos x="T0" y="T1"/>
                </a:cxn>
                <a:cxn ang="0">
                  <a:pos x="T2" y="T3"/>
                </a:cxn>
                <a:cxn ang="0">
                  <a:pos x="T4" y="T5"/>
                </a:cxn>
                <a:cxn ang="0">
                  <a:pos x="T6" y="T7"/>
                </a:cxn>
                <a:cxn ang="0">
                  <a:pos x="T8" y="T9"/>
                </a:cxn>
                <a:cxn ang="0">
                  <a:pos x="T10" y="T11"/>
                </a:cxn>
                <a:cxn ang="0">
                  <a:pos x="T12" y="T13"/>
                </a:cxn>
              </a:cxnLst>
              <a:rect l="0" t="0" r="r" b="b"/>
              <a:pathLst>
                <a:path w="122" h="184">
                  <a:moveTo>
                    <a:pt x="13" y="177"/>
                  </a:moveTo>
                  <a:cubicBezTo>
                    <a:pt x="122" y="3"/>
                    <a:pt x="122" y="3"/>
                    <a:pt x="122" y="3"/>
                  </a:cubicBezTo>
                  <a:cubicBezTo>
                    <a:pt x="120" y="2"/>
                    <a:pt x="118" y="1"/>
                    <a:pt x="116" y="0"/>
                  </a:cubicBezTo>
                  <a:cubicBezTo>
                    <a:pt x="94" y="31"/>
                    <a:pt x="94" y="31"/>
                    <a:pt x="94" y="31"/>
                  </a:cubicBezTo>
                  <a:cubicBezTo>
                    <a:pt x="0" y="180"/>
                    <a:pt x="0" y="180"/>
                    <a:pt x="0" y="180"/>
                  </a:cubicBezTo>
                  <a:cubicBezTo>
                    <a:pt x="3" y="181"/>
                    <a:pt x="6" y="182"/>
                    <a:pt x="9" y="184"/>
                  </a:cubicBezTo>
                  <a:lnTo>
                    <a:pt x="13" y="177"/>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95" name="Freeform 120"/>
            <p:cNvSpPr>
              <a:spLocks/>
            </p:cNvSpPr>
            <p:nvPr/>
          </p:nvSpPr>
          <p:spPr bwMode="auto">
            <a:xfrm>
              <a:off x="2909" y="1307"/>
              <a:ext cx="295" cy="413"/>
            </a:xfrm>
            <a:custGeom>
              <a:avLst/>
              <a:gdLst>
                <a:gd name="T0" fmla="*/ 211 w 211"/>
                <a:gd name="T1" fmla="*/ 3 h 295"/>
                <a:gd name="T2" fmla="*/ 205 w 211"/>
                <a:gd name="T3" fmla="*/ 0 h 295"/>
                <a:gd name="T4" fmla="*/ 74 w 211"/>
                <a:gd name="T5" fmla="*/ 178 h 295"/>
                <a:gd name="T6" fmla="*/ 42 w 211"/>
                <a:gd name="T7" fmla="*/ 221 h 295"/>
                <a:gd name="T8" fmla="*/ 38 w 211"/>
                <a:gd name="T9" fmla="*/ 220 h 295"/>
                <a:gd name="T10" fmla="*/ 0 w 211"/>
                <a:gd name="T11" fmla="*/ 258 h 295"/>
                <a:gd name="T12" fmla="*/ 38 w 211"/>
                <a:gd name="T13" fmla="*/ 295 h 295"/>
                <a:gd name="T14" fmla="*/ 75 w 211"/>
                <a:gd name="T15" fmla="*/ 258 h 295"/>
                <a:gd name="T16" fmla="*/ 66 w 211"/>
                <a:gd name="T17" fmla="*/ 233 h 295"/>
                <a:gd name="T18" fmla="*/ 97 w 211"/>
                <a:gd name="T19" fmla="*/ 184 h 295"/>
                <a:gd name="T20" fmla="*/ 211 w 211"/>
                <a:gd name="T21" fmla="*/ 3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1" h="295">
                  <a:moveTo>
                    <a:pt x="211" y="3"/>
                  </a:moveTo>
                  <a:cubicBezTo>
                    <a:pt x="209" y="2"/>
                    <a:pt x="207" y="1"/>
                    <a:pt x="205" y="0"/>
                  </a:cubicBezTo>
                  <a:cubicBezTo>
                    <a:pt x="74" y="178"/>
                    <a:pt x="74" y="178"/>
                    <a:pt x="74" y="178"/>
                  </a:cubicBezTo>
                  <a:cubicBezTo>
                    <a:pt x="42" y="221"/>
                    <a:pt x="42" y="221"/>
                    <a:pt x="42" y="221"/>
                  </a:cubicBezTo>
                  <a:cubicBezTo>
                    <a:pt x="41" y="220"/>
                    <a:pt x="39" y="220"/>
                    <a:pt x="38" y="220"/>
                  </a:cubicBezTo>
                  <a:cubicBezTo>
                    <a:pt x="17" y="220"/>
                    <a:pt x="0" y="237"/>
                    <a:pt x="0" y="258"/>
                  </a:cubicBezTo>
                  <a:cubicBezTo>
                    <a:pt x="0" y="278"/>
                    <a:pt x="17" y="295"/>
                    <a:pt x="38" y="295"/>
                  </a:cubicBezTo>
                  <a:cubicBezTo>
                    <a:pt x="58" y="295"/>
                    <a:pt x="75" y="278"/>
                    <a:pt x="75" y="258"/>
                  </a:cubicBezTo>
                  <a:cubicBezTo>
                    <a:pt x="75" y="248"/>
                    <a:pt x="72" y="240"/>
                    <a:pt x="66" y="233"/>
                  </a:cubicBezTo>
                  <a:cubicBezTo>
                    <a:pt x="97" y="184"/>
                    <a:pt x="97" y="184"/>
                    <a:pt x="97" y="184"/>
                  </a:cubicBezTo>
                  <a:lnTo>
                    <a:pt x="211" y="3"/>
                  </a:ln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spTree>
    <p:extLst>
      <p:ext uri="{BB962C8B-B14F-4D97-AF65-F5344CB8AC3E}">
        <p14:creationId xmlns:p14="http://schemas.microsoft.com/office/powerpoint/2010/main" val="12523243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Rectangle 54"/>
          <p:cNvSpPr/>
          <p:nvPr/>
        </p:nvSpPr>
        <p:spPr>
          <a:xfrm>
            <a:off x="1" y="1"/>
            <a:ext cx="12990994" cy="6858000"/>
          </a:xfrm>
          <a:prstGeom prst="rect">
            <a:avLst/>
          </a:prstGeom>
          <a:solidFill>
            <a:srgbClr val="45ACC8"/>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3" name="TextBox 2"/>
          <p:cNvSpPr txBox="1"/>
          <p:nvPr/>
        </p:nvSpPr>
        <p:spPr>
          <a:xfrm>
            <a:off x="247905" y="4330030"/>
            <a:ext cx="12696625" cy="1975926"/>
          </a:xfrm>
          <a:prstGeom prst="rect">
            <a:avLst/>
          </a:prstGeom>
          <a:noFill/>
        </p:spPr>
        <p:txBody>
          <a:bodyPr wrap="square" rtlCol="0">
            <a:spAutoFit/>
          </a:bodyPr>
          <a:lstStyle/>
          <a:p>
            <a:pPr>
              <a:lnSpc>
                <a:spcPct val="85000"/>
              </a:lnSpc>
            </a:pPr>
            <a:r>
              <a:rPr lang="en-US" sz="7200" spc="-100" dirty="0" smtClean="0">
                <a:solidFill>
                  <a:schemeClr val="bg1"/>
                </a:solidFill>
                <a:latin typeface="Segoe UI Bold" panose="020B0802040204020203" pitchFamily="34" charset="0"/>
                <a:ea typeface="Segoe UI Bold" panose="020B0802040204020203" pitchFamily="34" charset="0"/>
                <a:cs typeface="Segoe UI Bold" panose="020B0802040204020203" pitchFamily="34" charset="0"/>
              </a:rPr>
              <a:t>Built-in sharing</a:t>
            </a:r>
          </a:p>
          <a:p>
            <a:pPr>
              <a:lnSpc>
                <a:spcPct val="85000"/>
              </a:lnSpc>
            </a:pPr>
            <a:r>
              <a:rPr lang="en-US" sz="7200" spc="-100" dirty="0" smtClean="0">
                <a:solidFill>
                  <a:schemeClr val="bg1"/>
                </a:solidFill>
                <a:latin typeface="Segoe UI Bold" panose="020B0802040204020203" pitchFamily="34" charset="0"/>
                <a:ea typeface="Segoe UI Bold" panose="020B0802040204020203" pitchFamily="34" charset="0"/>
                <a:cs typeface="Segoe UI Bold" panose="020B0802040204020203" pitchFamily="34" charset="0"/>
              </a:rPr>
              <a:t>&amp; storage</a:t>
            </a:r>
          </a:p>
        </p:txBody>
      </p:sp>
      <p:grpSp>
        <p:nvGrpSpPr>
          <p:cNvPr id="56" name="Group 4"/>
          <p:cNvGrpSpPr>
            <a:grpSpLocks noChangeAspect="1"/>
          </p:cNvGrpSpPr>
          <p:nvPr/>
        </p:nvGrpSpPr>
        <p:grpSpPr bwMode="auto">
          <a:xfrm>
            <a:off x="6610070" y="4716237"/>
            <a:ext cx="6392516" cy="2141763"/>
            <a:chOff x="3751" y="2917"/>
            <a:chExt cx="4486" cy="1503"/>
          </a:xfrm>
        </p:grpSpPr>
        <p:sp>
          <p:nvSpPr>
            <p:cNvPr id="57" name="AutoShape 3"/>
            <p:cNvSpPr>
              <a:spLocks noChangeAspect="1" noChangeArrowheads="1" noTextEdit="1"/>
            </p:cNvSpPr>
            <p:nvPr/>
          </p:nvSpPr>
          <p:spPr bwMode="auto">
            <a:xfrm>
              <a:off x="3751" y="2917"/>
              <a:ext cx="4486" cy="15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8" name="Freeform 5"/>
            <p:cNvSpPr>
              <a:spLocks/>
            </p:cNvSpPr>
            <p:nvPr/>
          </p:nvSpPr>
          <p:spPr bwMode="auto">
            <a:xfrm>
              <a:off x="6119" y="3534"/>
              <a:ext cx="199" cy="340"/>
            </a:xfrm>
            <a:custGeom>
              <a:avLst/>
              <a:gdLst>
                <a:gd name="T0" fmla="*/ 84 w 84"/>
                <a:gd name="T1" fmla="*/ 138 h 143"/>
                <a:gd name="T2" fmla="*/ 78 w 84"/>
                <a:gd name="T3" fmla="*/ 143 h 143"/>
                <a:gd name="T4" fmla="*/ 6 w 84"/>
                <a:gd name="T5" fmla="*/ 143 h 143"/>
                <a:gd name="T6" fmla="*/ 0 w 84"/>
                <a:gd name="T7" fmla="*/ 138 h 143"/>
                <a:gd name="T8" fmla="*/ 0 w 84"/>
                <a:gd name="T9" fmla="*/ 5 h 143"/>
                <a:gd name="T10" fmla="*/ 6 w 84"/>
                <a:gd name="T11" fmla="*/ 0 h 143"/>
                <a:gd name="T12" fmla="*/ 78 w 84"/>
                <a:gd name="T13" fmla="*/ 0 h 143"/>
                <a:gd name="T14" fmla="*/ 84 w 84"/>
                <a:gd name="T15" fmla="*/ 5 h 143"/>
                <a:gd name="T16" fmla="*/ 84 w 84"/>
                <a:gd name="T17" fmla="*/ 138 h 143"/>
                <a:gd name="T18" fmla="*/ 84 w 84"/>
                <a:gd name="T19" fmla="*/ 138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143">
                  <a:moveTo>
                    <a:pt x="84" y="138"/>
                  </a:moveTo>
                  <a:cubicBezTo>
                    <a:pt x="84" y="141"/>
                    <a:pt x="82" y="143"/>
                    <a:pt x="78" y="143"/>
                  </a:cubicBezTo>
                  <a:cubicBezTo>
                    <a:pt x="6" y="143"/>
                    <a:pt x="6" y="143"/>
                    <a:pt x="6" y="143"/>
                  </a:cubicBezTo>
                  <a:cubicBezTo>
                    <a:pt x="3" y="143"/>
                    <a:pt x="0" y="141"/>
                    <a:pt x="0" y="138"/>
                  </a:cubicBezTo>
                  <a:cubicBezTo>
                    <a:pt x="0" y="5"/>
                    <a:pt x="0" y="5"/>
                    <a:pt x="0" y="5"/>
                  </a:cubicBezTo>
                  <a:cubicBezTo>
                    <a:pt x="0" y="2"/>
                    <a:pt x="3" y="0"/>
                    <a:pt x="6" y="0"/>
                  </a:cubicBezTo>
                  <a:cubicBezTo>
                    <a:pt x="78" y="0"/>
                    <a:pt x="78" y="0"/>
                    <a:pt x="78" y="0"/>
                  </a:cubicBezTo>
                  <a:cubicBezTo>
                    <a:pt x="82" y="0"/>
                    <a:pt x="84" y="2"/>
                    <a:pt x="84" y="5"/>
                  </a:cubicBezTo>
                  <a:cubicBezTo>
                    <a:pt x="84" y="138"/>
                    <a:pt x="84" y="138"/>
                    <a:pt x="84" y="138"/>
                  </a:cubicBezTo>
                  <a:cubicBezTo>
                    <a:pt x="84" y="138"/>
                    <a:pt x="84" y="138"/>
                    <a:pt x="84" y="138"/>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9" name="Freeform 6"/>
            <p:cNvSpPr>
              <a:spLocks/>
            </p:cNvSpPr>
            <p:nvPr/>
          </p:nvSpPr>
          <p:spPr bwMode="auto">
            <a:xfrm>
              <a:off x="6138" y="3553"/>
              <a:ext cx="161" cy="269"/>
            </a:xfrm>
            <a:custGeom>
              <a:avLst/>
              <a:gdLst>
                <a:gd name="T0" fmla="*/ 0 w 161"/>
                <a:gd name="T1" fmla="*/ 0 h 269"/>
                <a:gd name="T2" fmla="*/ 161 w 161"/>
                <a:gd name="T3" fmla="*/ 0 h 269"/>
                <a:gd name="T4" fmla="*/ 161 w 161"/>
                <a:gd name="T5" fmla="*/ 269 h 269"/>
                <a:gd name="T6" fmla="*/ 0 w 161"/>
                <a:gd name="T7" fmla="*/ 269 h 269"/>
                <a:gd name="T8" fmla="*/ 0 w 161"/>
                <a:gd name="T9" fmla="*/ 0 h 269"/>
                <a:gd name="T10" fmla="*/ 0 w 161"/>
                <a:gd name="T11" fmla="*/ 0 h 269"/>
              </a:gdLst>
              <a:ahLst/>
              <a:cxnLst>
                <a:cxn ang="0">
                  <a:pos x="T0" y="T1"/>
                </a:cxn>
                <a:cxn ang="0">
                  <a:pos x="T2" y="T3"/>
                </a:cxn>
                <a:cxn ang="0">
                  <a:pos x="T4" y="T5"/>
                </a:cxn>
                <a:cxn ang="0">
                  <a:pos x="T6" y="T7"/>
                </a:cxn>
                <a:cxn ang="0">
                  <a:pos x="T8" y="T9"/>
                </a:cxn>
                <a:cxn ang="0">
                  <a:pos x="T10" y="T11"/>
                </a:cxn>
              </a:cxnLst>
              <a:rect l="0" t="0" r="r" b="b"/>
              <a:pathLst>
                <a:path w="161" h="269">
                  <a:moveTo>
                    <a:pt x="0" y="0"/>
                  </a:moveTo>
                  <a:lnTo>
                    <a:pt x="161" y="0"/>
                  </a:lnTo>
                  <a:lnTo>
                    <a:pt x="161" y="269"/>
                  </a:lnTo>
                  <a:lnTo>
                    <a:pt x="0" y="269"/>
                  </a:lnTo>
                  <a:lnTo>
                    <a:pt x="0" y="0"/>
                  </a:lnTo>
                  <a:lnTo>
                    <a:pt x="0" y="0"/>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0" name="Freeform 7"/>
            <p:cNvSpPr>
              <a:spLocks/>
            </p:cNvSpPr>
            <p:nvPr/>
          </p:nvSpPr>
          <p:spPr bwMode="auto">
            <a:xfrm>
              <a:off x="6044" y="3406"/>
              <a:ext cx="210" cy="361"/>
            </a:xfrm>
            <a:custGeom>
              <a:avLst/>
              <a:gdLst>
                <a:gd name="T0" fmla="*/ 89 w 89"/>
                <a:gd name="T1" fmla="*/ 147 h 152"/>
                <a:gd name="T2" fmla="*/ 83 w 89"/>
                <a:gd name="T3" fmla="*/ 152 h 152"/>
                <a:gd name="T4" fmla="*/ 6 w 89"/>
                <a:gd name="T5" fmla="*/ 152 h 152"/>
                <a:gd name="T6" fmla="*/ 0 w 89"/>
                <a:gd name="T7" fmla="*/ 147 h 152"/>
                <a:gd name="T8" fmla="*/ 0 w 89"/>
                <a:gd name="T9" fmla="*/ 6 h 152"/>
                <a:gd name="T10" fmla="*/ 6 w 89"/>
                <a:gd name="T11" fmla="*/ 0 h 152"/>
                <a:gd name="T12" fmla="*/ 83 w 89"/>
                <a:gd name="T13" fmla="*/ 0 h 152"/>
                <a:gd name="T14" fmla="*/ 89 w 89"/>
                <a:gd name="T15" fmla="*/ 6 h 152"/>
                <a:gd name="T16" fmla="*/ 89 w 89"/>
                <a:gd name="T17" fmla="*/ 147 h 152"/>
                <a:gd name="T18" fmla="*/ 89 w 89"/>
                <a:gd name="T19" fmla="*/ 14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152">
                  <a:moveTo>
                    <a:pt x="89" y="147"/>
                  </a:moveTo>
                  <a:cubicBezTo>
                    <a:pt x="89" y="150"/>
                    <a:pt x="86" y="152"/>
                    <a:pt x="83" y="152"/>
                  </a:cubicBezTo>
                  <a:cubicBezTo>
                    <a:pt x="6" y="152"/>
                    <a:pt x="6" y="152"/>
                    <a:pt x="6" y="152"/>
                  </a:cubicBezTo>
                  <a:cubicBezTo>
                    <a:pt x="2" y="152"/>
                    <a:pt x="0" y="150"/>
                    <a:pt x="0" y="147"/>
                  </a:cubicBezTo>
                  <a:cubicBezTo>
                    <a:pt x="0" y="6"/>
                    <a:pt x="0" y="6"/>
                    <a:pt x="0" y="6"/>
                  </a:cubicBezTo>
                  <a:cubicBezTo>
                    <a:pt x="0" y="2"/>
                    <a:pt x="2" y="0"/>
                    <a:pt x="6" y="0"/>
                  </a:cubicBezTo>
                  <a:cubicBezTo>
                    <a:pt x="83" y="0"/>
                    <a:pt x="83" y="0"/>
                    <a:pt x="83" y="0"/>
                  </a:cubicBezTo>
                  <a:cubicBezTo>
                    <a:pt x="86" y="0"/>
                    <a:pt x="89" y="2"/>
                    <a:pt x="89" y="6"/>
                  </a:cubicBezTo>
                  <a:cubicBezTo>
                    <a:pt x="89" y="147"/>
                    <a:pt x="89" y="147"/>
                    <a:pt x="89" y="147"/>
                  </a:cubicBezTo>
                  <a:cubicBezTo>
                    <a:pt x="89" y="147"/>
                    <a:pt x="89" y="147"/>
                    <a:pt x="89" y="14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1" name="Freeform 8"/>
            <p:cNvSpPr>
              <a:spLocks/>
            </p:cNvSpPr>
            <p:nvPr/>
          </p:nvSpPr>
          <p:spPr bwMode="auto">
            <a:xfrm>
              <a:off x="6063" y="3427"/>
              <a:ext cx="170" cy="285"/>
            </a:xfrm>
            <a:custGeom>
              <a:avLst/>
              <a:gdLst>
                <a:gd name="T0" fmla="*/ 0 w 170"/>
                <a:gd name="T1" fmla="*/ 0 h 285"/>
                <a:gd name="T2" fmla="*/ 170 w 170"/>
                <a:gd name="T3" fmla="*/ 0 h 285"/>
                <a:gd name="T4" fmla="*/ 170 w 170"/>
                <a:gd name="T5" fmla="*/ 285 h 285"/>
                <a:gd name="T6" fmla="*/ 0 w 170"/>
                <a:gd name="T7" fmla="*/ 285 h 285"/>
                <a:gd name="T8" fmla="*/ 0 w 170"/>
                <a:gd name="T9" fmla="*/ 0 h 285"/>
                <a:gd name="T10" fmla="*/ 0 w 170"/>
                <a:gd name="T11" fmla="*/ 0 h 285"/>
              </a:gdLst>
              <a:ahLst/>
              <a:cxnLst>
                <a:cxn ang="0">
                  <a:pos x="T0" y="T1"/>
                </a:cxn>
                <a:cxn ang="0">
                  <a:pos x="T2" y="T3"/>
                </a:cxn>
                <a:cxn ang="0">
                  <a:pos x="T4" y="T5"/>
                </a:cxn>
                <a:cxn ang="0">
                  <a:pos x="T6" y="T7"/>
                </a:cxn>
                <a:cxn ang="0">
                  <a:pos x="T8" y="T9"/>
                </a:cxn>
                <a:cxn ang="0">
                  <a:pos x="T10" y="T11"/>
                </a:cxn>
              </a:cxnLst>
              <a:rect l="0" t="0" r="r" b="b"/>
              <a:pathLst>
                <a:path w="170" h="285">
                  <a:moveTo>
                    <a:pt x="0" y="0"/>
                  </a:moveTo>
                  <a:lnTo>
                    <a:pt x="170" y="0"/>
                  </a:lnTo>
                  <a:lnTo>
                    <a:pt x="170" y="285"/>
                  </a:lnTo>
                  <a:lnTo>
                    <a:pt x="0" y="28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2" name="Rectangle 9"/>
            <p:cNvSpPr>
              <a:spLocks noChangeArrowheads="1"/>
            </p:cNvSpPr>
            <p:nvPr/>
          </p:nvSpPr>
          <p:spPr bwMode="auto">
            <a:xfrm>
              <a:off x="6633" y="3311"/>
              <a:ext cx="409" cy="92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3" name="Rectangle 10"/>
            <p:cNvSpPr>
              <a:spLocks noChangeArrowheads="1"/>
            </p:cNvSpPr>
            <p:nvPr/>
          </p:nvSpPr>
          <p:spPr bwMode="auto">
            <a:xfrm>
              <a:off x="6742" y="3076"/>
              <a:ext cx="224" cy="80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4" name="Rectangle 11"/>
            <p:cNvSpPr>
              <a:spLocks noChangeArrowheads="1"/>
            </p:cNvSpPr>
            <p:nvPr/>
          </p:nvSpPr>
          <p:spPr bwMode="auto">
            <a:xfrm>
              <a:off x="6510" y="3582"/>
              <a:ext cx="163" cy="65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5" name="Rectangle 64"/>
            <p:cNvSpPr>
              <a:spLocks noChangeArrowheads="1"/>
            </p:cNvSpPr>
            <p:nvPr/>
          </p:nvSpPr>
          <p:spPr bwMode="auto">
            <a:xfrm>
              <a:off x="7851" y="3190"/>
              <a:ext cx="163" cy="50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6" name="Rectangle 65"/>
            <p:cNvSpPr>
              <a:spLocks noChangeArrowheads="1"/>
            </p:cNvSpPr>
            <p:nvPr/>
          </p:nvSpPr>
          <p:spPr bwMode="auto">
            <a:xfrm>
              <a:off x="7499" y="3606"/>
              <a:ext cx="433" cy="63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7" name="Rectangle 66"/>
            <p:cNvSpPr>
              <a:spLocks noChangeArrowheads="1"/>
            </p:cNvSpPr>
            <p:nvPr/>
          </p:nvSpPr>
          <p:spPr bwMode="auto">
            <a:xfrm>
              <a:off x="7856" y="3912"/>
              <a:ext cx="315" cy="47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8" name="Rectangle 67"/>
            <p:cNvSpPr>
              <a:spLocks noChangeArrowheads="1"/>
            </p:cNvSpPr>
            <p:nvPr/>
          </p:nvSpPr>
          <p:spPr bwMode="auto">
            <a:xfrm>
              <a:off x="7745" y="3311"/>
              <a:ext cx="314" cy="103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9" name="Freeform 68"/>
            <p:cNvSpPr>
              <a:spLocks/>
            </p:cNvSpPr>
            <p:nvPr/>
          </p:nvSpPr>
          <p:spPr bwMode="auto">
            <a:xfrm>
              <a:off x="4506" y="3147"/>
              <a:ext cx="260" cy="777"/>
            </a:xfrm>
            <a:custGeom>
              <a:avLst/>
              <a:gdLst>
                <a:gd name="T0" fmla="*/ 144 w 260"/>
                <a:gd name="T1" fmla="*/ 0 h 777"/>
                <a:gd name="T2" fmla="*/ 0 w 260"/>
                <a:gd name="T3" fmla="*/ 777 h 777"/>
                <a:gd name="T4" fmla="*/ 260 w 260"/>
                <a:gd name="T5" fmla="*/ 777 h 777"/>
                <a:gd name="T6" fmla="*/ 144 w 260"/>
                <a:gd name="T7" fmla="*/ 0 h 777"/>
              </a:gdLst>
              <a:ahLst/>
              <a:cxnLst>
                <a:cxn ang="0">
                  <a:pos x="T0" y="T1"/>
                </a:cxn>
                <a:cxn ang="0">
                  <a:pos x="T2" y="T3"/>
                </a:cxn>
                <a:cxn ang="0">
                  <a:pos x="T4" y="T5"/>
                </a:cxn>
                <a:cxn ang="0">
                  <a:pos x="T6" y="T7"/>
                </a:cxn>
              </a:cxnLst>
              <a:rect l="0" t="0" r="r" b="b"/>
              <a:pathLst>
                <a:path w="260" h="777">
                  <a:moveTo>
                    <a:pt x="144" y="0"/>
                  </a:moveTo>
                  <a:lnTo>
                    <a:pt x="0" y="777"/>
                  </a:lnTo>
                  <a:lnTo>
                    <a:pt x="260" y="777"/>
                  </a:lnTo>
                  <a:lnTo>
                    <a:pt x="144"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0" name="Freeform 17"/>
            <p:cNvSpPr>
              <a:spLocks/>
            </p:cNvSpPr>
            <p:nvPr/>
          </p:nvSpPr>
          <p:spPr bwMode="auto">
            <a:xfrm>
              <a:off x="4721" y="3328"/>
              <a:ext cx="201" cy="596"/>
            </a:xfrm>
            <a:custGeom>
              <a:avLst/>
              <a:gdLst>
                <a:gd name="T0" fmla="*/ 111 w 201"/>
                <a:gd name="T1" fmla="*/ 0 h 596"/>
                <a:gd name="T2" fmla="*/ 0 w 201"/>
                <a:gd name="T3" fmla="*/ 596 h 596"/>
                <a:gd name="T4" fmla="*/ 201 w 201"/>
                <a:gd name="T5" fmla="*/ 596 h 596"/>
                <a:gd name="T6" fmla="*/ 111 w 201"/>
                <a:gd name="T7" fmla="*/ 0 h 596"/>
              </a:gdLst>
              <a:ahLst/>
              <a:cxnLst>
                <a:cxn ang="0">
                  <a:pos x="T0" y="T1"/>
                </a:cxn>
                <a:cxn ang="0">
                  <a:pos x="T2" y="T3"/>
                </a:cxn>
                <a:cxn ang="0">
                  <a:pos x="T4" y="T5"/>
                </a:cxn>
                <a:cxn ang="0">
                  <a:pos x="T6" y="T7"/>
                </a:cxn>
              </a:cxnLst>
              <a:rect l="0" t="0" r="r" b="b"/>
              <a:pathLst>
                <a:path w="201" h="596">
                  <a:moveTo>
                    <a:pt x="111" y="0"/>
                  </a:moveTo>
                  <a:lnTo>
                    <a:pt x="0" y="596"/>
                  </a:lnTo>
                  <a:lnTo>
                    <a:pt x="201" y="596"/>
                  </a:lnTo>
                  <a:lnTo>
                    <a:pt x="111"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1" name="Freeform 18"/>
            <p:cNvSpPr>
              <a:spLocks/>
            </p:cNvSpPr>
            <p:nvPr/>
          </p:nvSpPr>
          <p:spPr bwMode="auto">
            <a:xfrm>
              <a:off x="5781" y="3907"/>
              <a:ext cx="2454" cy="511"/>
            </a:xfrm>
            <a:custGeom>
              <a:avLst/>
              <a:gdLst>
                <a:gd name="T0" fmla="*/ 641 w 1037"/>
                <a:gd name="T1" fmla="*/ 10 h 215"/>
                <a:gd name="T2" fmla="*/ 629 w 1037"/>
                <a:gd name="T3" fmla="*/ 8 h 215"/>
                <a:gd name="T4" fmla="*/ 601 w 1037"/>
                <a:gd name="T5" fmla="*/ 5 h 215"/>
                <a:gd name="T6" fmla="*/ 544 w 1037"/>
                <a:gd name="T7" fmla="*/ 1 h 215"/>
                <a:gd name="T8" fmla="*/ 512 w 1037"/>
                <a:gd name="T9" fmla="*/ 0 h 215"/>
                <a:gd name="T10" fmla="*/ 0 w 1037"/>
                <a:gd name="T11" fmla="*/ 215 h 215"/>
                <a:gd name="T12" fmla="*/ 367 w 1037"/>
                <a:gd name="T13" fmla="*/ 215 h 215"/>
                <a:gd name="T14" fmla="*/ 1037 w 1037"/>
                <a:gd name="T15" fmla="*/ 215 h 215"/>
                <a:gd name="T16" fmla="*/ 641 w 1037"/>
                <a:gd name="T17" fmla="*/ 1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7" h="215">
                  <a:moveTo>
                    <a:pt x="641" y="10"/>
                  </a:moveTo>
                  <a:cubicBezTo>
                    <a:pt x="637" y="10"/>
                    <a:pt x="633" y="9"/>
                    <a:pt x="629" y="8"/>
                  </a:cubicBezTo>
                  <a:cubicBezTo>
                    <a:pt x="620" y="7"/>
                    <a:pt x="611" y="6"/>
                    <a:pt x="601" y="5"/>
                  </a:cubicBezTo>
                  <a:cubicBezTo>
                    <a:pt x="582" y="2"/>
                    <a:pt x="563" y="1"/>
                    <a:pt x="544" y="1"/>
                  </a:cubicBezTo>
                  <a:cubicBezTo>
                    <a:pt x="533" y="0"/>
                    <a:pt x="523" y="0"/>
                    <a:pt x="512" y="0"/>
                  </a:cubicBezTo>
                  <a:cubicBezTo>
                    <a:pt x="327" y="2"/>
                    <a:pt x="142" y="73"/>
                    <a:pt x="0" y="215"/>
                  </a:cubicBezTo>
                  <a:cubicBezTo>
                    <a:pt x="367" y="215"/>
                    <a:pt x="367" y="215"/>
                    <a:pt x="367" y="215"/>
                  </a:cubicBezTo>
                  <a:cubicBezTo>
                    <a:pt x="1037" y="215"/>
                    <a:pt x="1037" y="215"/>
                    <a:pt x="1037" y="215"/>
                  </a:cubicBezTo>
                  <a:cubicBezTo>
                    <a:pt x="925" y="103"/>
                    <a:pt x="786" y="35"/>
                    <a:pt x="641" y="1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2" name="Freeform 19"/>
            <p:cNvSpPr>
              <a:spLocks/>
            </p:cNvSpPr>
            <p:nvPr/>
          </p:nvSpPr>
          <p:spPr bwMode="auto">
            <a:xfrm>
              <a:off x="3749" y="3632"/>
              <a:ext cx="3773" cy="786"/>
            </a:xfrm>
            <a:custGeom>
              <a:avLst/>
              <a:gdLst>
                <a:gd name="T0" fmla="*/ 985 w 1595"/>
                <a:gd name="T1" fmla="*/ 16 h 331"/>
                <a:gd name="T2" fmla="*/ 968 w 1595"/>
                <a:gd name="T3" fmla="*/ 13 h 331"/>
                <a:gd name="T4" fmla="*/ 925 w 1595"/>
                <a:gd name="T5" fmla="*/ 7 h 331"/>
                <a:gd name="T6" fmla="*/ 836 w 1595"/>
                <a:gd name="T7" fmla="*/ 1 h 331"/>
                <a:gd name="T8" fmla="*/ 788 w 1595"/>
                <a:gd name="T9" fmla="*/ 0 h 331"/>
                <a:gd name="T10" fmla="*/ 0 w 1595"/>
                <a:gd name="T11" fmla="*/ 331 h 331"/>
                <a:gd name="T12" fmla="*/ 564 w 1595"/>
                <a:gd name="T13" fmla="*/ 331 h 331"/>
                <a:gd name="T14" fmla="*/ 1595 w 1595"/>
                <a:gd name="T15" fmla="*/ 331 h 331"/>
                <a:gd name="T16" fmla="*/ 985 w 1595"/>
                <a:gd name="T17" fmla="*/ 16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5" h="331">
                  <a:moveTo>
                    <a:pt x="985" y="16"/>
                  </a:moveTo>
                  <a:cubicBezTo>
                    <a:pt x="980" y="15"/>
                    <a:pt x="974" y="14"/>
                    <a:pt x="968" y="13"/>
                  </a:cubicBezTo>
                  <a:cubicBezTo>
                    <a:pt x="954" y="11"/>
                    <a:pt x="939" y="9"/>
                    <a:pt x="925" y="7"/>
                  </a:cubicBezTo>
                  <a:cubicBezTo>
                    <a:pt x="895" y="4"/>
                    <a:pt x="866" y="2"/>
                    <a:pt x="836" y="1"/>
                  </a:cubicBezTo>
                  <a:cubicBezTo>
                    <a:pt x="820" y="0"/>
                    <a:pt x="804" y="0"/>
                    <a:pt x="788" y="0"/>
                  </a:cubicBezTo>
                  <a:cubicBezTo>
                    <a:pt x="502" y="3"/>
                    <a:pt x="218" y="113"/>
                    <a:pt x="0" y="331"/>
                  </a:cubicBezTo>
                  <a:cubicBezTo>
                    <a:pt x="564" y="331"/>
                    <a:pt x="564" y="331"/>
                    <a:pt x="564" y="331"/>
                  </a:cubicBezTo>
                  <a:cubicBezTo>
                    <a:pt x="1595" y="331"/>
                    <a:pt x="1595" y="331"/>
                    <a:pt x="1595" y="331"/>
                  </a:cubicBezTo>
                  <a:cubicBezTo>
                    <a:pt x="1422" y="159"/>
                    <a:pt x="1208" y="54"/>
                    <a:pt x="985" y="1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3" name="Freeform 20"/>
            <p:cNvSpPr>
              <a:spLocks/>
            </p:cNvSpPr>
            <p:nvPr/>
          </p:nvSpPr>
          <p:spPr bwMode="auto">
            <a:xfrm>
              <a:off x="4463" y="3634"/>
              <a:ext cx="1346" cy="784"/>
            </a:xfrm>
            <a:custGeom>
              <a:avLst/>
              <a:gdLst>
                <a:gd name="T0" fmla="*/ 569 w 569"/>
                <a:gd name="T1" fmla="*/ 1 h 330"/>
                <a:gd name="T2" fmla="*/ 559 w 569"/>
                <a:gd name="T3" fmla="*/ 0 h 330"/>
                <a:gd name="T4" fmla="*/ 0 w 569"/>
                <a:gd name="T5" fmla="*/ 330 h 330"/>
                <a:gd name="T6" fmla="*/ 106 w 569"/>
                <a:gd name="T7" fmla="*/ 330 h 330"/>
                <a:gd name="T8" fmla="*/ 569 w 569"/>
                <a:gd name="T9" fmla="*/ 1 h 330"/>
              </a:gdLst>
              <a:ahLst/>
              <a:cxnLst>
                <a:cxn ang="0">
                  <a:pos x="T0" y="T1"/>
                </a:cxn>
                <a:cxn ang="0">
                  <a:pos x="T2" y="T3"/>
                </a:cxn>
                <a:cxn ang="0">
                  <a:pos x="T4" y="T5"/>
                </a:cxn>
                <a:cxn ang="0">
                  <a:pos x="T6" y="T7"/>
                </a:cxn>
                <a:cxn ang="0">
                  <a:pos x="T8" y="T9"/>
                </a:cxn>
              </a:cxnLst>
              <a:rect l="0" t="0" r="r" b="b"/>
              <a:pathLst>
                <a:path w="569" h="330">
                  <a:moveTo>
                    <a:pt x="569" y="1"/>
                  </a:moveTo>
                  <a:cubicBezTo>
                    <a:pt x="565" y="1"/>
                    <a:pt x="562" y="0"/>
                    <a:pt x="559" y="0"/>
                  </a:cubicBezTo>
                  <a:cubicBezTo>
                    <a:pt x="221" y="64"/>
                    <a:pt x="0" y="330"/>
                    <a:pt x="0" y="330"/>
                  </a:cubicBezTo>
                  <a:cubicBezTo>
                    <a:pt x="106" y="330"/>
                    <a:pt x="106" y="330"/>
                    <a:pt x="106" y="330"/>
                  </a:cubicBezTo>
                  <a:cubicBezTo>
                    <a:pt x="106" y="330"/>
                    <a:pt x="315" y="75"/>
                    <a:pt x="569" y="1"/>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4" name="Freeform 21"/>
            <p:cNvSpPr>
              <a:spLocks/>
            </p:cNvSpPr>
            <p:nvPr/>
          </p:nvSpPr>
          <p:spPr bwMode="auto">
            <a:xfrm>
              <a:off x="5942" y="3722"/>
              <a:ext cx="442" cy="696"/>
            </a:xfrm>
            <a:custGeom>
              <a:avLst/>
              <a:gdLst>
                <a:gd name="T0" fmla="*/ 187 w 187"/>
                <a:gd name="T1" fmla="*/ 6 h 293"/>
                <a:gd name="T2" fmla="*/ 167 w 187"/>
                <a:gd name="T3" fmla="*/ 0 h 293"/>
                <a:gd name="T4" fmla="*/ 24 w 187"/>
                <a:gd name="T5" fmla="*/ 293 h 293"/>
                <a:gd name="T6" fmla="*/ 67 w 187"/>
                <a:gd name="T7" fmla="*/ 293 h 293"/>
                <a:gd name="T8" fmla="*/ 187 w 187"/>
                <a:gd name="T9" fmla="*/ 6 h 293"/>
              </a:gdLst>
              <a:ahLst/>
              <a:cxnLst>
                <a:cxn ang="0">
                  <a:pos x="T0" y="T1"/>
                </a:cxn>
                <a:cxn ang="0">
                  <a:pos x="T2" y="T3"/>
                </a:cxn>
                <a:cxn ang="0">
                  <a:pos x="T4" y="T5"/>
                </a:cxn>
                <a:cxn ang="0">
                  <a:pos x="T6" y="T7"/>
                </a:cxn>
                <a:cxn ang="0">
                  <a:pos x="T8" y="T9"/>
                </a:cxn>
              </a:cxnLst>
              <a:rect l="0" t="0" r="r" b="b"/>
              <a:pathLst>
                <a:path w="187" h="293">
                  <a:moveTo>
                    <a:pt x="187" y="6"/>
                  </a:moveTo>
                  <a:cubicBezTo>
                    <a:pt x="181" y="4"/>
                    <a:pt x="174" y="2"/>
                    <a:pt x="167" y="0"/>
                  </a:cubicBezTo>
                  <a:cubicBezTo>
                    <a:pt x="159" y="7"/>
                    <a:pt x="0" y="133"/>
                    <a:pt x="24" y="293"/>
                  </a:cubicBezTo>
                  <a:cubicBezTo>
                    <a:pt x="67" y="293"/>
                    <a:pt x="67" y="293"/>
                    <a:pt x="67" y="293"/>
                  </a:cubicBezTo>
                  <a:cubicBezTo>
                    <a:pt x="35" y="129"/>
                    <a:pt x="187" y="6"/>
                    <a:pt x="187" y="6"/>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5" name="Freeform 22"/>
            <p:cNvSpPr>
              <a:spLocks/>
            </p:cNvSpPr>
            <p:nvPr/>
          </p:nvSpPr>
          <p:spPr bwMode="auto">
            <a:xfrm>
              <a:off x="4714" y="3636"/>
              <a:ext cx="1623" cy="782"/>
            </a:xfrm>
            <a:custGeom>
              <a:avLst/>
              <a:gdLst>
                <a:gd name="T0" fmla="*/ 686 w 686"/>
                <a:gd name="T1" fmla="*/ 36 h 329"/>
                <a:gd name="T2" fmla="*/ 463 w 686"/>
                <a:gd name="T3" fmla="*/ 0 h 329"/>
                <a:gd name="T4" fmla="*/ 0 w 686"/>
                <a:gd name="T5" fmla="*/ 329 h 329"/>
                <a:gd name="T6" fmla="*/ 543 w 686"/>
                <a:gd name="T7" fmla="*/ 329 h 329"/>
                <a:gd name="T8" fmla="*/ 686 w 686"/>
                <a:gd name="T9" fmla="*/ 36 h 329"/>
              </a:gdLst>
              <a:ahLst/>
              <a:cxnLst>
                <a:cxn ang="0">
                  <a:pos x="T0" y="T1"/>
                </a:cxn>
                <a:cxn ang="0">
                  <a:pos x="T2" y="T3"/>
                </a:cxn>
                <a:cxn ang="0">
                  <a:pos x="T4" y="T5"/>
                </a:cxn>
                <a:cxn ang="0">
                  <a:pos x="T6" y="T7"/>
                </a:cxn>
                <a:cxn ang="0">
                  <a:pos x="T8" y="T9"/>
                </a:cxn>
              </a:cxnLst>
              <a:rect l="0" t="0" r="r" b="b"/>
              <a:pathLst>
                <a:path w="686" h="329">
                  <a:moveTo>
                    <a:pt x="686" y="36"/>
                  </a:moveTo>
                  <a:cubicBezTo>
                    <a:pt x="613" y="17"/>
                    <a:pt x="538" y="5"/>
                    <a:pt x="463" y="0"/>
                  </a:cubicBezTo>
                  <a:cubicBezTo>
                    <a:pt x="209" y="74"/>
                    <a:pt x="0" y="329"/>
                    <a:pt x="0" y="329"/>
                  </a:cubicBezTo>
                  <a:cubicBezTo>
                    <a:pt x="543" y="329"/>
                    <a:pt x="543" y="329"/>
                    <a:pt x="543" y="329"/>
                  </a:cubicBezTo>
                  <a:cubicBezTo>
                    <a:pt x="519" y="169"/>
                    <a:pt x="678" y="43"/>
                    <a:pt x="686" y="36"/>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6" name="Rectangle 23"/>
            <p:cNvSpPr>
              <a:spLocks noChangeArrowheads="1"/>
            </p:cNvSpPr>
            <p:nvPr/>
          </p:nvSpPr>
          <p:spPr bwMode="auto">
            <a:xfrm>
              <a:off x="6820" y="2931"/>
              <a:ext cx="790" cy="1399"/>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7" name="Rectangle 24"/>
            <p:cNvSpPr>
              <a:spLocks noChangeArrowheads="1"/>
            </p:cNvSpPr>
            <p:nvPr/>
          </p:nvSpPr>
          <p:spPr bwMode="auto">
            <a:xfrm>
              <a:off x="7255" y="4130"/>
              <a:ext cx="102" cy="2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8" name="Freeform 25"/>
            <p:cNvSpPr>
              <a:spLocks/>
            </p:cNvSpPr>
            <p:nvPr/>
          </p:nvSpPr>
          <p:spPr bwMode="auto">
            <a:xfrm>
              <a:off x="7610" y="4161"/>
              <a:ext cx="203" cy="169"/>
            </a:xfrm>
            <a:custGeom>
              <a:avLst/>
              <a:gdLst>
                <a:gd name="T0" fmla="*/ 0 w 203"/>
                <a:gd name="T1" fmla="*/ 169 h 169"/>
                <a:gd name="T2" fmla="*/ 203 w 203"/>
                <a:gd name="T3" fmla="*/ 0 h 169"/>
                <a:gd name="T4" fmla="*/ 0 w 203"/>
                <a:gd name="T5" fmla="*/ 0 h 169"/>
                <a:gd name="T6" fmla="*/ 0 w 203"/>
                <a:gd name="T7" fmla="*/ 169 h 169"/>
              </a:gdLst>
              <a:ahLst/>
              <a:cxnLst>
                <a:cxn ang="0">
                  <a:pos x="T0" y="T1"/>
                </a:cxn>
                <a:cxn ang="0">
                  <a:pos x="T2" y="T3"/>
                </a:cxn>
                <a:cxn ang="0">
                  <a:pos x="T4" y="T5"/>
                </a:cxn>
                <a:cxn ang="0">
                  <a:pos x="T6" y="T7"/>
                </a:cxn>
              </a:cxnLst>
              <a:rect l="0" t="0" r="r" b="b"/>
              <a:pathLst>
                <a:path w="203" h="169">
                  <a:moveTo>
                    <a:pt x="0" y="169"/>
                  </a:moveTo>
                  <a:lnTo>
                    <a:pt x="203" y="0"/>
                  </a:lnTo>
                  <a:lnTo>
                    <a:pt x="0" y="0"/>
                  </a:lnTo>
                  <a:lnTo>
                    <a:pt x="0" y="169"/>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9" name="Freeform 26"/>
            <p:cNvSpPr>
              <a:spLocks/>
            </p:cNvSpPr>
            <p:nvPr/>
          </p:nvSpPr>
          <p:spPr bwMode="auto">
            <a:xfrm>
              <a:off x="5930" y="3741"/>
              <a:ext cx="149" cy="126"/>
            </a:xfrm>
            <a:custGeom>
              <a:avLst/>
              <a:gdLst>
                <a:gd name="T0" fmla="*/ 0 w 149"/>
                <a:gd name="T1" fmla="*/ 126 h 126"/>
                <a:gd name="T2" fmla="*/ 149 w 149"/>
                <a:gd name="T3" fmla="*/ 0 h 126"/>
                <a:gd name="T4" fmla="*/ 0 w 149"/>
                <a:gd name="T5" fmla="*/ 0 h 126"/>
                <a:gd name="T6" fmla="*/ 0 w 149"/>
                <a:gd name="T7" fmla="*/ 126 h 126"/>
              </a:gdLst>
              <a:ahLst/>
              <a:cxnLst>
                <a:cxn ang="0">
                  <a:pos x="T0" y="T1"/>
                </a:cxn>
                <a:cxn ang="0">
                  <a:pos x="T2" y="T3"/>
                </a:cxn>
                <a:cxn ang="0">
                  <a:pos x="T4" y="T5"/>
                </a:cxn>
                <a:cxn ang="0">
                  <a:pos x="T6" y="T7"/>
                </a:cxn>
              </a:cxnLst>
              <a:rect l="0" t="0" r="r" b="b"/>
              <a:pathLst>
                <a:path w="149" h="126">
                  <a:moveTo>
                    <a:pt x="0" y="126"/>
                  </a:moveTo>
                  <a:lnTo>
                    <a:pt x="149" y="0"/>
                  </a:lnTo>
                  <a:lnTo>
                    <a:pt x="0" y="0"/>
                  </a:lnTo>
                  <a:lnTo>
                    <a:pt x="0" y="126"/>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0" name="Rectangle 27"/>
            <p:cNvSpPr>
              <a:spLocks noChangeArrowheads="1"/>
            </p:cNvSpPr>
            <p:nvPr/>
          </p:nvSpPr>
          <p:spPr bwMode="auto">
            <a:xfrm>
              <a:off x="7075" y="4130"/>
              <a:ext cx="104" cy="2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1" name="Rectangle 28"/>
            <p:cNvSpPr>
              <a:spLocks noChangeArrowheads="1"/>
            </p:cNvSpPr>
            <p:nvPr/>
          </p:nvSpPr>
          <p:spPr bwMode="auto">
            <a:xfrm>
              <a:off x="6898" y="3430"/>
              <a:ext cx="639" cy="10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2" name="Rectangle 29"/>
            <p:cNvSpPr>
              <a:spLocks noChangeArrowheads="1"/>
            </p:cNvSpPr>
            <p:nvPr/>
          </p:nvSpPr>
          <p:spPr bwMode="auto">
            <a:xfrm>
              <a:off x="6898" y="3608"/>
              <a:ext cx="639" cy="10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3" name="Rectangle 30"/>
            <p:cNvSpPr>
              <a:spLocks noChangeArrowheads="1"/>
            </p:cNvSpPr>
            <p:nvPr/>
          </p:nvSpPr>
          <p:spPr bwMode="auto">
            <a:xfrm>
              <a:off x="6898" y="3786"/>
              <a:ext cx="639" cy="10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4" name="Rectangle 31"/>
            <p:cNvSpPr>
              <a:spLocks noChangeArrowheads="1"/>
            </p:cNvSpPr>
            <p:nvPr/>
          </p:nvSpPr>
          <p:spPr bwMode="auto">
            <a:xfrm>
              <a:off x="6898" y="3964"/>
              <a:ext cx="639" cy="10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5" name="Rectangle 32"/>
            <p:cNvSpPr>
              <a:spLocks noChangeArrowheads="1"/>
            </p:cNvSpPr>
            <p:nvPr/>
          </p:nvSpPr>
          <p:spPr bwMode="auto">
            <a:xfrm>
              <a:off x="6898" y="3074"/>
              <a:ext cx="639" cy="10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5" name="Rectangle 33"/>
            <p:cNvSpPr>
              <a:spLocks noChangeArrowheads="1"/>
            </p:cNvSpPr>
            <p:nvPr/>
          </p:nvSpPr>
          <p:spPr bwMode="auto">
            <a:xfrm>
              <a:off x="6898" y="3252"/>
              <a:ext cx="639" cy="10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6" name="Rectangle 34"/>
            <p:cNvSpPr>
              <a:spLocks noChangeArrowheads="1"/>
            </p:cNvSpPr>
            <p:nvPr/>
          </p:nvSpPr>
          <p:spPr bwMode="auto">
            <a:xfrm>
              <a:off x="5795" y="3154"/>
              <a:ext cx="362" cy="554"/>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7" name="Freeform 35"/>
            <p:cNvSpPr>
              <a:spLocks/>
            </p:cNvSpPr>
            <p:nvPr/>
          </p:nvSpPr>
          <p:spPr bwMode="auto">
            <a:xfrm>
              <a:off x="5833" y="3214"/>
              <a:ext cx="286" cy="50"/>
            </a:xfrm>
            <a:custGeom>
              <a:avLst/>
              <a:gdLst>
                <a:gd name="T0" fmla="*/ 10 w 121"/>
                <a:gd name="T1" fmla="*/ 0 h 21"/>
                <a:gd name="T2" fmla="*/ 0 w 121"/>
                <a:gd name="T3" fmla="*/ 9 h 21"/>
                <a:gd name="T4" fmla="*/ 0 w 121"/>
                <a:gd name="T5" fmla="*/ 11 h 21"/>
                <a:gd name="T6" fmla="*/ 10 w 121"/>
                <a:gd name="T7" fmla="*/ 21 h 21"/>
                <a:gd name="T8" fmla="*/ 111 w 121"/>
                <a:gd name="T9" fmla="*/ 21 h 21"/>
                <a:gd name="T10" fmla="*/ 121 w 121"/>
                <a:gd name="T11" fmla="*/ 11 h 21"/>
                <a:gd name="T12" fmla="*/ 121 w 121"/>
                <a:gd name="T13" fmla="*/ 9 h 21"/>
                <a:gd name="T14" fmla="*/ 111 w 121"/>
                <a:gd name="T15" fmla="*/ 0 h 21"/>
                <a:gd name="T16" fmla="*/ 64 w 121"/>
                <a:gd name="T17" fmla="*/ 0 h 21"/>
                <a:gd name="T18" fmla="*/ 10 w 121"/>
                <a:gd name="T1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21">
                  <a:moveTo>
                    <a:pt x="10" y="0"/>
                  </a:moveTo>
                  <a:cubicBezTo>
                    <a:pt x="10" y="0"/>
                    <a:pt x="0" y="0"/>
                    <a:pt x="0" y="9"/>
                  </a:cubicBezTo>
                  <a:cubicBezTo>
                    <a:pt x="0" y="11"/>
                    <a:pt x="0" y="11"/>
                    <a:pt x="0" y="11"/>
                  </a:cubicBezTo>
                  <a:cubicBezTo>
                    <a:pt x="0" y="11"/>
                    <a:pt x="0" y="21"/>
                    <a:pt x="10" y="21"/>
                  </a:cubicBezTo>
                  <a:cubicBezTo>
                    <a:pt x="111" y="21"/>
                    <a:pt x="111" y="21"/>
                    <a:pt x="111" y="21"/>
                  </a:cubicBezTo>
                  <a:cubicBezTo>
                    <a:pt x="111" y="21"/>
                    <a:pt x="121" y="21"/>
                    <a:pt x="121" y="11"/>
                  </a:cubicBezTo>
                  <a:cubicBezTo>
                    <a:pt x="121" y="9"/>
                    <a:pt x="121" y="9"/>
                    <a:pt x="121" y="9"/>
                  </a:cubicBezTo>
                  <a:cubicBezTo>
                    <a:pt x="121" y="9"/>
                    <a:pt x="121" y="0"/>
                    <a:pt x="111" y="0"/>
                  </a:cubicBezTo>
                  <a:cubicBezTo>
                    <a:pt x="64" y="0"/>
                    <a:pt x="64" y="0"/>
                    <a:pt x="64"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8" name="Freeform 36"/>
            <p:cNvSpPr>
              <a:spLocks/>
            </p:cNvSpPr>
            <p:nvPr/>
          </p:nvSpPr>
          <p:spPr bwMode="auto">
            <a:xfrm>
              <a:off x="5833" y="3302"/>
              <a:ext cx="286" cy="49"/>
            </a:xfrm>
            <a:custGeom>
              <a:avLst/>
              <a:gdLst>
                <a:gd name="T0" fmla="*/ 10 w 121"/>
                <a:gd name="T1" fmla="*/ 0 h 21"/>
                <a:gd name="T2" fmla="*/ 0 w 121"/>
                <a:gd name="T3" fmla="*/ 10 h 21"/>
                <a:gd name="T4" fmla="*/ 0 w 121"/>
                <a:gd name="T5" fmla="*/ 12 h 21"/>
                <a:gd name="T6" fmla="*/ 10 w 121"/>
                <a:gd name="T7" fmla="*/ 21 h 21"/>
                <a:gd name="T8" fmla="*/ 111 w 121"/>
                <a:gd name="T9" fmla="*/ 21 h 21"/>
                <a:gd name="T10" fmla="*/ 121 w 121"/>
                <a:gd name="T11" fmla="*/ 12 h 21"/>
                <a:gd name="T12" fmla="*/ 121 w 121"/>
                <a:gd name="T13" fmla="*/ 10 h 21"/>
                <a:gd name="T14" fmla="*/ 111 w 121"/>
                <a:gd name="T15" fmla="*/ 0 h 21"/>
                <a:gd name="T16" fmla="*/ 64 w 121"/>
                <a:gd name="T17" fmla="*/ 0 h 21"/>
                <a:gd name="T18" fmla="*/ 10 w 121"/>
                <a:gd name="T1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21">
                  <a:moveTo>
                    <a:pt x="10" y="0"/>
                  </a:moveTo>
                  <a:cubicBezTo>
                    <a:pt x="10" y="0"/>
                    <a:pt x="0" y="0"/>
                    <a:pt x="0" y="10"/>
                  </a:cubicBezTo>
                  <a:cubicBezTo>
                    <a:pt x="0" y="12"/>
                    <a:pt x="0" y="12"/>
                    <a:pt x="0" y="12"/>
                  </a:cubicBezTo>
                  <a:cubicBezTo>
                    <a:pt x="0" y="12"/>
                    <a:pt x="0" y="21"/>
                    <a:pt x="10" y="21"/>
                  </a:cubicBezTo>
                  <a:cubicBezTo>
                    <a:pt x="111" y="21"/>
                    <a:pt x="111" y="21"/>
                    <a:pt x="111" y="21"/>
                  </a:cubicBezTo>
                  <a:cubicBezTo>
                    <a:pt x="111" y="21"/>
                    <a:pt x="121" y="21"/>
                    <a:pt x="121" y="12"/>
                  </a:cubicBezTo>
                  <a:cubicBezTo>
                    <a:pt x="121" y="10"/>
                    <a:pt x="121" y="10"/>
                    <a:pt x="121" y="10"/>
                  </a:cubicBezTo>
                  <a:cubicBezTo>
                    <a:pt x="121" y="10"/>
                    <a:pt x="121" y="0"/>
                    <a:pt x="111" y="0"/>
                  </a:cubicBezTo>
                  <a:cubicBezTo>
                    <a:pt x="64" y="0"/>
                    <a:pt x="64" y="0"/>
                    <a:pt x="64"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9" name="Freeform 37"/>
            <p:cNvSpPr>
              <a:spLocks/>
            </p:cNvSpPr>
            <p:nvPr/>
          </p:nvSpPr>
          <p:spPr bwMode="auto">
            <a:xfrm>
              <a:off x="5833" y="3392"/>
              <a:ext cx="286" cy="50"/>
            </a:xfrm>
            <a:custGeom>
              <a:avLst/>
              <a:gdLst>
                <a:gd name="T0" fmla="*/ 10 w 121"/>
                <a:gd name="T1" fmla="*/ 0 h 21"/>
                <a:gd name="T2" fmla="*/ 0 w 121"/>
                <a:gd name="T3" fmla="*/ 9 h 21"/>
                <a:gd name="T4" fmla="*/ 0 w 121"/>
                <a:gd name="T5" fmla="*/ 11 h 21"/>
                <a:gd name="T6" fmla="*/ 10 w 121"/>
                <a:gd name="T7" fmla="*/ 21 h 21"/>
                <a:gd name="T8" fmla="*/ 111 w 121"/>
                <a:gd name="T9" fmla="*/ 21 h 21"/>
                <a:gd name="T10" fmla="*/ 121 w 121"/>
                <a:gd name="T11" fmla="*/ 11 h 21"/>
                <a:gd name="T12" fmla="*/ 121 w 121"/>
                <a:gd name="T13" fmla="*/ 9 h 21"/>
                <a:gd name="T14" fmla="*/ 111 w 121"/>
                <a:gd name="T15" fmla="*/ 0 h 21"/>
                <a:gd name="T16" fmla="*/ 64 w 121"/>
                <a:gd name="T17" fmla="*/ 0 h 21"/>
                <a:gd name="T18" fmla="*/ 10 w 121"/>
                <a:gd name="T1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21">
                  <a:moveTo>
                    <a:pt x="10" y="0"/>
                  </a:moveTo>
                  <a:cubicBezTo>
                    <a:pt x="10" y="0"/>
                    <a:pt x="0" y="0"/>
                    <a:pt x="0" y="9"/>
                  </a:cubicBezTo>
                  <a:cubicBezTo>
                    <a:pt x="0" y="11"/>
                    <a:pt x="0" y="11"/>
                    <a:pt x="0" y="11"/>
                  </a:cubicBezTo>
                  <a:cubicBezTo>
                    <a:pt x="0" y="11"/>
                    <a:pt x="0" y="21"/>
                    <a:pt x="10" y="21"/>
                  </a:cubicBezTo>
                  <a:cubicBezTo>
                    <a:pt x="111" y="21"/>
                    <a:pt x="111" y="21"/>
                    <a:pt x="111" y="21"/>
                  </a:cubicBezTo>
                  <a:cubicBezTo>
                    <a:pt x="111" y="21"/>
                    <a:pt x="121" y="21"/>
                    <a:pt x="121" y="11"/>
                  </a:cubicBezTo>
                  <a:cubicBezTo>
                    <a:pt x="121" y="9"/>
                    <a:pt x="121" y="9"/>
                    <a:pt x="121" y="9"/>
                  </a:cubicBezTo>
                  <a:cubicBezTo>
                    <a:pt x="121" y="9"/>
                    <a:pt x="121" y="0"/>
                    <a:pt x="111" y="0"/>
                  </a:cubicBezTo>
                  <a:cubicBezTo>
                    <a:pt x="64" y="0"/>
                    <a:pt x="64" y="0"/>
                    <a:pt x="64"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0" name="Freeform 38"/>
            <p:cNvSpPr>
              <a:spLocks/>
            </p:cNvSpPr>
            <p:nvPr/>
          </p:nvSpPr>
          <p:spPr bwMode="auto">
            <a:xfrm>
              <a:off x="5833" y="3480"/>
              <a:ext cx="286" cy="52"/>
            </a:xfrm>
            <a:custGeom>
              <a:avLst/>
              <a:gdLst>
                <a:gd name="T0" fmla="*/ 10 w 121"/>
                <a:gd name="T1" fmla="*/ 0 h 22"/>
                <a:gd name="T2" fmla="*/ 0 w 121"/>
                <a:gd name="T3" fmla="*/ 10 h 22"/>
                <a:gd name="T4" fmla="*/ 0 w 121"/>
                <a:gd name="T5" fmla="*/ 12 h 22"/>
                <a:gd name="T6" fmla="*/ 10 w 121"/>
                <a:gd name="T7" fmla="*/ 22 h 22"/>
                <a:gd name="T8" fmla="*/ 111 w 121"/>
                <a:gd name="T9" fmla="*/ 22 h 22"/>
                <a:gd name="T10" fmla="*/ 121 w 121"/>
                <a:gd name="T11" fmla="*/ 12 h 22"/>
                <a:gd name="T12" fmla="*/ 121 w 121"/>
                <a:gd name="T13" fmla="*/ 10 h 22"/>
                <a:gd name="T14" fmla="*/ 111 w 121"/>
                <a:gd name="T15" fmla="*/ 0 h 22"/>
                <a:gd name="T16" fmla="*/ 64 w 121"/>
                <a:gd name="T17" fmla="*/ 0 h 22"/>
                <a:gd name="T18" fmla="*/ 10 w 121"/>
                <a:gd name="T19"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22">
                  <a:moveTo>
                    <a:pt x="10" y="0"/>
                  </a:moveTo>
                  <a:cubicBezTo>
                    <a:pt x="10" y="0"/>
                    <a:pt x="0" y="0"/>
                    <a:pt x="0" y="10"/>
                  </a:cubicBezTo>
                  <a:cubicBezTo>
                    <a:pt x="0" y="12"/>
                    <a:pt x="0" y="12"/>
                    <a:pt x="0" y="12"/>
                  </a:cubicBezTo>
                  <a:cubicBezTo>
                    <a:pt x="0" y="12"/>
                    <a:pt x="0" y="22"/>
                    <a:pt x="10" y="22"/>
                  </a:cubicBezTo>
                  <a:cubicBezTo>
                    <a:pt x="111" y="22"/>
                    <a:pt x="111" y="22"/>
                    <a:pt x="111" y="22"/>
                  </a:cubicBezTo>
                  <a:cubicBezTo>
                    <a:pt x="111" y="22"/>
                    <a:pt x="121" y="22"/>
                    <a:pt x="121" y="12"/>
                  </a:cubicBezTo>
                  <a:cubicBezTo>
                    <a:pt x="121" y="10"/>
                    <a:pt x="121" y="10"/>
                    <a:pt x="121" y="10"/>
                  </a:cubicBezTo>
                  <a:cubicBezTo>
                    <a:pt x="121" y="10"/>
                    <a:pt x="121" y="0"/>
                    <a:pt x="111" y="0"/>
                  </a:cubicBezTo>
                  <a:cubicBezTo>
                    <a:pt x="64" y="0"/>
                    <a:pt x="64" y="0"/>
                    <a:pt x="64"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1" name="Freeform 39"/>
            <p:cNvSpPr>
              <a:spLocks/>
            </p:cNvSpPr>
            <p:nvPr/>
          </p:nvSpPr>
          <p:spPr bwMode="auto">
            <a:xfrm>
              <a:off x="5833" y="3570"/>
              <a:ext cx="286" cy="50"/>
            </a:xfrm>
            <a:custGeom>
              <a:avLst/>
              <a:gdLst>
                <a:gd name="T0" fmla="*/ 10 w 121"/>
                <a:gd name="T1" fmla="*/ 0 h 21"/>
                <a:gd name="T2" fmla="*/ 0 w 121"/>
                <a:gd name="T3" fmla="*/ 10 h 21"/>
                <a:gd name="T4" fmla="*/ 0 w 121"/>
                <a:gd name="T5" fmla="*/ 12 h 21"/>
                <a:gd name="T6" fmla="*/ 10 w 121"/>
                <a:gd name="T7" fmla="*/ 21 h 21"/>
                <a:gd name="T8" fmla="*/ 111 w 121"/>
                <a:gd name="T9" fmla="*/ 21 h 21"/>
                <a:gd name="T10" fmla="*/ 121 w 121"/>
                <a:gd name="T11" fmla="*/ 12 h 21"/>
                <a:gd name="T12" fmla="*/ 121 w 121"/>
                <a:gd name="T13" fmla="*/ 10 h 21"/>
                <a:gd name="T14" fmla="*/ 111 w 121"/>
                <a:gd name="T15" fmla="*/ 0 h 21"/>
                <a:gd name="T16" fmla="*/ 64 w 121"/>
                <a:gd name="T17" fmla="*/ 0 h 21"/>
                <a:gd name="T18" fmla="*/ 10 w 121"/>
                <a:gd name="T1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21">
                  <a:moveTo>
                    <a:pt x="10" y="0"/>
                  </a:moveTo>
                  <a:cubicBezTo>
                    <a:pt x="10" y="0"/>
                    <a:pt x="0" y="0"/>
                    <a:pt x="0" y="10"/>
                  </a:cubicBezTo>
                  <a:cubicBezTo>
                    <a:pt x="0" y="12"/>
                    <a:pt x="0" y="12"/>
                    <a:pt x="0" y="12"/>
                  </a:cubicBezTo>
                  <a:cubicBezTo>
                    <a:pt x="0" y="12"/>
                    <a:pt x="0" y="21"/>
                    <a:pt x="10" y="21"/>
                  </a:cubicBezTo>
                  <a:cubicBezTo>
                    <a:pt x="111" y="21"/>
                    <a:pt x="111" y="21"/>
                    <a:pt x="111" y="21"/>
                  </a:cubicBezTo>
                  <a:cubicBezTo>
                    <a:pt x="111" y="21"/>
                    <a:pt x="121" y="21"/>
                    <a:pt x="121" y="12"/>
                  </a:cubicBezTo>
                  <a:cubicBezTo>
                    <a:pt x="121" y="10"/>
                    <a:pt x="121" y="10"/>
                    <a:pt x="121" y="10"/>
                  </a:cubicBezTo>
                  <a:cubicBezTo>
                    <a:pt x="121" y="10"/>
                    <a:pt x="121" y="0"/>
                    <a:pt x="111" y="0"/>
                  </a:cubicBezTo>
                  <a:cubicBezTo>
                    <a:pt x="64" y="0"/>
                    <a:pt x="64" y="0"/>
                    <a:pt x="64"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2" name="Oval 40"/>
            <p:cNvSpPr>
              <a:spLocks noChangeArrowheads="1"/>
            </p:cNvSpPr>
            <p:nvPr/>
          </p:nvSpPr>
          <p:spPr bwMode="auto">
            <a:xfrm>
              <a:off x="6065" y="3223"/>
              <a:ext cx="28" cy="2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3" name="Oval 41"/>
            <p:cNvSpPr>
              <a:spLocks noChangeArrowheads="1"/>
            </p:cNvSpPr>
            <p:nvPr/>
          </p:nvSpPr>
          <p:spPr bwMode="auto">
            <a:xfrm>
              <a:off x="6065" y="3313"/>
              <a:ext cx="28" cy="2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4" name="Oval 42"/>
            <p:cNvSpPr>
              <a:spLocks noChangeArrowheads="1"/>
            </p:cNvSpPr>
            <p:nvPr/>
          </p:nvSpPr>
          <p:spPr bwMode="auto">
            <a:xfrm>
              <a:off x="6065" y="3401"/>
              <a:ext cx="28" cy="2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5" name="Oval 43"/>
            <p:cNvSpPr>
              <a:spLocks noChangeArrowheads="1"/>
            </p:cNvSpPr>
            <p:nvPr/>
          </p:nvSpPr>
          <p:spPr bwMode="auto">
            <a:xfrm>
              <a:off x="6065" y="3492"/>
              <a:ext cx="28" cy="2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6" name="Oval 44"/>
            <p:cNvSpPr>
              <a:spLocks noChangeArrowheads="1"/>
            </p:cNvSpPr>
            <p:nvPr/>
          </p:nvSpPr>
          <p:spPr bwMode="auto">
            <a:xfrm>
              <a:off x="6065" y="3582"/>
              <a:ext cx="28" cy="2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7" name="Freeform 45"/>
            <p:cNvSpPr>
              <a:spLocks/>
            </p:cNvSpPr>
            <p:nvPr/>
          </p:nvSpPr>
          <p:spPr bwMode="auto">
            <a:xfrm>
              <a:off x="5632" y="3325"/>
              <a:ext cx="315" cy="542"/>
            </a:xfrm>
            <a:custGeom>
              <a:avLst/>
              <a:gdLst>
                <a:gd name="T0" fmla="*/ 133 w 133"/>
                <a:gd name="T1" fmla="*/ 219 h 228"/>
                <a:gd name="T2" fmla="*/ 124 w 133"/>
                <a:gd name="T3" fmla="*/ 228 h 228"/>
                <a:gd name="T4" fmla="*/ 8 w 133"/>
                <a:gd name="T5" fmla="*/ 228 h 228"/>
                <a:gd name="T6" fmla="*/ 0 w 133"/>
                <a:gd name="T7" fmla="*/ 219 h 228"/>
                <a:gd name="T8" fmla="*/ 0 w 133"/>
                <a:gd name="T9" fmla="*/ 9 h 228"/>
                <a:gd name="T10" fmla="*/ 8 w 133"/>
                <a:gd name="T11" fmla="*/ 0 h 228"/>
                <a:gd name="T12" fmla="*/ 124 w 133"/>
                <a:gd name="T13" fmla="*/ 0 h 228"/>
                <a:gd name="T14" fmla="*/ 133 w 133"/>
                <a:gd name="T15" fmla="*/ 9 h 228"/>
                <a:gd name="T16" fmla="*/ 133 w 133"/>
                <a:gd name="T17" fmla="*/ 219 h 228"/>
                <a:gd name="T18" fmla="*/ 133 w 133"/>
                <a:gd name="T19" fmla="*/ 21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 h="228">
                  <a:moveTo>
                    <a:pt x="133" y="219"/>
                  </a:moveTo>
                  <a:cubicBezTo>
                    <a:pt x="133" y="224"/>
                    <a:pt x="129" y="228"/>
                    <a:pt x="124" y="228"/>
                  </a:cubicBezTo>
                  <a:cubicBezTo>
                    <a:pt x="8" y="228"/>
                    <a:pt x="8" y="228"/>
                    <a:pt x="8" y="228"/>
                  </a:cubicBezTo>
                  <a:cubicBezTo>
                    <a:pt x="4" y="228"/>
                    <a:pt x="0" y="224"/>
                    <a:pt x="0" y="219"/>
                  </a:cubicBezTo>
                  <a:cubicBezTo>
                    <a:pt x="0" y="9"/>
                    <a:pt x="0" y="9"/>
                    <a:pt x="0" y="9"/>
                  </a:cubicBezTo>
                  <a:cubicBezTo>
                    <a:pt x="0" y="4"/>
                    <a:pt x="4" y="0"/>
                    <a:pt x="8" y="0"/>
                  </a:cubicBezTo>
                  <a:cubicBezTo>
                    <a:pt x="124" y="0"/>
                    <a:pt x="124" y="0"/>
                    <a:pt x="124" y="0"/>
                  </a:cubicBezTo>
                  <a:cubicBezTo>
                    <a:pt x="129" y="0"/>
                    <a:pt x="133" y="4"/>
                    <a:pt x="133" y="9"/>
                  </a:cubicBezTo>
                  <a:cubicBezTo>
                    <a:pt x="133" y="219"/>
                    <a:pt x="133" y="219"/>
                    <a:pt x="133" y="219"/>
                  </a:cubicBezTo>
                  <a:cubicBezTo>
                    <a:pt x="133" y="219"/>
                    <a:pt x="133" y="219"/>
                    <a:pt x="133" y="219"/>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8" name="Freeform 46"/>
            <p:cNvSpPr>
              <a:spLocks/>
            </p:cNvSpPr>
            <p:nvPr/>
          </p:nvSpPr>
          <p:spPr bwMode="auto">
            <a:xfrm>
              <a:off x="5660" y="3356"/>
              <a:ext cx="256" cy="425"/>
            </a:xfrm>
            <a:custGeom>
              <a:avLst/>
              <a:gdLst>
                <a:gd name="T0" fmla="*/ 0 w 256"/>
                <a:gd name="T1" fmla="*/ 0 h 425"/>
                <a:gd name="T2" fmla="*/ 256 w 256"/>
                <a:gd name="T3" fmla="*/ 0 h 425"/>
                <a:gd name="T4" fmla="*/ 256 w 256"/>
                <a:gd name="T5" fmla="*/ 425 h 425"/>
                <a:gd name="T6" fmla="*/ 0 w 256"/>
                <a:gd name="T7" fmla="*/ 425 h 425"/>
                <a:gd name="T8" fmla="*/ 0 w 256"/>
                <a:gd name="T9" fmla="*/ 0 h 425"/>
                <a:gd name="T10" fmla="*/ 0 w 256"/>
                <a:gd name="T11" fmla="*/ 0 h 425"/>
              </a:gdLst>
              <a:ahLst/>
              <a:cxnLst>
                <a:cxn ang="0">
                  <a:pos x="T0" y="T1"/>
                </a:cxn>
                <a:cxn ang="0">
                  <a:pos x="T2" y="T3"/>
                </a:cxn>
                <a:cxn ang="0">
                  <a:pos x="T4" y="T5"/>
                </a:cxn>
                <a:cxn ang="0">
                  <a:pos x="T6" y="T7"/>
                </a:cxn>
                <a:cxn ang="0">
                  <a:pos x="T8" y="T9"/>
                </a:cxn>
                <a:cxn ang="0">
                  <a:pos x="T10" y="T11"/>
                </a:cxn>
              </a:cxnLst>
              <a:rect l="0" t="0" r="r" b="b"/>
              <a:pathLst>
                <a:path w="256" h="425">
                  <a:moveTo>
                    <a:pt x="0" y="0"/>
                  </a:moveTo>
                  <a:lnTo>
                    <a:pt x="256" y="0"/>
                  </a:lnTo>
                  <a:lnTo>
                    <a:pt x="256" y="425"/>
                  </a:lnTo>
                  <a:lnTo>
                    <a:pt x="0" y="425"/>
                  </a:lnTo>
                  <a:lnTo>
                    <a:pt x="0" y="0"/>
                  </a:lnTo>
                  <a:lnTo>
                    <a:pt x="0"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9" name="Freeform 47"/>
            <p:cNvSpPr>
              <a:spLocks/>
            </p:cNvSpPr>
            <p:nvPr/>
          </p:nvSpPr>
          <p:spPr bwMode="auto">
            <a:xfrm>
              <a:off x="5102" y="3489"/>
              <a:ext cx="705" cy="461"/>
            </a:xfrm>
            <a:custGeom>
              <a:avLst/>
              <a:gdLst>
                <a:gd name="T0" fmla="*/ 48 w 298"/>
                <a:gd name="T1" fmla="*/ 85 h 194"/>
                <a:gd name="T2" fmla="*/ 48 w 298"/>
                <a:gd name="T3" fmla="*/ 81 h 194"/>
                <a:gd name="T4" fmla="*/ 130 w 298"/>
                <a:gd name="T5" fmla="*/ 0 h 194"/>
                <a:gd name="T6" fmla="*/ 198 w 298"/>
                <a:gd name="T7" fmla="*/ 36 h 194"/>
                <a:gd name="T8" fmla="*/ 220 w 298"/>
                <a:gd name="T9" fmla="*/ 30 h 194"/>
                <a:gd name="T10" fmla="*/ 247 w 298"/>
                <a:gd name="T11" fmla="*/ 38 h 194"/>
                <a:gd name="T12" fmla="*/ 268 w 298"/>
                <a:gd name="T13" fmla="*/ 76 h 194"/>
                <a:gd name="T14" fmla="*/ 298 w 298"/>
                <a:gd name="T15" fmla="*/ 130 h 194"/>
                <a:gd name="T16" fmla="*/ 240 w 298"/>
                <a:gd name="T17" fmla="*/ 194 h 194"/>
                <a:gd name="T18" fmla="*/ 233 w 298"/>
                <a:gd name="T19" fmla="*/ 194 h 194"/>
                <a:gd name="T20" fmla="*/ 226 w 298"/>
                <a:gd name="T21" fmla="*/ 194 h 194"/>
                <a:gd name="T22" fmla="*/ 92 w 298"/>
                <a:gd name="T23" fmla="*/ 194 h 194"/>
                <a:gd name="T24" fmla="*/ 90 w 298"/>
                <a:gd name="T25" fmla="*/ 194 h 194"/>
                <a:gd name="T26" fmla="*/ 86 w 298"/>
                <a:gd name="T27" fmla="*/ 194 h 194"/>
                <a:gd name="T28" fmla="*/ 77 w 298"/>
                <a:gd name="T29" fmla="*/ 194 h 194"/>
                <a:gd name="T30" fmla="*/ 55 w 298"/>
                <a:gd name="T31" fmla="*/ 194 h 194"/>
                <a:gd name="T32" fmla="*/ 0 w 298"/>
                <a:gd name="T33" fmla="*/ 139 h 194"/>
                <a:gd name="T34" fmla="*/ 48 w 298"/>
                <a:gd name="T35" fmla="*/ 8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8" h="194">
                  <a:moveTo>
                    <a:pt x="48" y="85"/>
                  </a:moveTo>
                  <a:cubicBezTo>
                    <a:pt x="48" y="84"/>
                    <a:pt x="48" y="82"/>
                    <a:pt x="48" y="81"/>
                  </a:cubicBezTo>
                  <a:cubicBezTo>
                    <a:pt x="48" y="36"/>
                    <a:pt x="84" y="0"/>
                    <a:pt x="130" y="0"/>
                  </a:cubicBezTo>
                  <a:cubicBezTo>
                    <a:pt x="158" y="0"/>
                    <a:pt x="183" y="14"/>
                    <a:pt x="198" y="36"/>
                  </a:cubicBezTo>
                  <a:cubicBezTo>
                    <a:pt x="205" y="32"/>
                    <a:pt x="212" y="30"/>
                    <a:pt x="220" y="30"/>
                  </a:cubicBezTo>
                  <a:cubicBezTo>
                    <a:pt x="230" y="30"/>
                    <a:pt x="239" y="33"/>
                    <a:pt x="247" y="38"/>
                  </a:cubicBezTo>
                  <a:cubicBezTo>
                    <a:pt x="259" y="46"/>
                    <a:pt x="268" y="60"/>
                    <a:pt x="268" y="76"/>
                  </a:cubicBezTo>
                  <a:cubicBezTo>
                    <a:pt x="286" y="88"/>
                    <a:pt x="298" y="108"/>
                    <a:pt x="298" y="130"/>
                  </a:cubicBezTo>
                  <a:cubicBezTo>
                    <a:pt x="298" y="163"/>
                    <a:pt x="272" y="191"/>
                    <a:pt x="240" y="194"/>
                  </a:cubicBezTo>
                  <a:cubicBezTo>
                    <a:pt x="238" y="194"/>
                    <a:pt x="235" y="194"/>
                    <a:pt x="233" y="194"/>
                  </a:cubicBezTo>
                  <a:cubicBezTo>
                    <a:pt x="231" y="194"/>
                    <a:pt x="229" y="194"/>
                    <a:pt x="226" y="194"/>
                  </a:cubicBezTo>
                  <a:cubicBezTo>
                    <a:pt x="196" y="194"/>
                    <a:pt x="126" y="194"/>
                    <a:pt x="92" y="194"/>
                  </a:cubicBezTo>
                  <a:cubicBezTo>
                    <a:pt x="91" y="194"/>
                    <a:pt x="91" y="194"/>
                    <a:pt x="90" y="194"/>
                  </a:cubicBezTo>
                  <a:cubicBezTo>
                    <a:pt x="86" y="194"/>
                    <a:pt x="86" y="194"/>
                    <a:pt x="86" y="194"/>
                  </a:cubicBezTo>
                  <a:cubicBezTo>
                    <a:pt x="85" y="194"/>
                    <a:pt x="80" y="194"/>
                    <a:pt x="77" y="194"/>
                  </a:cubicBezTo>
                  <a:cubicBezTo>
                    <a:pt x="55" y="194"/>
                    <a:pt x="55" y="194"/>
                    <a:pt x="55" y="194"/>
                  </a:cubicBezTo>
                  <a:cubicBezTo>
                    <a:pt x="25" y="194"/>
                    <a:pt x="0" y="169"/>
                    <a:pt x="0" y="139"/>
                  </a:cubicBezTo>
                  <a:cubicBezTo>
                    <a:pt x="0" y="112"/>
                    <a:pt x="21" y="89"/>
                    <a:pt x="48" y="85"/>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0" name="Freeform 48"/>
            <p:cNvSpPr>
              <a:spLocks/>
            </p:cNvSpPr>
            <p:nvPr/>
          </p:nvSpPr>
          <p:spPr bwMode="auto">
            <a:xfrm>
              <a:off x="5173" y="3406"/>
              <a:ext cx="293" cy="192"/>
            </a:xfrm>
            <a:custGeom>
              <a:avLst/>
              <a:gdLst>
                <a:gd name="T0" fmla="*/ 20 w 124"/>
                <a:gd name="T1" fmla="*/ 35 h 81"/>
                <a:gd name="T2" fmla="*/ 20 w 124"/>
                <a:gd name="T3" fmla="*/ 34 h 81"/>
                <a:gd name="T4" fmla="*/ 54 w 124"/>
                <a:gd name="T5" fmla="*/ 0 h 81"/>
                <a:gd name="T6" fmla="*/ 82 w 124"/>
                <a:gd name="T7" fmla="*/ 15 h 81"/>
                <a:gd name="T8" fmla="*/ 92 w 124"/>
                <a:gd name="T9" fmla="*/ 12 h 81"/>
                <a:gd name="T10" fmla="*/ 103 w 124"/>
                <a:gd name="T11" fmla="*/ 16 h 81"/>
                <a:gd name="T12" fmla="*/ 112 w 124"/>
                <a:gd name="T13" fmla="*/ 32 h 81"/>
                <a:gd name="T14" fmla="*/ 124 w 124"/>
                <a:gd name="T15" fmla="*/ 54 h 81"/>
                <a:gd name="T16" fmla="*/ 100 w 124"/>
                <a:gd name="T17" fmla="*/ 81 h 81"/>
                <a:gd name="T18" fmla="*/ 97 w 124"/>
                <a:gd name="T19" fmla="*/ 81 h 81"/>
                <a:gd name="T20" fmla="*/ 94 w 124"/>
                <a:gd name="T21" fmla="*/ 81 h 81"/>
                <a:gd name="T22" fmla="*/ 38 w 124"/>
                <a:gd name="T23" fmla="*/ 81 h 81"/>
                <a:gd name="T24" fmla="*/ 37 w 124"/>
                <a:gd name="T25" fmla="*/ 81 h 81"/>
                <a:gd name="T26" fmla="*/ 36 w 124"/>
                <a:gd name="T27" fmla="*/ 81 h 81"/>
                <a:gd name="T28" fmla="*/ 32 w 124"/>
                <a:gd name="T29" fmla="*/ 81 h 81"/>
                <a:gd name="T30" fmla="*/ 23 w 124"/>
                <a:gd name="T31" fmla="*/ 81 h 81"/>
                <a:gd name="T32" fmla="*/ 0 w 124"/>
                <a:gd name="T33" fmla="*/ 58 h 81"/>
                <a:gd name="T34" fmla="*/ 20 w 124"/>
                <a:gd name="T35" fmla="*/ 35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4" h="81">
                  <a:moveTo>
                    <a:pt x="20" y="35"/>
                  </a:moveTo>
                  <a:cubicBezTo>
                    <a:pt x="20" y="35"/>
                    <a:pt x="20" y="34"/>
                    <a:pt x="20" y="34"/>
                  </a:cubicBezTo>
                  <a:cubicBezTo>
                    <a:pt x="20" y="15"/>
                    <a:pt x="35" y="0"/>
                    <a:pt x="54" y="0"/>
                  </a:cubicBezTo>
                  <a:cubicBezTo>
                    <a:pt x="66" y="0"/>
                    <a:pt x="76" y="6"/>
                    <a:pt x="82" y="15"/>
                  </a:cubicBezTo>
                  <a:cubicBezTo>
                    <a:pt x="85" y="13"/>
                    <a:pt x="88" y="12"/>
                    <a:pt x="92" y="12"/>
                  </a:cubicBezTo>
                  <a:cubicBezTo>
                    <a:pt x="96" y="12"/>
                    <a:pt x="100" y="14"/>
                    <a:pt x="103" y="16"/>
                  </a:cubicBezTo>
                  <a:cubicBezTo>
                    <a:pt x="108" y="19"/>
                    <a:pt x="111" y="25"/>
                    <a:pt x="112" y="32"/>
                  </a:cubicBezTo>
                  <a:cubicBezTo>
                    <a:pt x="119" y="36"/>
                    <a:pt x="124" y="45"/>
                    <a:pt x="124" y="54"/>
                  </a:cubicBezTo>
                  <a:cubicBezTo>
                    <a:pt x="124" y="68"/>
                    <a:pt x="113" y="79"/>
                    <a:pt x="100" y="81"/>
                  </a:cubicBezTo>
                  <a:cubicBezTo>
                    <a:pt x="99" y="81"/>
                    <a:pt x="98" y="81"/>
                    <a:pt x="97" y="81"/>
                  </a:cubicBezTo>
                  <a:cubicBezTo>
                    <a:pt x="96" y="81"/>
                    <a:pt x="95" y="81"/>
                    <a:pt x="94" y="81"/>
                  </a:cubicBezTo>
                  <a:cubicBezTo>
                    <a:pt x="82" y="81"/>
                    <a:pt x="52" y="81"/>
                    <a:pt x="38" y="81"/>
                  </a:cubicBezTo>
                  <a:cubicBezTo>
                    <a:pt x="38" y="81"/>
                    <a:pt x="38" y="81"/>
                    <a:pt x="37" y="81"/>
                  </a:cubicBezTo>
                  <a:cubicBezTo>
                    <a:pt x="36" y="81"/>
                    <a:pt x="36" y="81"/>
                    <a:pt x="36" y="81"/>
                  </a:cubicBezTo>
                  <a:cubicBezTo>
                    <a:pt x="35" y="81"/>
                    <a:pt x="33" y="81"/>
                    <a:pt x="32" y="81"/>
                  </a:cubicBezTo>
                  <a:cubicBezTo>
                    <a:pt x="23" y="81"/>
                    <a:pt x="23" y="81"/>
                    <a:pt x="23" y="81"/>
                  </a:cubicBezTo>
                  <a:cubicBezTo>
                    <a:pt x="10" y="81"/>
                    <a:pt x="0" y="70"/>
                    <a:pt x="0" y="58"/>
                  </a:cubicBezTo>
                  <a:cubicBezTo>
                    <a:pt x="0" y="46"/>
                    <a:pt x="8" y="37"/>
                    <a:pt x="20" y="35"/>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1" name="Freeform 49"/>
            <p:cNvSpPr>
              <a:spLocks/>
            </p:cNvSpPr>
            <p:nvPr/>
          </p:nvSpPr>
          <p:spPr bwMode="auto">
            <a:xfrm>
              <a:off x="5589" y="4061"/>
              <a:ext cx="235" cy="195"/>
            </a:xfrm>
            <a:custGeom>
              <a:avLst/>
              <a:gdLst>
                <a:gd name="T0" fmla="*/ 0 w 235"/>
                <a:gd name="T1" fmla="*/ 195 h 195"/>
                <a:gd name="T2" fmla="*/ 235 w 235"/>
                <a:gd name="T3" fmla="*/ 0 h 195"/>
                <a:gd name="T4" fmla="*/ 0 w 235"/>
                <a:gd name="T5" fmla="*/ 0 h 195"/>
                <a:gd name="T6" fmla="*/ 0 w 235"/>
                <a:gd name="T7" fmla="*/ 195 h 195"/>
              </a:gdLst>
              <a:ahLst/>
              <a:cxnLst>
                <a:cxn ang="0">
                  <a:pos x="T0" y="T1"/>
                </a:cxn>
                <a:cxn ang="0">
                  <a:pos x="T2" y="T3"/>
                </a:cxn>
                <a:cxn ang="0">
                  <a:pos x="T4" y="T5"/>
                </a:cxn>
                <a:cxn ang="0">
                  <a:pos x="T6" y="T7"/>
                </a:cxn>
              </a:cxnLst>
              <a:rect l="0" t="0" r="r" b="b"/>
              <a:pathLst>
                <a:path w="235" h="195">
                  <a:moveTo>
                    <a:pt x="0" y="195"/>
                  </a:moveTo>
                  <a:lnTo>
                    <a:pt x="235" y="0"/>
                  </a:lnTo>
                  <a:lnTo>
                    <a:pt x="0" y="0"/>
                  </a:lnTo>
                  <a:lnTo>
                    <a:pt x="0" y="195"/>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2" name="Freeform 50"/>
            <p:cNvSpPr>
              <a:spLocks/>
            </p:cNvSpPr>
            <p:nvPr/>
          </p:nvSpPr>
          <p:spPr bwMode="auto">
            <a:xfrm>
              <a:off x="4917" y="3793"/>
              <a:ext cx="656" cy="411"/>
            </a:xfrm>
            <a:custGeom>
              <a:avLst/>
              <a:gdLst>
                <a:gd name="T0" fmla="*/ 0 w 656"/>
                <a:gd name="T1" fmla="*/ 0 h 411"/>
                <a:gd name="T2" fmla="*/ 656 w 656"/>
                <a:gd name="T3" fmla="*/ 0 h 411"/>
                <a:gd name="T4" fmla="*/ 656 w 656"/>
                <a:gd name="T5" fmla="*/ 411 h 411"/>
                <a:gd name="T6" fmla="*/ 0 w 656"/>
                <a:gd name="T7" fmla="*/ 411 h 411"/>
                <a:gd name="T8" fmla="*/ 0 w 656"/>
                <a:gd name="T9" fmla="*/ 0 h 411"/>
                <a:gd name="T10" fmla="*/ 0 w 656"/>
                <a:gd name="T11" fmla="*/ 0 h 411"/>
              </a:gdLst>
              <a:ahLst/>
              <a:cxnLst>
                <a:cxn ang="0">
                  <a:pos x="T0" y="T1"/>
                </a:cxn>
                <a:cxn ang="0">
                  <a:pos x="T2" y="T3"/>
                </a:cxn>
                <a:cxn ang="0">
                  <a:pos x="T4" y="T5"/>
                </a:cxn>
                <a:cxn ang="0">
                  <a:pos x="T6" y="T7"/>
                </a:cxn>
                <a:cxn ang="0">
                  <a:pos x="T8" y="T9"/>
                </a:cxn>
                <a:cxn ang="0">
                  <a:pos x="T10" y="T11"/>
                </a:cxn>
              </a:cxnLst>
              <a:rect l="0" t="0" r="r" b="b"/>
              <a:pathLst>
                <a:path w="656" h="411">
                  <a:moveTo>
                    <a:pt x="0" y="0"/>
                  </a:moveTo>
                  <a:lnTo>
                    <a:pt x="656" y="0"/>
                  </a:lnTo>
                  <a:lnTo>
                    <a:pt x="656" y="411"/>
                  </a:lnTo>
                  <a:lnTo>
                    <a:pt x="0" y="411"/>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3" name="Freeform 51"/>
            <p:cNvSpPr>
              <a:spLocks noEditPoints="1"/>
            </p:cNvSpPr>
            <p:nvPr/>
          </p:nvSpPr>
          <p:spPr bwMode="auto">
            <a:xfrm>
              <a:off x="4766" y="3772"/>
              <a:ext cx="953" cy="515"/>
            </a:xfrm>
            <a:custGeom>
              <a:avLst/>
              <a:gdLst>
                <a:gd name="T0" fmla="*/ 343 w 403"/>
                <a:gd name="T1" fmla="*/ 193 h 217"/>
                <a:gd name="T2" fmla="*/ 353 w 403"/>
                <a:gd name="T3" fmla="*/ 183 h 217"/>
                <a:gd name="T4" fmla="*/ 353 w 403"/>
                <a:gd name="T5" fmla="*/ 10 h 217"/>
                <a:gd name="T6" fmla="*/ 343 w 403"/>
                <a:gd name="T7" fmla="*/ 0 h 217"/>
                <a:gd name="T8" fmla="*/ 61 w 403"/>
                <a:gd name="T9" fmla="*/ 0 h 217"/>
                <a:gd name="T10" fmla="*/ 51 w 403"/>
                <a:gd name="T11" fmla="*/ 10 h 217"/>
                <a:gd name="T12" fmla="*/ 51 w 403"/>
                <a:gd name="T13" fmla="*/ 183 h 217"/>
                <a:gd name="T14" fmla="*/ 61 w 403"/>
                <a:gd name="T15" fmla="*/ 193 h 217"/>
                <a:gd name="T16" fmla="*/ 0 w 403"/>
                <a:gd name="T17" fmla="*/ 193 h 217"/>
                <a:gd name="T18" fmla="*/ 0 w 403"/>
                <a:gd name="T19" fmla="*/ 200 h 217"/>
                <a:gd name="T20" fmla="*/ 0 w 403"/>
                <a:gd name="T21" fmla="*/ 208 h 217"/>
                <a:gd name="T22" fmla="*/ 0 w 403"/>
                <a:gd name="T23" fmla="*/ 209 h 217"/>
                <a:gd name="T24" fmla="*/ 0 w 403"/>
                <a:gd name="T25" fmla="*/ 209 h 217"/>
                <a:gd name="T26" fmla="*/ 0 w 403"/>
                <a:gd name="T27" fmla="*/ 209 h 217"/>
                <a:gd name="T28" fmla="*/ 0 w 403"/>
                <a:gd name="T29" fmla="*/ 210 h 217"/>
                <a:gd name="T30" fmla="*/ 8 w 403"/>
                <a:gd name="T31" fmla="*/ 217 h 217"/>
                <a:gd name="T32" fmla="*/ 395 w 403"/>
                <a:gd name="T33" fmla="*/ 217 h 217"/>
                <a:gd name="T34" fmla="*/ 403 w 403"/>
                <a:gd name="T35" fmla="*/ 211 h 217"/>
                <a:gd name="T36" fmla="*/ 403 w 403"/>
                <a:gd name="T37" fmla="*/ 210 h 217"/>
                <a:gd name="T38" fmla="*/ 403 w 403"/>
                <a:gd name="T39" fmla="*/ 200 h 217"/>
                <a:gd name="T40" fmla="*/ 403 w 403"/>
                <a:gd name="T41" fmla="*/ 193 h 217"/>
                <a:gd name="T42" fmla="*/ 343 w 403"/>
                <a:gd name="T43" fmla="*/ 193 h 217"/>
                <a:gd name="T44" fmla="*/ 64 w 403"/>
                <a:gd name="T45" fmla="*/ 11 h 217"/>
                <a:gd name="T46" fmla="*/ 340 w 403"/>
                <a:gd name="T47" fmla="*/ 11 h 217"/>
                <a:gd name="T48" fmla="*/ 340 w 403"/>
                <a:gd name="T49" fmla="*/ 181 h 217"/>
                <a:gd name="T50" fmla="*/ 64 w 403"/>
                <a:gd name="T51" fmla="*/ 181 h 217"/>
                <a:gd name="T52" fmla="*/ 64 w 403"/>
                <a:gd name="T53" fmla="*/ 11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03" h="217">
                  <a:moveTo>
                    <a:pt x="343" y="193"/>
                  </a:moveTo>
                  <a:cubicBezTo>
                    <a:pt x="349" y="193"/>
                    <a:pt x="353" y="189"/>
                    <a:pt x="353" y="183"/>
                  </a:cubicBezTo>
                  <a:cubicBezTo>
                    <a:pt x="353" y="10"/>
                    <a:pt x="353" y="10"/>
                    <a:pt x="353" y="10"/>
                  </a:cubicBezTo>
                  <a:cubicBezTo>
                    <a:pt x="353" y="4"/>
                    <a:pt x="349" y="0"/>
                    <a:pt x="343" y="0"/>
                  </a:cubicBezTo>
                  <a:cubicBezTo>
                    <a:pt x="61" y="0"/>
                    <a:pt x="61" y="0"/>
                    <a:pt x="61" y="0"/>
                  </a:cubicBezTo>
                  <a:cubicBezTo>
                    <a:pt x="56" y="0"/>
                    <a:pt x="51" y="4"/>
                    <a:pt x="51" y="10"/>
                  </a:cubicBezTo>
                  <a:cubicBezTo>
                    <a:pt x="51" y="183"/>
                    <a:pt x="51" y="183"/>
                    <a:pt x="51" y="183"/>
                  </a:cubicBezTo>
                  <a:cubicBezTo>
                    <a:pt x="51" y="189"/>
                    <a:pt x="56" y="193"/>
                    <a:pt x="61" y="193"/>
                  </a:cubicBezTo>
                  <a:cubicBezTo>
                    <a:pt x="0" y="193"/>
                    <a:pt x="0" y="193"/>
                    <a:pt x="0" y="193"/>
                  </a:cubicBezTo>
                  <a:cubicBezTo>
                    <a:pt x="0" y="200"/>
                    <a:pt x="0" y="200"/>
                    <a:pt x="0" y="200"/>
                  </a:cubicBezTo>
                  <a:cubicBezTo>
                    <a:pt x="0" y="208"/>
                    <a:pt x="0" y="208"/>
                    <a:pt x="0" y="208"/>
                  </a:cubicBezTo>
                  <a:cubicBezTo>
                    <a:pt x="0" y="209"/>
                    <a:pt x="0" y="209"/>
                    <a:pt x="0" y="209"/>
                  </a:cubicBezTo>
                  <a:cubicBezTo>
                    <a:pt x="0" y="209"/>
                    <a:pt x="0" y="209"/>
                    <a:pt x="0" y="209"/>
                  </a:cubicBezTo>
                  <a:cubicBezTo>
                    <a:pt x="0" y="209"/>
                    <a:pt x="0" y="209"/>
                    <a:pt x="0" y="209"/>
                  </a:cubicBezTo>
                  <a:cubicBezTo>
                    <a:pt x="0" y="210"/>
                    <a:pt x="0" y="210"/>
                    <a:pt x="0" y="210"/>
                  </a:cubicBezTo>
                  <a:cubicBezTo>
                    <a:pt x="0" y="214"/>
                    <a:pt x="4" y="217"/>
                    <a:pt x="8" y="217"/>
                  </a:cubicBezTo>
                  <a:cubicBezTo>
                    <a:pt x="395" y="217"/>
                    <a:pt x="395" y="217"/>
                    <a:pt x="395" y="217"/>
                  </a:cubicBezTo>
                  <a:cubicBezTo>
                    <a:pt x="399" y="217"/>
                    <a:pt x="402" y="214"/>
                    <a:pt x="403" y="211"/>
                  </a:cubicBezTo>
                  <a:cubicBezTo>
                    <a:pt x="403" y="210"/>
                    <a:pt x="403" y="210"/>
                    <a:pt x="403" y="210"/>
                  </a:cubicBezTo>
                  <a:cubicBezTo>
                    <a:pt x="403" y="200"/>
                    <a:pt x="403" y="200"/>
                    <a:pt x="403" y="200"/>
                  </a:cubicBezTo>
                  <a:cubicBezTo>
                    <a:pt x="403" y="193"/>
                    <a:pt x="403" y="193"/>
                    <a:pt x="403" y="193"/>
                  </a:cubicBezTo>
                  <a:lnTo>
                    <a:pt x="343" y="193"/>
                  </a:lnTo>
                  <a:close/>
                  <a:moveTo>
                    <a:pt x="64" y="11"/>
                  </a:moveTo>
                  <a:cubicBezTo>
                    <a:pt x="340" y="11"/>
                    <a:pt x="340" y="11"/>
                    <a:pt x="340" y="11"/>
                  </a:cubicBezTo>
                  <a:cubicBezTo>
                    <a:pt x="340" y="181"/>
                    <a:pt x="340" y="181"/>
                    <a:pt x="340" y="181"/>
                  </a:cubicBezTo>
                  <a:cubicBezTo>
                    <a:pt x="64" y="181"/>
                    <a:pt x="64" y="181"/>
                    <a:pt x="64" y="181"/>
                  </a:cubicBezTo>
                  <a:cubicBezTo>
                    <a:pt x="64" y="11"/>
                    <a:pt x="64" y="11"/>
                    <a:pt x="64" y="11"/>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4" name="Rectangle 52"/>
            <p:cNvSpPr>
              <a:spLocks noChangeArrowheads="1"/>
            </p:cNvSpPr>
            <p:nvPr/>
          </p:nvSpPr>
          <p:spPr bwMode="auto">
            <a:xfrm>
              <a:off x="6779" y="2915"/>
              <a:ext cx="871" cy="3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Tree>
    <p:extLst>
      <p:ext uri="{BB962C8B-B14F-4D97-AF65-F5344CB8AC3E}">
        <p14:creationId xmlns:p14="http://schemas.microsoft.com/office/powerpoint/2010/main" val="3835254656"/>
      </p:ext>
    </p:extLst>
  </p:cSld>
  <p:clrMapOvr>
    <a:masterClrMapping/>
  </p:clrMapOvr>
  <mc:AlternateContent xmlns:mc="http://schemas.openxmlformats.org/markup-compatibility/2006">
    <mc:Choice xmlns:p14="http://schemas.microsoft.com/office/powerpoint/2010/main" Requires="p14">
      <p:transition spd="slow" p14:dur="1250">
        <p14:switch dir="r"/>
      </p:transition>
    </mc:Choice>
    <mc:Fallback>
      <p:transition spd="slow">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 Placeholder 1"/>
          <p:cNvSpPr>
            <a:spLocks noGrp="1"/>
          </p:cNvSpPr>
          <p:nvPr>
            <p:ph type="body" idx="1"/>
          </p:nvPr>
        </p:nvSpPr>
        <p:spPr/>
        <p:txBody>
          <a:bodyPr/>
          <a:lstStyle/>
          <a:p>
            <a:r>
              <a:rPr lang="en-US" dirty="0" smtClean="0"/>
              <a:t>Work together in real-time</a:t>
            </a:r>
            <a:endParaRPr lang="en-US" dirty="0"/>
          </a:p>
        </p:txBody>
      </p:sp>
      <p:sp>
        <p:nvSpPr>
          <p:cNvPr id="6" name="Text Placeholder 5"/>
          <p:cNvSpPr>
            <a:spLocks noGrp="1"/>
          </p:cNvSpPr>
          <p:nvPr>
            <p:ph type="body" sz="quarter" idx="10"/>
          </p:nvPr>
        </p:nvSpPr>
        <p:spPr/>
        <p:txBody>
          <a:bodyPr/>
          <a:lstStyle/>
          <a:p>
            <a:pPr lvl="0" fontAlgn="ctr"/>
            <a:r>
              <a:rPr lang="en-US" sz="1800" dirty="0" smtClean="0"/>
              <a:t>Work on the same document with others on any device and see edits as they happen</a:t>
            </a:r>
            <a:endParaRPr lang="en-US" sz="1800" dirty="0"/>
          </a:p>
          <a:p>
            <a:pPr lvl="0"/>
            <a:r>
              <a:rPr lang="en-US" sz="1800" dirty="0" smtClean="0"/>
              <a:t>Work </a:t>
            </a:r>
            <a:r>
              <a:rPr lang="en-US" sz="1800" dirty="0"/>
              <a:t>with people outside your organization even if they don’t have Office</a:t>
            </a:r>
          </a:p>
          <a:p>
            <a:pPr lvl="0"/>
            <a:r>
              <a:rPr lang="en-US" sz="1800" dirty="0" smtClean="0"/>
              <a:t>Add </a:t>
            </a:r>
            <a:r>
              <a:rPr lang="en-US" sz="1800" dirty="0"/>
              <a:t>comments or track changes while you work with others on Word, Excel, and PowerPoint</a:t>
            </a:r>
            <a:r>
              <a:rPr lang="en-US" sz="1800" b="1" dirty="0"/>
              <a:t> </a:t>
            </a:r>
            <a:endParaRPr lang="en-US" sz="1800" dirty="0"/>
          </a:p>
          <a:p>
            <a:r>
              <a:rPr lang="en-US" sz="1800" dirty="0"/>
              <a:t> </a:t>
            </a:r>
          </a:p>
          <a:p>
            <a:r>
              <a:rPr lang="en-US" sz="1800" dirty="0"/>
              <a:t> </a:t>
            </a:r>
          </a:p>
        </p:txBody>
      </p:sp>
      <p:sp>
        <p:nvSpPr>
          <p:cNvPr id="12" name="Freeform 75"/>
          <p:cNvSpPr>
            <a:spLocks noEditPoints="1"/>
          </p:cNvSpPr>
          <p:nvPr/>
        </p:nvSpPr>
        <p:spPr bwMode="auto">
          <a:xfrm>
            <a:off x="8051457" y="2611599"/>
            <a:ext cx="3136693" cy="3136695"/>
          </a:xfrm>
          <a:custGeom>
            <a:avLst/>
            <a:gdLst>
              <a:gd name="T0" fmla="*/ 116 w 231"/>
              <a:gd name="T1" fmla="*/ 231 h 231"/>
              <a:gd name="T2" fmla="*/ 0 w 231"/>
              <a:gd name="T3" fmla="*/ 116 h 231"/>
              <a:gd name="T4" fmla="*/ 116 w 231"/>
              <a:gd name="T5" fmla="*/ 0 h 231"/>
              <a:gd name="T6" fmla="*/ 231 w 231"/>
              <a:gd name="T7" fmla="*/ 116 h 231"/>
              <a:gd name="T8" fmla="*/ 116 w 231"/>
              <a:gd name="T9" fmla="*/ 231 h 231"/>
              <a:gd name="T10" fmla="*/ 116 w 231"/>
              <a:gd name="T11" fmla="*/ 17 h 231"/>
              <a:gd name="T12" fmla="*/ 18 w 231"/>
              <a:gd name="T13" fmla="*/ 116 h 231"/>
              <a:gd name="T14" fmla="*/ 116 w 231"/>
              <a:gd name="T15" fmla="*/ 214 h 231"/>
              <a:gd name="T16" fmla="*/ 214 w 231"/>
              <a:gd name="T17" fmla="*/ 116 h 231"/>
              <a:gd name="T18" fmla="*/ 116 w 231"/>
              <a:gd name="T19" fmla="*/ 17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1" h="231">
                <a:moveTo>
                  <a:pt x="116" y="231"/>
                </a:moveTo>
                <a:cubicBezTo>
                  <a:pt x="52" y="231"/>
                  <a:pt x="0" y="179"/>
                  <a:pt x="0" y="116"/>
                </a:cubicBezTo>
                <a:cubicBezTo>
                  <a:pt x="0" y="52"/>
                  <a:pt x="52" y="0"/>
                  <a:pt x="116" y="0"/>
                </a:cubicBezTo>
                <a:cubicBezTo>
                  <a:pt x="179" y="0"/>
                  <a:pt x="231" y="52"/>
                  <a:pt x="231" y="116"/>
                </a:cubicBezTo>
                <a:cubicBezTo>
                  <a:pt x="231" y="179"/>
                  <a:pt x="179" y="231"/>
                  <a:pt x="116" y="231"/>
                </a:cubicBezTo>
                <a:close/>
                <a:moveTo>
                  <a:pt x="116" y="17"/>
                </a:moveTo>
                <a:cubicBezTo>
                  <a:pt x="62" y="17"/>
                  <a:pt x="18" y="61"/>
                  <a:pt x="18" y="116"/>
                </a:cubicBezTo>
                <a:cubicBezTo>
                  <a:pt x="18" y="170"/>
                  <a:pt x="62" y="214"/>
                  <a:pt x="116" y="214"/>
                </a:cubicBezTo>
                <a:cubicBezTo>
                  <a:pt x="170" y="214"/>
                  <a:pt x="214" y="170"/>
                  <a:pt x="214" y="116"/>
                </a:cubicBezTo>
                <a:cubicBezTo>
                  <a:pt x="214" y="61"/>
                  <a:pt x="170" y="17"/>
                  <a:pt x="116" y="17"/>
                </a:cubicBezTo>
                <a:close/>
              </a:path>
            </a:pathLst>
          </a:custGeom>
          <a:solidFill>
            <a:srgbClr val="D2D2D2">
              <a:alpha val="76000"/>
            </a:srgbClr>
          </a:solidFill>
          <a:ln>
            <a:noFill/>
          </a:ln>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3" name="Freeform 76"/>
          <p:cNvSpPr>
            <a:spLocks noEditPoints="1"/>
          </p:cNvSpPr>
          <p:nvPr/>
        </p:nvSpPr>
        <p:spPr bwMode="auto">
          <a:xfrm>
            <a:off x="7325848" y="1880278"/>
            <a:ext cx="4587912" cy="4599339"/>
          </a:xfrm>
          <a:custGeom>
            <a:avLst/>
            <a:gdLst>
              <a:gd name="T0" fmla="*/ 169 w 338"/>
              <a:gd name="T1" fmla="*/ 339 h 339"/>
              <a:gd name="T2" fmla="*/ 0 w 338"/>
              <a:gd name="T3" fmla="*/ 170 h 339"/>
              <a:gd name="T4" fmla="*/ 169 w 338"/>
              <a:gd name="T5" fmla="*/ 0 h 339"/>
              <a:gd name="T6" fmla="*/ 338 w 338"/>
              <a:gd name="T7" fmla="*/ 170 h 339"/>
              <a:gd name="T8" fmla="*/ 169 w 338"/>
              <a:gd name="T9" fmla="*/ 339 h 339"/>
              <a:gd name="T10" fmla="*/ 169 w 338"/>
              <a:gd name="T11" fmla="*/ 11 h 339"/>
              <a:gd name="T12" fmla="*/ 10 w 338"/>
              <a:gd name="T13" fmla="*/ 170 h 339"/>
              <a:gd name="T14" fmla="*/ 169 w 338"/>
              <a:gd name="T15" fmla="*/ 328 h 339"/>
              <a:gd name="T16" fmla="*/ 328 w 338"/>
              <a:gd name="T17" fmla="*/ 170 h 339"/>
              <a:gd name="T18" fmla="*/ 169 w 338"/>
              <a:gd name="T19" fmla="*/ 11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8" h="339">
                <a:moveTo>
                  <a:pt x="169" y="339"/>
                </a:moveTo>
                <a:cubicBezTo>
                  <a:pt x="75" y="339"/>
                  <a:pt x="0" y="263"/>
                  <a:pt x="0" y="170"/>
                </a:cubicBezTo>
                <a:cubicBezTo>
                  <a:pt x="0" y="76"/>
                  <a:pt x="75" y="0"/>
                  <a:pt x="169" y="0"/>
                </a:cubicBezTo>
                <a:cubicBezTo>
                  <a:pt x="262" y="0"/>
                  <a:pt x="338" y="76"/>
                  <a:pt x="338" y="170"/>
                </a:cubicBezTo>
                <a:cubicBezTo>
                  <a:pt x="338" y="263"/>
                  <a:pt x="262" y="339"/>
                  <a:pt x="169" y="339"/>
                </a:cubicBezTo>
                <a:close/>
                <a:moveTo>
                  <a:pt x="169" y="11"/>
                </a:moveTo>
                <a:cubicBezTo>
                  <a:pt x="81" y="11"/>
                  <a:pt x="10" y="82"/>
                  <a:pt x="10" y="170"/>
                </a:cubicBezTo>
                <a:cubicBezTo>
                  <a:pt x="10" y="257"/>
                  <a:pt x="81" y="328"/>
                  <a:pt x="169" y="328"/>
                </a:cubicBezTo>
                <a:cubicBezTo>
                  <a:pt x="256" y="328"/>
                  <a:pt x="328" y="257"/>
                  <a:pt x="328" y="170"/>
                </a:cubicBezTo>
                <a:cubicBezTo>
                  <a:pt x="328" y="82"/>
                  <a:pt x="256" y="11"/>
                  <a:pt x="169" y="11"/>
                </a:cubicBezTo>
                <a:close/>
              </a:path>
            </a:pathLst>
          </a:custGeom>
          <a:solidFill>
            <a:srgbClr val="D2D2D2">
              <a:alpha val="40000"/>
            </a:srgbClr>
          </a:solidFill>
          <a:ln>
            <a:noFill/>
          </a:ln>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5" name="Freeform 77"/>
          <p:cNvSpPr>
            <a:spLocks noEditPoints="1"/>
          </p:cNvSpPr>
          <p:nvPr/>
        </p:nvSpPr>
        <p:spPr bwMode="auto">
          <a:xfrm>
            <a:off x="6220294" y="764222"/>
            <a:ext cx="6799020" cy="6799022"/>
          </a:xfrm>
          <a:custGeom>
            <a:avLst/>
            <a:gdLst>
              <a:gd name="T0" fmla="*/ 251 w 501"/>
              <a:gd name="T1" fmla="*/ 501 h 501"/>
              <a:gd name="T2" fmla="*/ 0 w 501"/>
              <a:gd name="T3" fmla="*/ 251 h 501"/>
              <a:gd name="T4" fmla="*/ 251 w 501"/>
              <a:gd name="T5" fmla="*/ 0 h 501"/>
              <a:gd name="T6" fmla="*/ 501 w 501"/>
              <a:gd name="T7" fmla="*/ 251 h 501"/>
              <a:gd name="T8" fmla="*/ 251 w 501"/>
              <a:gd name="T9" fmla="*/ 501 h 501"/>
              <a:gd name="T10" fmla="*/ 251 w 501"/>
              <a:gd name="T11" fmla="*/ 4 h 501"/>
              <a:gd name="T12" fmla="*/ 4 w 501"/>
              <a:gd name="T13" fmla="*/ 251 h 501"/>
              <a:gd name="T14" fmla="*/ 251 w 501"/>
              <a:gd name="T15" fmla="*/ 498 h 501"/>
              <a:gd name="T16" fmla="*/ 498 w 501"/>
              <a:gd name="T17" fmla="*/ 251 h 501"/>
              <a:gd name="T18" fmla="*/ 251 w 501"/>
              <a:gd name="T19" fmla="*/ 4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1" h="501">
                <a:moveTo>
                  <a:pt x="251" y="501"/>
                </a:moveTo>
                <a:cubicBezTo>
                  <a:pt x="113" y="501"/>
                  <a:pt x="0" y="389"/>
                  <a:pt x="0" y="251"/>
                </a:cubicBezTo>
                <a:cubicBezTo>
                  <a:pt x="0" y="112"/>
                  <a:pt x="113" y="0"/>
                  <a:pt x="251" y="0"/>
                </a:cubicBezTo>
                <a:cubicBezTo>
                  <a:pt x="389" y="0"/>
                  <a:pt x="501" y="112"/>
                  <a:pt x="501" y="251"/>
                </a:cubicBezTo>
                <a:cubicBezTo>
                  <a:pt x="501" y="389"/>
                  <a:pt x="389" y="501"/>
                  <a:pt x="251" y="501"/>
                </a:cubicBezTo>
                <a:close/>
                <a:moveTo>
                  <a:pt x="251" y="4"/>
                </a:moveTo>
                <a:cubicBezTo>
                  <a:pt x="115" y="4"/>
                  <a:pt x="4" y="114"/>
                  <a:pt x="4" y="251"/>
                </a:cubicBezTo>
                <a:cubicBezTo>
                  <a:pt x="4" y="387"/>
                  <a:pt x="115" y="498"/>
                  <a:pt x="251" y="498"/>
                </a:cubicBezTo>
                <a:cubicBezTo>
                  <a:pt x="387" y="498"/>
                  <a:pt x="498" y="387"/>
                  <a:pt x="498" y="251"/>
                </a:cubicBezTo>
                <a:cubicBezTo>
                  <a:pt x="498" y="114"/>
                  <a:pt x="387" y="4"/>
                  <a:pt x="251" y="4"/>
                </a:cubicBezTo>
                <a:close/>
              </a:path>
            </a:pathLst>
          </a:custGeom>
          <a:solidFill>
            <a:srgbClr val="D2D2D2">
              <a:alpha val="24000"/>
            </a:srgbClr>
          </a:solidFill>
          <a:ln>
            <a:noFill/>
          </a:ln>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6" name="Freeform 15"/>
          <p:cNvSpPr/>
          <p:nvPr/>
        </p:nvSpPr>
        <p:spPr bwMode="auto">
          <a:xfrm flipH="1">
            <a:off x="4975681" y="4070887"/>
            <a:ext cx="500020" cy="1880085"/>
          </a:xfrm>
          <a:custGeom>
            <a:avLst/>
            <a:gdLst>
              <a:gd name="connsiteX0" fmla="*/ 7144 w 238125"/>
              <a:gd name="connsiteY0" fmla="*/ 0 h 833437"/>
              <a:gd name="connsiteX1" fmla="*/ 238125 w 238125"/>
              <a:gd name="connsiteY1" fmla="*/ 833437 h 833437"/>
              <a:gd name="connsiteX2" fmla="*/ 109537 w 238125"/>
              <a:gd name="connsiteY2" fmla="*/ 833437 h 833437"/>
              <a:gd name="connsiteX3" fmla="*/ 0 w 238125"/>
              <a:gd name="connsiteY3" fmla="*/ 361950 h 833437"/>
              <a:gd name="connsiteX4" fmla="*/ 7144 w 238125"/>
              <a:gd name="connsiteY4" fmla="*/ 0 h 833437"/>
              <a:gd name="connsiteX0" fmla="*/ 7144 w 238125"/>
              <a:gd name="connsiteY0" fmla="*/ 0 h 833437"/>
              <a:gd name="connsiteX1" fmla="*/ 238125 w 238125"/>
              <a:gd name="connsiteY1" fmla="*/ 833437 h 833437"/>
              <a:gd name="connsiteX2" fmla="*/ 109537 w 238125"/>
              <a:gd name="connsiteY2" fmla="*/ 833437 h 833437"/>
              <a:gd name="connsiteX3" fmla="*/ 0 w 238125"/>
              <a:gd name="connsiteY3" fmla="*/ 361950 h 833437"/>
              <a:gd name="connsiteX4" fmla="*/ 7144 w 238125"/>
              <a:gd name="connsiteY4" fmla="*/ 0 h 833437"/>
              <a:gd name="connsiteX0" fmla="*/ 7144 w 238125"/>
              <a:gd name="connsiteY0" fmla="*/ 0 h 833437"/>
              <a:gd name="connsiteX1" fmla="*/ 238125 w 238125"/>
              <a:gd name="connsiteY1" fmla="*/ 833437 h 833437"/>
              <a:gd name="connsiteX2" fmla="*/ 109537 w 238125"/>
              <a:gd name="connsiteY2" fmla="*/ 833437 h 833437"/>
              <a:gd name="connsiteX3" fmla="*/ 0 w 238125"/>
              <a:gd name="connsiteY3" fmla="*/ 361950 h 833437"/>
              <a:gd name="connsiteX4" fmla="*/ 7144 w 238125"/>
              <a:gd name="connsiteY4" fmla="*/ 0 h 833437"/>
              <a:gd name="connsiteX0" fmla="*/ 7144 w 238125"/>
              <a:gd name="connsiteY0" fmla="*/ 0 h 833437"/>
              <a:gd name="connsiteX1" fmla="*/ 238125 w 238125"/>
              <a:gd name="connsiteY1" fmla="*/ 833437 h 833437"/>
              <a:gd name="connsiteX2" fmla="*/ 109537 w 238125"/>
              <a:gd name="connsiteY2" fmla="*/ 833437 h 833437"/>
              <a:gd name="connsiteX3" fmla="*/ 0 w 238125"/>
              <a:gd name="connsiteY3" fmla="*/ 361950 h 833437"/>
              <a:gd name="connsiteX4" fmla="*/ 7144 w 238125"/>
              <a:gd name="connsiteY4" fmla="*/ 0 h 833437"/>
              <a:gd name="connsiteX0" fmla="*/ 7144 w 238125"/>
              <a:gd name="connsiteY0" fmla="*/ 0 h 833437"/>
              <a:gd name="connsiteX1" fmla="*/ 238125 w 238125"/>
              <a:gd name="connsiteY1" fmla="*/ 833437 h 833437"/>
              <a:gd name="connsiteX2" fmla="*/ 109537 w 238125"/>
              <a:gd name="connsiteY2" fmla="*/ 833437 h 833437"/>
              <a:gd name="connsiteX3" fmla="*/ 0 w 238125"/>
              <a:gd name="connsiteY3" fmla="*/ 361950 h 833437"/>
              <a:gd name="connsiteX4" fmla="*/ 7144 w 238125"/>
              <a:gd name="connsiteY4" fmla="*/ 0 h 833437"/>
              <a:gd name="connsiteX0" fmla="*/ 7144 w 238125"/>
              <a:gd name="connsiteY0" fmla="*/ 0 h 833437"/>
              <a:gd name="connsiteX1" fmla="*/ 238125 w 238125"/>
              <a:gd name="connsiteY1" fmla="*/ 833437 h 833437"/>
              <a:gd name="connsiteX2" fmla="*/ 109537 w 238125"/>
              <a:gd name="connsiteY2" fmla="*/ 833437 h 833437"/>
              <a:gd name="connsiteX3" fmla="*/ 0 w 238125"/>
              <a:gd name="connsiteY3" fmla="*/ 361950 h 833437"/>
              <a:gd name="connsiteX4" fmla="*/ 7144 w 238125"/>
              <a:gd name="connsiteY4" fmla="*/ 0 h 833437"/>
              <a:gd name="connsiteX0" fmla="*/ 33338 w 238125"/>
              <a:gd name="connsiteY0" fmla="*/ 0 h 895350"/>
              <a:gd name="connsiteX1" fmla="*/ 238125 w 238125"/>
              <a:gd name="connsiteY1" fmla="*/ 895350 h 895350"/>
              <a:gd name="connsiteX2" fmla="*/ 109537 w 238125"/>
              <a:gd name="connsiteY2" fmla="*/ 895350 h 895350"/>
              <a:gd name="connsiteX3" fmla="*/ 0 w 238125"/>
              <a:gd name="connsiteY3" fmla="*/ 423863 h 895350"/>
              <a:gd name="connsiteX4" fmla="*/ 33338 w 238125"/>
              <a:gd name="connsiteY4" fmla="*/ 0 h 895350"/>
              <a:gd name="connsiteX0" fmla="*/ 9525 w 214312"/>
              <a:gd name="connsiteY0" fmla="*/ 0 h 895350"/>
              <a:gd name="connsiteX1" fmla="*/ 214312 w 214312"/>
              <a:gd name="connsiteY1" fmla="*/ 895350 h 895350"/>
              <a:gd name="connsiteX2" fmla="*/ 85724 w 214312"/>
              <a:gd name="connsiteY2" fmla="*/ 895350 h 895350"/>
              <a:gd name="connsiteX3" fmla="*/ 0 w 214312"/>
              <a:gd name="connsiteY3" fmla="*/ 350045 h 895350"/>
              <a:gd name="connsiteX4" fmla="*/ 9525 w 214312"/>
              <a:gd name="connsiteY4" fmla="*/ 0 h 895350"/>
              <a:gd name="connsiteX0" fmla="*/ 33337 w 238124"/>
              <a:gd name="connsiteY0" fmla="*/ 0 h 895350"/>
              <a:gd name="connsiteX1" fmla="*/ 238124 w 238124"/>
              <a:gd name="connsiteY1" fmla="*/ 895350 h 895350"/>
              <a:gd name="connsiteX2" fmla="*/ 109536 w 238124"/>
              <a:gd name="connsiteY2" fmla="*/ 895350 h 895350"/>
              <a:gd name="connsiteX3" fmla="*/ 0 w 238124"/>
              <a:gd name="connsiteY3" fmla="*/ 350045 h 895350"/>
              <a:gd name="connsiteX4" fmla="*/ 33337 w 238124"/>
              <a:gd name="connsiteY4" fmla="*/ 0 h 895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124" h="895350">
                <a:moveTo>
                  <a:pt x="33337" y="0"/>
                </a:moveTo>
                <a:cubicBezTo>
                  <a:pt x="129381" y="253999"/>
                  <a:pt x="215899" y="558007"/>
                  <a:pt x="238124" y="895350"/>
                </a:cubicBezTo>
                <a:lnTo>
                  <a:pt x="109536" y="895350"/>
                </a:lnTo>
                <a:cubicBezTo>
                  <a:pt x="94456" y="776289"/>
                  <a:pt x="74612" y="504826"/>
                  <a:pt x="0" y="350045"/>
                </a:cubicBezTo>
                <a:lnTo>
                  <a:pt x="33337" y="0"/>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7" name="Freeform 16"/>
          <p:cNvSpPr/>
          <p:nvPr/>
        </p:nvSpPr>
        <p:spPr bwMode="auto">
          <a:xfrm>
            <a:off x="6429829" y="4070887"/>
            <a:ext cx="500020" cy="1880085"/>
          </a:xfrm>
          <a:custGeom>
            <a:avLst/>
            <a:gdLst>
              <a:gd name="connsiteX0" fmla="*/ 7144 w 238125"/>
              <a:gd name="connsiteY0" fmla="*/ 0 h 833437"/>
              <a:gd name="connsiteX1" fmla="*/ 238125 w 238125"/>
              <a:gd name="connsiteY1" fmla="*/ 833437 h 833437"/>
              <a:gd name="connsiteX2" fmla="*/ 109537 w 238125"/>
              <a:gd name="connsiteY2" fmla="*/ 833437 h 833437"/>
              <a:gd name="connsiteX3" fmla="*/ 0 w 238125"/>
              <a:gd name="connsiteY3" fmla="*/ 361950 h 833437"/>
              <a:gd name="connsiteX4" fmla="*/ 7144 w 238125"/>
              <a:gd name="connsiteY4" fmla="*/ 0 h 833437"/>
              <a:gd name="connsiteX0" fmla="*/ 7144 w 238125"/>
              <a:gd name="connsiteY0" fmla="*/ 0 h 833437"/>
              <a:gd name="connsiteX1" fmla="*/ 238125 w 238125"/>
              <a:gd name="connsiteY1" fmla="*/ 833437 h 833437"/>
              <a:gd name="connsiteX2" fmla="*/ 109537 w 238125"/>
              <a:gd name="connsiteY2" fmla="*/ 833437 h 833437"/>
              <a:gd name="connsiteX3" fmla="*/ 0 w 238125"/>
              <a:gd name="connsiteY3" fmla="*/ 361950 h 833437"/>
              <a:gd name="connsiteX4" fmla="*/ 7144 w 238125"/>
              <a:gd name="connsiteY4" fmla="*/ 0 h 833437"/>
              <a:gd name="connsiteX0" fmla="*/ 7144 w 238125"/>
              <a:gd name="connsiteY0" fmla="*/ 0 h 833437"/>
              <a:gd name="connsiteX1" fmla="*/ 238125 w 238125"/>
              <a:gd name="connsiteY1" fmla="*/ 833437 h 833437"/>
              <a:gd name="connsiteX2" fmla="*/ 109537 w 238125"/>
              <a:gd name="connsiteY2" fmla="*/ 833437 h 833437"/>
              <a:gd name="connsiteX3" fmla="*/ 0 w 238125"/>
              <a:gd name="connsiteY3" fmla="*/ 361950 h 833437"/>
              <a:gd name="connsiteX4" fmla="*/ 7144 w 238125"/>
              <a:gd name="connsiteY4" fmla="*/ 0 h 833437"/>
              <a:gd name="connsiteX0" fmla="*/ 7144 w 238125"/>
              <a:gd name="connsiteY0" fmla="*/ 0 h 833437"/>
              <a:gd name="connsiteX1" fmla="*/ 238125 w 238125"/>
              <a:gd name="connsiteY1" fmla="*/ 833437 h 833437"/>
              <a:gd name="connsiteX2" fmla="*/ 109537 w 238125"/>
              <a:gd name="connsiteY2" fmla="*/ 833437 h 833437"/>
              <a:gd name="connsiteX3" fmla="*/ 0 w 238125"/>
              <a:gd name="connsiteY3" fmla="*/ 361950 h 833437"/>
              <a:gd name="connsiteX4" fmla="*/ 7144 w 238125"/>
              <a:gd name="connsiteY4" fmla="*/ 0 h 833437"/>
              <a:gd name="connsiteX0" fmla="*/ 7144 w 238125"/>
              <a:gd name="connsiteY0" fmla="*/ 0 h 833437"/>
              <a:gd name="connsiteX1" fmla="*/ 238125 w 238125"/>
              <a:gd name="connsiteY1" fmla="*/ 833437 h 833437"/>
              <a:gd name="connsiteX2" fmla="*/ 109537 w 238125"/>
              <a:gd name="connsiteY2" fmla="*/ 833437 h 833437"/>
              <a:gd name="connsiteX3" fmla="*/ 0 w 238125"/>
              <a:gd name="connsiteY3" fmla="*/ 361950 h 833437"/>
              <a:gd name="connsiteX4" fmla="*/ 7144 w 238125"/>
              <a:gd name="connsiteY4" fmla="*/ 0 h 833437"/>
              <a:gd name="connsiteX0" fmla="*/ 7144 w 238125"/>
              <a:gd name="connsiteY0" fmla="*/ 0 h 833437"/>
              <a:gd name="connsiteX1" fmla="*/ 238125 w 238125"/>
              <a:gd name="connsiteY1" fmla="*/ 833437 h 833437"/>
              <a:gd name="connsiteX2" fmla="*/ 109537 w 238125"/>
              <a:gd name="connsiteY2" fmla="*/ 833437 h 833437"/>
              <a:gd name="connsiteX3" fmla="*/ 0 w 238125"/>
              <a:gd name="connsiteY3" fmla="*/ 361950 h 833437"/>
              <a:gd name="connsiteX4" fmla="*/ 7144 w 238125"/>
              <a:gd name="connsiteY4" fmla="*/ 0 h 833437"/>
              <a:gd name="connsiteX0" fmla="*/ 33338 w 238125"/>
              <a:gd name="connsiteY0" fmla="*/ 0 h 895350"/>
              <a:gd name="connsiteX1" fmla="*/ 238125 w 238125"/>
              <a:gd name="connsiteY1" fmla="*/ 895350 h 895350"/>
              <a:gd name="connsiteX2" fmla="*/ 109537 w 238125"/>
              <a:gd name="connsiteY2" fmla="*/ 895350 h 895350"/>
              <a:gd name="connsiteX3" fmla="*/ 0 w 238125"/>
              <a:gd name="connsiteY3" fmla="*/ 423863 h 895350"/>
              <a:gd name="connsiteX4" fmla="*/ 33338 w 238125"/>
              <a:gd name="connsiteY4" fmla="*/ 0 h 895350"/>
              <a:gd name="connsiteX0" fmla="*/ 9525 w 214312"/>
              <a:gd name="connsiteY0" fmla="*/ 0 h 895350"/>
              <a:gd name="connsiteX1" fmla="*/ 214312 w 214312"/>
              <a:gd name="connsiteY1" fmla="*/ 895350 h 895350"/>
              <a:gd name="connsiteX2" fmla="*/ 85724 w 214312"/>
              <a:gd name="connsiteY2" fmla="*/ 895350 h 895350"/>
              <a:gd name="connsiteX3" fmla="*/ 0 w 214312"/>
              <a:gd name="connsiteY3" fmla="*/ 350045 h 895350"/>
              <a:gd name="connsiteX4" fmla="*/ 9525 w 214312"/>
              <a:gd name="connsiteY4" fmla="*/ 0 h 895350"/>
              <a:gd name="connsiteX0" fmla="*/ 33337 w 238124"/>
              <a:gd name="connsiteY0" fmla="*/ 0 h 895350"/>
              <a:gd name="connsiteX1" fmla="*/ 238124 w 238124"/>
              <a:gd name="connsiteY1" fmla="*/ 895350 h 895350"/>
              <a:gd name="connsiteX2" fmla="*/ 109536 w 238124"/>
              <a:gd name="connsiteY2" fmla="*/ 895350 h 895350"/>
              <a:gd name="connsiteX3" fmla="*/ 0 w 238124"/>
              <a:gd name="connsiteY3" fmla="*/ 350045 h 895350"/>
              <a:gd name="connsiteX4" fmla="*/ 33337 w 238124"/>
              <a:gd name="connsiteY4" fmla="*/ 0 h 895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124" h="895350">
                <a:moveTo>
                  <a:pt x="33337" y="0"/>
                </a:moveTo>
                <a:cubicBezTo>
                  <a:pt x="129381" y="253999"/>
                  <a:pt x="215899" y="558007"/>
                  <a:pt x="238124" y="895350"/>
                </a:cubicBezTo>
                <a:lnTo>
                  <a:pt x="109536" y="895350"/>
                </a:lnTo>
                <a:cubicBezTo>
                  <a:pt x="94456" y="776289"/>
                  <a:pt x="74612" y="504826"/>
                  <a:pt x="0" y="350045"/>
                </a:cubicBezTo>
                <a:lnTo>
                  <a:pt x="33337" y="0"/>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9" name="Freeform 18"/>
          <p:cNvSpPr/>
          <p:nvPr/>
        </p:nvSpPr>
        <p:spPr bwMode="auto">
          <a:xfrm>
            <a:off x="5406838" y="4000872"/>
            <a:ext cx="1103371" cy="1905083"/>
          </a:xfrm>
          <a:custGeom>
            <a:avLst/>
            <a:gdLst>
              <a:gd name="connsiteX0" fmla="*/ 0 w 608801"/>
              <a:gd name="connsiteY0" fmla="*/ 0 h 1019175"/>
              <a:gd name="connsiteX1" fmla="*/ 225692 w 608801"/>
              <a:gd name="connsiteY1" fmla="*/ 0 h 1019175"/>
              <a:gd name="connsiteX2" fmla="*/ 225420 w 608801"/>
              <a:gd name="connsiteY2" fmla="*/ 2381 h 1019175"/>
              <a:gd name="connsiteX3" fmla="*/ 306382 w 608801"/>
              <a:gd name="connsiteY3" fmla="*/ 569119 h 1019175"/>
              <a:gd name="connsiteX4" fmla="*/ 347756 w 608801"/>
              <a:gd name="connsiteY4" fmla="*/ 283964 h 1019175"/>
              <a:gd name="connsiteX5" fmla="*/ 379666 w 608801"/>
              <a:gd name="connsiteY5" fmla="*/ 0 h 1019175"/>
              <a:gd name="connsiteX6" fmla="*/ 608801 w 608801"/>
              <a:gd name="connsiteY6" fmla="*/ 0 h 1019175"/>
              <a:gd name="connsiteX7" fmla="*/ 608801 w 608801"/>
              <a:gd name="connsiteY7" fmla="*/ 1019175 h 1019175"/>
              <a:gd name="connsiteX8" fmla="*/ 0 w 608801"/>
              <a:gd name="connsiteY8" fmla="*/ 1019175 h 1019175"/>
              <a:gd name="connsiteX0" fmla="*/ 0 w 608801"/>
              <a:gd name="connsiteY0" fmla="*/ 0 h 1019175"/>
              <a:gd name="connsiteX1" fmla="*/ 225692 w 608801"/>
              <a:gd name="connsiteY1" fmla="*/ 0 h 1019175"/>
              <a:gd name="connsiteX2" fmla="*/ 225420 w 608801"/>
              <a:gd name="connsiteY2" fmla="*/ 2381 h 1019175"/>
              <a:gd name="connsiteX3" fmla="*/ 306382 w 608801"/>
              <a:gd name="connsiteY3" fmla="*/ 569119 h 1019175"/>
              <a:gd name="connsiteX4" fmla="*/ 347756 w 608801"/>
              <a:gd name="connsiteY4" fmla="*/ 283964 h 1019175"/>
              <a:gd name="connsiteX5" fmla="*/ 379666 w 608801"/>
              <a:gd name="connsiteY5" fmla="*/ 0 h 1019175"/>
              <a:gd name="connsiteX6" fmla="*/ 608801 w 608801"/>
              <a:gd name="connsiteY6" fmla="*/ 0 h 1019175"/>
              <a:gd name="connsiteX7" fmla="*/ 608801 w 608801"/>
              <a:gd name="connsiteY7" fmla="*/ 1019175 h 1019175"/>
              <a:gd name="connsiteX8" fmla="*/ 0 w 608801"/>
              <a:gd name="connsiteY8" fmla="*/ 1019175 h 1019175"/>
              <a:gd name="connsiteX9" fmla="*/ 0 w 608801"/>
              <a:gd name="connsiteY9" fmla="*/ 0 h 1019175"/>
              <a:gd name="connsiteX0" fmla="*/ 0 w 608801"/>
              <a:gd name="connsiteY0" fmla="*/ 28575 h 1047750"/>
              <a:gd name="connsiteX1" fmla="*/ 225692 w 608801"/>
              <a:gd name="connsiteY1" fmla="*/ 28575 h 1047750"/>
              <a:gd name="connsiteX2" fmla="*/ 225420 w 608801"/>
              <a:gd name="connsiteY2" fmla="*/ 30956 h 1047750"/>
              <a:gd name="connsiteX3" fmla="*/ 306382 w 608801"/>
              <a:gd name="connsiteY3" fmla="*/ 597694 h 1047750"/>
              <a:gd name="connsiteX4" fmla="*/ 347756 w 608801"/>
              <a:gd name="connsiteY4" fmla="*/ 312539 h 1047750"/>
              <a:gd name="connsiteX5" fmla="*/ 432054 w 608801"/>
              <a:gd name="connsiteY5" fmla="*/ 0 h 1047750"/>
              <a:gd name="connsiteX6" fmla="*/ 608801 w 608801"/>
              <a:gd name="connsiteY6" fmla="*/ 28575 h 1047750"/>
              <a:gd name="connsiteX7" fmla="*/ 608801 w 608801"/>
              <a:gd name="connsiteY7" fmla="*/ 1047750 h 1047750"/>
              <a:gd name="connsiteX8" fmla="*/ 0 w 608801"/>
              <a:gd name="connsiteY8" fmla="*/ 1047750 h 1047750"/>
              <a:gd name="connsiteX9" fmla="*/ 0 w 608801"/>
              <a:gd name="connsiteY9" fmla="*/ 28575 h 1047750"/>
              <a:gd name="connsiteX0" fmla="*/ 0 w 608801"/>
              <a:gd name="connsiteY0" fmla="*/ 28575 h 1047750"/>
              <a:gd name="connsiteX1" fmla="*/ 225692 w 608801"/>
              <a:gd name="connsiteY1" fmla="*/ 28575 h 1047750"/>
              <a:gd name="connsiteX2" fmla="*/ 306382 w 608801"/>
              <a:gd name="connsiteY2" fmla="*/ 597694 h 1047750"/>
              <a:gd name="connsiteX3" fmla="*/ 347756 w 608801"/>
              <a:gd name="connsiteY3" fmla="*/ 312539 h 1047750"/>
              <a:gd name="connsiteX4" fmla="*/ 432054 w 608801"/>
              <a:gd name="connsiteY4" fmla="*/ 0 h 1047750"/>
              <a:gd name="connsiteX5" fmla="*/ 608801 w 608801"/>
              <a:gd name="connsiteY5" fmla="*/ 28575 h 1047750"/>
              <a:gd name="connsiteX6" fmla="*/ 608801 w 608801"/>
              <a:gd name="connsiteY6" fmla="*/ 1047750 h 1047750"/>
              <a:gd name="connsiteX7" fmla="*/ 0 w 608801"/>
              <a:gd name="connsiteY7" fmla="*/ 1047750 h 1047750"/>
              <a:gd name="connsiteX8" fmla="*/ 0 w 608801"/>
              <a:gd name="connsiteY8" fmla="*/ 28575 h 1047750"/>
              <a:gd name="connsiteX0" fmla="*/ 0 w 608801"/>
              <a:gd name="connsiteY0" fmla="*/ 30956 h 1050131"/>
              <a:gd name="connsiteX1" fmla="*/ 213786 w 608801"/>
              <a:gd name="connsiteY1" fmla="*/ 0 h 1050131"/>
              <a:gd name="connsiteX2" fmla="*/ 306382 w 608801"/>
              <a:gd name="connsiteY2" fmla="*/ 600075 h 1050131"/>
              <a:gd name="connsiteX3" fmla="*/ 347756 w 608801"/>
              <a:gd name="connsiteY3" fmla="*/ 314920 h 1050131"/>
              <a:gd name="connsiteX4" fmla="*/ 432054 w 608801"/>
              <a:gd name="connsiteY4" fmla="*/ 2381 h 1050131"/>
              <a:gd name="connsiteX5" fmla="*/ 608801 w 608801"/>
              <a:gd name="connsiteY5" fmla="*/ 30956 h 1050131"/>
              <a:gd name="connsiteX6" fmla="*/ 608801 w 608801"/>
              <a:gd name="connsiteY6" fmla="*/ 1050131 h 1050131"/>
              <a:gd name="connsiteX7" fmla="*/ 0 w 608801"/>
              <a:gd name="connsiteY7" fmla="*/ 1050131 h 1050131"/>
              <a:gd name="connsiteX8" fmla="*/ 0 w 608801"/>
              <a:gd name="connsiteY8" fmla="*/ 30956 h 1050131"/>
              <a:gd name="connsiteX0" fmla="*/ 0 w 608801"/>
              <a:gd name="connsiteY0" fmla="*/ 30956 h 1050131"/>
              <a:gd name="connsiteX1" fmla="*/ 213786 w 608801"/>
              <a:gd name="connsiteY1" fmla="*/ 0 h 1050131"/>
              <a:gd name="connsiteX2" fmla="*/ 306382 w 608801"/>
              <a:gd name="connsiteY2" fmla="*/ 600075 h 1050131"/>
              <a:gd name="connsiteX3" fmla="*/ 347756 w 608801"/>
              <a:gd name="connsiteY3" fmla="*/ 314920 h 1050131"/>
              <a:gd name="connsiteX4" fmla="*/ 432054 w 608801"/>
              <a:gd name="connsiteY4" fmla="*/ 2381 h 1050131"/>
              <a:gd name="connsiteX5" fmla="*/ 589751 w 608801"/>
              <a:gd name="connsiteY5" fmla="*/ 26194 h 1050131"/>
              <a:gd name="connsiteX6" fmla="*/ 608801 w 608801"/>
              <a:gd name="connsiteY6" fmla="*/ 1050131 h 1050131"/>
              <a:gd name="connsiteX7" fmla="*/ 0 w 608801"/>
              <a:gd name="connsiteY7" fmla="*/ 1050131 h 1050131"/>
              <a:gd name="connsiteX8" fmla="*/ 0 w 608801"/>
              <a:gd name="connsiteY8" fmla="*/ 30956 h 1050131"/>
              <a:gd name="connsiteX0" fmla="*/ 64294 w 608801"/>
              <a:gd name="connsiteY0" fmla="*/ 26193 h 1050131"/>
              <a:gd name="connsiteX1" fmla="*/ 213786 w 608801"/>
              <a:gd name="connsiteY1" fmla="*/ 0 h 1050131"/>
              <a:gd name="connsiteX2" fmla="*/ 306382 w 608801"/>
              <a:gd name="connsiteY2" fmla="*/ 600075 h 1050131"/>
              <a:gd name="connsiteX3" fmla="*/ 347756 w 608801"/>
              <a:gd name="connsiteY3" fmla="*/ 314920 h 1050131"/>
              <a:gd name="connsiteX4" fmla="*/ 432054 w 608801"/>
              <a:gd name="connsiteY4" fmla="*/ 2381 h 1050131"/>
              <a:gd name="connsiteX5" fmla="*/ 589751 w 608801"/>
              <a:gd name="connsiteY5" fmla="*/ 26194 h 1050131"/>
              <a:gd name="connsiteX6" fmla="*/ 608801 w 608801"/>
              <a:gd name="connsiteY6" fmla="*/ 1050131 h 1050131"/>
              <a:gd name="connsiteX7" fmla="*/ 0 w 608801"/>
              <a:gd name="connsiteY7" fmla="*/ 1050131 h 1050131"/>
              <a:gd name="connsiteX8" fmla="*/ 64294 w 608801"/>
              <a:gd name="connsiteY8" fmla="*/ 26193 h 1050131"/>
              <a:gd name="connsiteX0" fmla="*/ 0 w 544507"/>
              <a:gd name="connsiteY0" fmla="*/ 26193 h 1050131"/>
              <a:gd name="connsiteX1" fmla="*/ 149492 w 544507"/>
              <a:gd name="connsiteY1" fmla="*/ 0 h 1050131"/>
              <a:gd name="connsiteX2" fmla="*/ 242088 w 544507"/>
              <a:gd name="connsiteY2" fmla="*/ 600075 h 1050131"/>
              <a:gd name="connsiteX3" fmla="*/ 283462 w 544507"/>
              <a:gd name="connsiteY3" fmla="*/ 314920 h 1050131"/>
              <a:gd name="connsiteX4" fmla="*/ 367760 w 544507"/>
              <a:gd name="connsiteY4" fmla="*/ 2381 h 1050131"/>
              <a:gd name="connsiteX5" fmla="*/ 525457 w 544507"/>
              <a:gd name="connsiteY5" fmla="*/ 26194 h 1050131"/>
              <a:gd name="connsiteX6" fmla="*/ 544507 w 544507"/>
              <a:gd name="connsiteY6" fmla="*/ 1050131 h 1050131"/>
              <a:gd name="connsiteX7" fmla="*/ 14287 w 544507"/>
              <a:gd name="connsiteY7" fmla="*/ 900112 h 1050131"/>
              <a:gd name="connsiteX8" fmla="*/ 0 w 544507"/>
              <a:gd name="connsiteY8" fmla="*/ 26193 h 1050131"/>
              <a:gd name="connsiteX0" fmla="*/ 0 w 525457"/>
              <a:gd name="connsiteY0" fmla="*/ 26193 h 902493"/>
              <a:gd name="connsiteX1" fmla="*/ 149492 w 525457"/>
              <a:gd name="connsiteY1" fmla="*/ 0 h 902493"/>
              <a:gd name="connsiteX2" fmla="*/ 242088 w 525457"/>
              <a:gd name="connsiteY2" fmla="*/ 600075 h 902493"/>
              <a:gd name="connsiteX3" fmla="*/ 283462 w 525457"/>
              <a:gd name="connsiteY3" fmla="*/ 314920 h 902493"/>
              <a:gd name="connsiteX4" fmla="*/ 367760 w 525457"/>
              <a:gd name="connsiteY4" fmla="*/ 2381 h 902493"/>
              <a:gd name="connsiteX5" fmla="*/ 525457 w 525457"/>
              <a:gd name="connsiteY5" fmla="*/ 26194 h 902493"/>
              <a:gd name="connsiteX6" fmla="*/ 511169 w 525457"/>
              <a:gd name="connsiteY6" fmla="*/ 902493 h 902493"/>
              <a:gd name="connsiteX7" fmla="*/ 14287 w 525457"/>
              <a:gd name="connsiteY7" fmla="*/ 900112 h 902493"/>
              <a:gd name="connsiteX8" fmla="*/ 0 w 525457"/>
              <a:gd name="connsiteY8" fmla="*/ 26193 h 902493"/>
              <a:gd name="connsiteX0" fmla="*/ 0 w 525457"/>
              <a:gd name="connsiteY0" fmla="*/ 26193 h 902493"/>
              <a:gd name="connsiteX1" fmla="*/ 149492 w 525457"/>
              <a:gd name="connsiteY1" fmla="*/ 0 h 902493"/>
              <a:gd name="connsiteX2" fmla="*/ 283462 w 525457"/>
              <a:gd name="connsiteY2" fmla="*/ 314920 h 902493"/>
              <a:gd name="connsiteX3" fmla="*/ 367760 w 525457"/>
              <a:gd name="connsiteY3" fmla="*/ 2381 h 902493"/>
              <a:gd name="connsiteX4" fmla="*/ 525457 w 525457"/>
              <a:gd name="connsiteY4" fmla="*/ 26194 h 902493"/>
              <a:gd name="connsiteX5" fmla="*/ 511169 w 525457"/>
              <a:gd name="connsiteY5" fmla="*/ 902493 h 902493"/>
              <a:gd name="connsiteX6" fmla="*/ 14287 w 525457"/>
              <a:gd name="connsiteY6" fmla="*/ 900112 h 902493"/>
              <a:gd name="connsiteX7" fmla="*/ 0 w 525457"/>
              <a:gd name="connsiteY7" fmla="*/ 26193 h 902493"/>
              <a:gd name="connsiteX0" fmla="*/ 0 w 525457"/>
              <a:gd name="connsiteY0" fmla="*/ 26193 h 902493"/>
              <a:gd name="connsiteX1" fmla="*/ 149492 w 525457"/>
              <a:gd name="connsiteY1" fmla="*/ 0 h 902493"/>
              <a:gd name="connsiteX2" fmla="*/ 264412 w 525457"/>
              <a:gd name="connsiteY2" fmla="*/ 172045 h 902493"/>
              <a:gd name="connsiteX3" fmla="*/ 367760 w 525457"/>
              <a:gd name="connsiteY3" fmla="*/ 2381 h 902493"/>
              <a:gd name="connsiteX4" fmla="*/ 525457 w 525457"/>
              <a:gd name="connsiteY4" fmla="*/ 26194 h 902493"/>
              <a:gd name="connsiteX5" fmla="*/ 511169 w 525457"/>
              <a:gd name="connsiteY5" fmla="*/ 902493 h 902493"/>
              <a:gd name="connsiteX6" fmla="*/ 14287 w 525457"/>
              <a:gd name="connsiteY6" fmla="*/ 900112 h 902493"/>
              <a:gd name="connsiteX7" fmla="*/ 0 w 525457"/>
              <a:gd name="connsiteY7" fmla="*/ 26193 h 902493"/>
              <a:gd name="connsiteX0" fmla="*/ 0 w 525457"/>
              <a:gd name="connsiteY0" fmla="*/ 26193 h 902493"/>
              <a:gd name="connsiteX1" fmla="*/ 149492 w 525457"/>
              <a:gd name="connsiteY1" fmla="*/ 0 h 902493"/>
              <a:gd name="connsiteX2" fmla="*/ 264412 w 525457"/>
              <a:gd name="connsiteY2" fmla="*/ 172045 h 902493"/>
              <a:gd name="connsiteX3" fmla="*/ 367760 w 525457"/>
              <a:gd name="connsiteY3" fmla="*/ 2381 h 902493"/>
              <a:gd name="connsiteX4" fmla="*/ 525457 w 525457"/>
              <a:gd name="connsiteY4" fmla="*/ 26194 h 902493"/>
              <a:gd name="connsiteX5" fmla="*/ 511169 w 525457"/>
              <a:gd name="connsiteY5" fmla="*/ 902493 h 902493"/>
              <a:gd name="connsiteX6" fmla="*/ 14287 w 525457"/>
              <a:gd name="connsiteY6" fmla="*/ 900112 h 902493"/>
              <a:gd name="connsiteX7" fmla="*/ 0 w 525457"/>
              <a:gd name="connsiteY7" fmla="*/ 26193 h 902493"/>
              <a:gd name="connsiteX0" fmla="*/ 0 w 525457"/>
              <a:gd name="connsiteY0" fmla="*/ 26193 h 902493"/>
              <a:gd name="connsiteX1" fmla="*/ 149492 w 525457"/>
              <a:gd name="connsiteY1" fmla="*/ 0 h 902493"/>
              <a:gd name="connsiteX2" fmla="*/ 257268 w 525457"/>
              <a:gd name="connsiteY2" fmla="*/ 174427 h 902493"/>
              <a:gd name="connsiteX3" fmla="*/ 367760 w 525457"/>
              <a:gd name="connsiteY3" fmla="*/ 2381 h 902493"/>
              <a:gd name="connsiteX4" fmla="*/ 525457 w 525457"/>
              <a:gd name="connsiteY4" fmla="*/ 26194 h 902493"/>
              <a:gd name="connsiteX5" fmla="*/ 511169 w 525457"/>
              <a:gd name="connsiteY5" fmla="*/ 902493 h 902493"/>
              <a:gd name="connsiteX6" fmla="*/ 14287 w 525457"/>
              <a:gd name="connsiteY6" fmla="*/ 900112 h 902493"/>
              <a:gd name="connsiteX7" fmla="*/ 0 w 525457"/>
              <a:gd name="connsiteY7" fmla="*/ 26193 h 902493"/>
              <a:gd name="connsiteX0" fmla="*/ 0 w 525457"/>
              <a:gd name="connsiteY0" fmla="*/ 26193 h 902493"/>
              <a:gd name="connsiteX1" fmla="*/ 149492 w 525457"/>
              <a:gd name="connsiteY1" fmla="*/ 0 h 902493"/>
              <a:gd name="connsiteX2" fmla="*/ 257268 w 525457"/>
              <a:gd name="connsiteY2" fmla="*/ 174427 h 902493"/>
              <a:gd name="connsiteX3" fmla="*/ 367760 w 525457"/>
              <a:gd name="connsiteY3" fmla="*/ 2381 h 902493"/>
              <a:gd name="connsiteX4" fmla="*/ 525457 w 525457"/>
              <a:gd name="connsiteY4" fmla="*/ 26194 h 902493"/>
              <a:gd name="connsiteX5" fmla="*/ 511169 w 525457"/>
              <a:gd name="connsiteY5" fmla="*/ 902493 h 902493"/>
              <a:gd name="connsiteX6" fmla="*/ 14287 w 525457"/>
              <a:gd name="connsiteY6" fmla="*/ 900112 h 902493"/>
              <a:gd name="connsiteX7" fmla="*/ 0 w 525457"/>
              <a:gd name="connsiteY7" fmla="*/ 26193 h 902493"/>
              <a:gd name="connsiteX0" fmla="*/ 0 w 525457"/>
              <a:gd name="connsiteY0" fmla="*/ 30955 h 907255"/>
              <a:gd name="connsiteX1" fmla="*/ 149492 w 525457"/>
              <a:gd name="connsiteY1" fmla="*/ 0 h 907255"/>
              <a:gd name="connsiteX2" fmla="*/ 257268 w 525457"/>
              <a:gd name="connsiteY2" fmla="*/ 179189 h 907255"/>
              <a:gd name="connsiteX3" fmla="*/ 367760 w 525457"/>
              <a:gd name="connsiteY3" fmla="*/ 7143 h 907255"/>
              <a:gd name="connsiteX4" fmla="*/ 525457 w 525457"/>
              <a:gd name="connsiteY4" fmla="*/ 30956 h 907255"/>
              <a:gd name="connsiteX5" fmla="*/ 511169 w 525457"/>
              <a:gd name="connsiteY5" fmla="*/ 907255 h 907255"/>
              <a:gd name="connsiteX6" fmla="*/ 14287 w 525457"/>
              <a:gd name="connsiteY6" fmla="*/ 904874 h 907255"/>
              <a:gd name="connsiteX7" fmla="*/ 0 w 525457"/>
              <a:gd name="connsiteY7" fmla="*/ 30955 h 907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5457" h="907255">
                <a:moveTo>
                  <a:pt x="0" y="30955"/>
                </a:moveTo>
                <a:lnTo>
                  <a:pt x="149492" y="0"/>
                </a:lnTo>
                <a:cubicBezTo>
                  <a:pt x="196736" y="48121"/>
                  <a:pt x="199808" y="93166"/>
                  <a:pt x="257268" y="179189"/>
                </a:cubicBezTo>
                <a:lnTo>
                  <a:pt x="367760" y="7143"/>
                </a:lnTo>
                <a:lnTo>
                  <a:pt x="525457" y="30956"/>
                </a:lnTo>
                <a:lnTo>
                  <a:pt x="511169" y="907255"/>
                </a:lnTo>
                <a:lnTo>
                  <a:pt x="14287" y="904874"/>
                </a:lnTo>
                <a:lnTo>
                  <a:pt x="0" y="30955"/>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0" name="Freeform 19"/>
          <p:cNvSpPr/>
          <p:nvPr/>
        </p:nvSpPr>
        <p:spPr bwMode="auto">
          <a:xfrm rot="5400000">
            <a:off x="5546008" y="3346555"/>
            <a:ext cx="825032" cy="650028"/>
          </a:xfrm>
          <a:custGeom>
            <a:avLst/>
            <a:gdLst>
              <a:gd name="connsiteX0" fmla="*/ 0 w 392904"/>
              <a:gd name="connsiteY0" fmla="*/ 184191 h 309562"/>
              <a:gd name="connsiteX1" fmla="*/ 0 w 392904"/>
              <a:gd name="connsiteY1" fmla="*/ 125371 h 309562"/>
              <a:gd name="connsiteX2" fmla="*/ 95323 w 392904"/>
              <a:gd name="connsiteY2" fmla="*/ 30048 h 309562"/>
              <a:gd name="connsiteX3" fmla="*/ 107911 w 392904"/>
              <a:gd name="connsiteY3" fmla="*/ 30048 h 309562"/>
              <a:gd name="connsiteX4" fmla="*/ 116458 w 392904"/>
              <a:gd name="connsiteY4" fmla="*/ 9416 h 309562"/>
              <a:gd name="connsiteX5" fmla="*/ 139189 w 392904"/>
              <a:gd name="connsiteY5" fmla="*/ 0 h 309562"/>
              <a:gd name="connsiteX6" fmla="*/ 182279 w 392904"/>
              <a:gd name="connsiteY6" fmla="*/ 0 h 309562"/>
              <a:gd name="connsiteX7" fmla="*/ 205010 w 392904"/>
              <a:gd name="connsiteY7" fmla="*/ 9416 h 309562"/>
              <a:gd name="connsiteX8" fmla="*/ 213557 w 392904"/>
              <a:gd name="connsiteY8" fmla="*/ 30048 h 309562"/>
              <a:gd name="connsiteX9" fmla="*/ 252339 w 392904"/>
              <a:gd name="connsiteY9" fmla="*/ 30048 h 309562"/>
              <a:gd name="connsiteX10" fmla="*/ 319742 w 392904"/>
              <a:gd name="connsiteY10" fmla="*/ 57968 h 309562"/>
              <a:gd name="connsiteX11" fmla="*/ 336441 w 392904"/>
              <a:gd name="connsiteY11" fmla="*/ 82735 h 309562"/>
              <a:gd name="connsiteX12" fmla="*/ 357186 w 392904"/>
              <a:gd name="connsiteY12" fmla="*/ 80848 h 309562"/>
              <a:gd name="connsiteX13" fmla="*/ 392904 w 392904"/>
              <a:gd name="connsiteY13" fmla="*/ 152286 h 309562"/>
              <a:gd name="connsiteX14" fmla="*/ 357186 w 392904"/>
              <a:gd name="connsiteY14" fmla="*/ 235629 h 309562"/>
              <a:gd name="connsiteX15" fmla="*/ 330992 w 392904"/>
              <a:gd name="connsiteY15" fmla="*/ 235629 h 309562"/>
              <a:gd name="connsiteX16" fmla="*/ 330992 w 392904"/>
              <a:gd name="connsiteY16" fmla="*/ 234909 h 309562"/>
              <a:gd name="connsiteX17" fmla="*/ 319742 w 392904"/>
              <a:gd name="connsiteY17" fmla="*/ 251594 h 309562"/>
              <a:gd name="connsiteX18" fmla="*/ 252339 w 392904"/>
              <a:gd name="connsiteY18" fmla="*/ 279514 h 309562"/>
              <a:gd name="connsiteX19" fmla="*/ 213557 w 392904"/>
              <a:gd name="connsiteY19" fmla="*/ 279514 h 309562"/>
              <a:gd name="connsiteX20" fmla="*/ 205010 w 392904"/>
              <a:gd name="connsiteY20" fmla="*/ 300146 h 309562"/>
              <a:gd name="connsiteX21" fmla="*/ 182279 w 392904"/>
              <a:gd name="connsiteY21" fmla="*/ 309562 h 309562"/>
              <a:gd name="connsiteX22" fmla="*/ 139189 w 392904"/>
              <a:gd name="connsiteY22" fmla="*/ 309562 h 309562"/>
              <a:gd name="connsiteX23" fmla="*/ 116458 w 392904"/>
              <a:gd name="connsiteY23" fmla="*/ 300146 h 309562"/>
              <a:gd name="connsiteX24" fmla="*/ 107911 w 392904"/>
              <a:gd name="connsiteY24" fmla="*/ 279514 h 309562"/>
              <a:gd name="connsiteX25" fmla="*/ 95323 w 392904"/>
              <a:gd name="connsiteY25" fmla="*/ 279514 h 309562"/>
              <a:gd name="connsiteX26" fmla="*/ 0 w 392904"/>
              <a:gd name="connsiteY26" fmla="*/ 184191 h 309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92904" h="309562">
                <a:moveTo>
                  <a:pt x="0" y="184191"/>
                </a:moveTo>
                <a:lnTo>
                  <a:pt x="0" y="125371"/>
                </a:lnTo>
                <a:cubicBezTo>
                  <a:pt x="0" y="72726"/>
                  <a:pt x="42678" y="30048"/>
                  <a:pt x="95323" y="30048"/>
                </a:cubicBezTo>
                <a:lnTo>
                  <a:pt x="107911" y="30048"/>
                </a:lnTo>
                <a:lnTo>
                  <a:pt x="116458" y="9416"/>
                </a:lnTo>
                <a:cubicBezTo>
                  <a:pt x="122275" y="3598"/>
                  <a:pt x="130312" y="0"/>
                  <a:pt x="139189" y="0"/>
                </a:cubicBezTo>
                <a:lnTo>
                  <a:pt x="182279" y="0"/>
                </a:lnTo>
                <a:cubicBezTo>
                  <a:pt x="191156" y="0"/>
                  <a:pt x="199193" y="3598"/>
                  <a:pt x="205010" y="9416"/>
                </a:cubicBezTo>
                <a:lnTo>
                  <a:pt x="213557" y="30048"/>
                </a:lnTo>
                <a:lnTo>
                  <a:pt x="252339" y="30048"/>
                </a:lnTo>
                <a:cubicBezTo>
                  <a:pt x="278662" y="30048"/>
                  <a:pt x="302492" y="40718"/>
                  <a:pt x="319742" y="57968"/>
                </a:cubicBezTo>
                <a:lnTo>
                  <a:pt x="336441" y="82735"/>
                </a:lnTo>
                <a:lnTo>
                  <a:pt x="357186" y="80848"/>
                </a:lnTo>
                <a:lnTo>
                  <a:pt x="392904" y="152286"/>
                </a:lnTo>
                <a:lnTo>
                  <a:pt x="357186" y="235629"/>
                </a:lnTo>
                <a:lnTo>
                  <a:pt x="330992" y="235629"/>
                </a:lnTo>
                <a:lnTo>
                  <a:pt x="330992" y="234909"/>
                </a:lnTo>
                <a:lnTo>
                  <a:pt x="319742" y="251594"/>
                </a:lnTo>
                <a:cubicBezTo>
                  <a:pt x="302492" y="268845"/>
                  <a:pt x="278662" y="279514"/>
                  <a:pt x="252339" y="279514"/>
                </a:cubicBezTo>
                <a:lnTo>
                  <a:pt x="213557" y="279514"/>
                </a:lnTo>
                <a:lnTo>
                  <a:pt x="205010" y="300146"/>
                </a:lnTo>
                <a:cubicBezTo>
                  <a:pt x="199193" y="305964"/>
                  <a:pt x="191156" y="309562"/>
                  <a:pt x="182279" y="309562"/>
                </a:cubicBezTo>
                <a:lnTo>
                  <a:pt x="139189" y="309562"/>
                </a:lnTo>
                <a:cubicBezTo>
                  <a:pt x="130312" y="309562"/>
                  <a:pt x="122275" y="305964"/>
                  <a:pt x="116458" y="300146"/>
                </a:cubicBezTo>
                <a:lnTo>
                  <a:pt x="107911" y="279514"/>
                </a:lnTo>
                <a:lnTo>
                  <a:pt x="95323" y="279514"/>
                </a:lnTo>
                <a:cubicBezTo>
                  <a:pt x="42678" y="279514"/>
                  <a:pt x="0" y="236836"/>
                  <a:pt x="0" y="184191"/>
                </a:cubicBezTo>
                <a:close/>
              </a:path>
            </a:pathLst>
          </a:cu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1" name="Freeform 20"/>
          <p:cNvSpPr/>
          <p:nvPr/>
        </p:nvSpPr>
        <p:spPr bwMode="auto">
          <a:xfrm>
            <a:off x="5642346" y="3159985"/>
            <a:ext cx="633954" cy="410863"/>
          </a:xfrm>
          <a:custGeom>
            <a:avLst/>
            <a:gdLst>
              <a:gd name="connsiteX0" fmla="*/ 300038 w 300038"/>
              <a:gd name="connsiteY0" fmla="*/ 190500 h 190500"/>
              <a:gd name="connsiteX1" fmla="*/ 271463 w 300038"/>
              <a:gd name="connsiteY1" fmla="*/ 116681 h 190500"/>
              <a:gd name="connsiteX2" fmla="*/ 195263 w 300038"/>
              <a:gd name="connsiteY2" fmla="*/ 107156 h 190500"/>
              <a:gd name="connsiteX3" fmla="*/ 52388 w 300038"/>
              <a:gd name="connsiteY3" fmla="*/ 100012 h 190500"/>
              <a:gd name="connsiteX4" fmla="*/ 21431 w 300038"/>
              <a:gd name="connsiteY4" fmla="*/ 119062 h 190500"/>
              <a:gd name="connsiteX5" fmla="*/ 23813 w 300038"/>
              <a:gd name="connsiteY5" fmla="*/ 164306 h 190500"/>
              <a:gd name="connsiteX6" fmla="*/ 0 w 300038"/>
              <a:gd name="connsiteY6" fmla="*/ 171450 h 190500"/>
              <a:gd name="connsiteX7" fmla="*/ 97631 w 300038"/>
              <a:gd name="connsiteY7" fmla="*/ 0 h 190500"/>
              <a:gd name="connsiteX8" fmla="*/ 214313 w 300038"/>
              <a:gd name="connsiteY8" fmla="*/ 40481 h 190500"/>
              <a:gd name="connsiteX9" fmla="*/ 300038 w 300038"/>
              <a:gd name="connsiteY9" fmla="*/ 190500 h 190500"/>
              <a:gd name="connsiteX0" fmla="*/ 300038 w 300038"/>
              <a:gd name="connsiteY0" fmla="*/ 190500 h 190500"/>
              <a:gd name="connsiteX1" fmla="*/ 271463 w 300038"/>
              <a:gd name="connsiteY1" fmla="*/ 116681 h 190500"/>
              <a:gd name="connsiteX2" fmla="*/ 195263 w 300038"/>
              <a:gd name="connsiteY2" fmla="*/ 107156 h 190500"/>
              <a:gd name="connsiteX3" fmla="*/ 52388 w 300038"/>
              <a:gd name="connsiteY3" fmla="*/ 100012 h 190500"/>
              <a:gd name="connsiteX4" fmla="*/ 21431 w 300038"/>
              <a:gd name="connsiteY4" fmla="*/ 119062 h 190500"/>
              <a:gd name="connsiteX5" fmla="*/ 23813 w 300038"/>
              <a:gd name="connsiteY5" fmla="*/ 164306 h 190500"/>
              <a:gd name="connsiteX6" fmla="*/ 0 w 300038"/>
              <a:gd name="connsiteY6" fmla="*/ 171450 h 190500"/>
              <a:gd name="connsiteX7" fmla="*/ 97631 w 300038"/>
              <a:gd name="connsiteY7" fmla="*/ 0 h 190500"/>
              <a:gd name="connsiteX8" fmla="*/ 214313 w 300038"/>
              <a:gd name="connsiteY8" fmla="*/ 40481 h 190500"/>
              <a:gd name="connsiteX9" fmla="*/ 300038 w 300038"/>
              <a:gd name="connsiteY9" fmla="*/ 190500 h 190500"/>
              <a:gd name="connsiteX0" fmla="*/ 300038 w 300038"/>
              <a:gd name="connsiteY0" fmla="*/ 190500 h 190500"/>
              <a:gd name="connsiteX1" fmla="*/ 271463 w 300038"/>
              <a:gd name="connsiteY1" fmla="*/ 116681 h 190500"/>
              <a:gd name="connsiteX2" fmla="*/ 195263 w 300038"/>
              <a:gd name="connsiteY2" fmla="*/ 107156 h 190500"/>
              <a:gd name="connsiteX3" fmla="*/ 52388 w 300038"/>
              <a:gd name="connsiteY3" fmla="*/ 100012 h 190500"/>
              <a:gd name="connsiteX4" fmla="*/ 21431 w 300038"/>
              <a:gd name="connsiteY4" fmla="*/ 119062 h 190500"/>
              <a:gd name="connsiteX5" fmla="*/ 23813 w 300038"/>
              <a:gd name="connsiteY5" fmla="*/ 164306 h 190500"/>
              <a:gd name="connsiteX6" fmla="*/ 0 w 300038"/>
              <a:gd name="connsiteY6" fmla="*/ 171450 h 190500"/>
              <a:gd name="connsiteX7" fmla="*/ 97631 w 300038"/>
              <a:gd name="connsiteY7" fmla="*/ 0 h 190500"/>
              <a:gd name="connsiteX8" fmla="*/ 214313 w 300038"/>
              <a:gd name="connsiteY8" fmla="*/ 40481 h 190500"/>
              <a:gd name="connsiteX9" fmla="*/ 300038 w 300038"/>
              <a:gd name="connsiteY9" fmla="*/ 190500 h 190500"/>
              <a:gd name="connsiteX0" fmla="*/ 300038 w 301649"/>
              <a:gd name="connsiteY0" fmla="*/ 190500 h 190500"/>
              <a:gd name="connsiteX1" fmla="*/ 271463 w 301649"/>
              <a:gd name="connsiteY1" fmla="*/ 116681 h 190500"/>
              <a:gd name="connsiteX2" fmla="*/ 195263 w 301649"/>
              <a:gd name="connsiteY2" fmla="*/ 107156 h 190500"/>
              <a:gd name="connsiteX3" fmla="*/ 52388 w 301649"/>
              <a:gd name="connsiteY3" fmla="*/ 100012 h 190500"/>
              <a:gd name="connsiteX4" fmla="*/ 21431 w 301649"/>
              <a:gd name="connsiteY4" fmla="*/ 119062 h 190500"/>
              <a:gd name="connsiteX5" fmla="*/ 23813 w 301649"/>
              <a:gd name="connsiteY5" fmla="*/ 164306 h 190500"/>
              <a:gd name="connsiteX6" fmla="*/ 0 w 301649"/>
              <a:gd name="connsiteY6" fmla="*/ 171450 h 190500"/>
              <a:gd name="connsiteX7" fmla="*/ 97631 w 301649"/>
              <a:gd name="connsiteY7" fmla="*/ 0 h 190500"/>
              <a:gd name="connsiteX8" fmla="*/ 214313 w 301649"/>
              <a:gd name="connsiteY8" fmla="*/ 40481 h 190500"/>
              <a:gd name="connsiteX9" fmla="*/ 300038 w 301649"/>
              <a:gd name="connsiteY9" fmla="*/ 190500 h 190500"/>
              <a:gd name="connsiteX0" fmla="*/ 300038 w 301649"/>
              <a:gd name="connsiteY0" fmla="*/ 194507 h 194507"/>
              <a:gd name="connsiteX1" fmla="*/ 271463 w 301649"/>
              <a:gd name="connsiteY1" fmla="*/ 120688 h 194507"/>
              <a:gd name="connsiteX2" fmla="*/ 195263 w 301649"/>
              <a:gd name="connsiteY2" fmla="*/ 111163 h 194507"/>
              <a:gd name="connsiteX3" fmla="*/ 52388 w 301649"/>
              <a:gd name="connsiteY3" fmla="*/ 104019 h 194507"/>
              <a:gd name="connsiteX4" fmla="*/ 21431 w 301649"/>
              <a:gd name="connsiteY4" fmla="*/ 123069 h 194507"/>
              <a:gd name="connsiteX5" fmla="*/ 23813 w 301649"/>
              <a:gd name="connsiteY5" fmla="*/ 168313 h 194507"/>
              <a:gd name="connsiteX6" fmla="*/ 0 w 301649"/>
              <a:gd name="connsiteY6" fmla="*/ 175457 h 194507"/>
              <a:gd name="connsiteX7" fmla="*/ 97631 w 301649"/>
              <a:gd name="connsiteY7" fmla="*/ 4007 h 194507"/>
              <a:gd name="connsiteX8" fmla="*/ 214313 w 301649"/>
              <a:gd name="connsiteY8" fmla="*/ 44488 h 194507"/>
              <a:gd name="connsiteX9" fmla="*/ 300038 w 301649"/>
              <a:gd name="connsiteY9" fmla="*/ 194507 h 194507"/>
              <a:gd name="connsiteX0" fmla="*/ 300038 w 301649"/>
              <a:gd name="connsiteY0" fmla="*/ 195665 h 195665"/>
              <a:gd name="connsiteX1" fmla="*/ 271463 w 301649"/>
              <a:gd name="connsiteY1" fmla="*/ 121846 h 195665"/>
              <a:gd name="connsiteX2" fmla="*/ 195263 w 301649"/>
              <a:gd name="connsiteY2" fmla="*/ 112321 h 195665"/>
              <a:gd name="connsiteX3" fmla="*/ 52388 w 301649"/>
              <a:gd name="connsiteY3" fmla="*/ 105177 h 195665"/>
              <a:gd name="connsiteX4" fmla="*/ 21431 w 301649"/>
              <a:gd name="connsiteY4" fmla="*/ 124227 h 195665"/>
              <a:gd name="connsiteX5" fmla="*/ 23813 w 301649"/>
              <a:gd name="connsiteY5" fmla="*/ 169471 h 195665"/>
              <a:gd name="connsiteX6" fmla="*/ 0 w 301649"/>
              <a:gd name="connsiteY6" fmla="*/ 176615 h 195665"/>
              <a:gd name="connsiteX7" fmla="*/ 97631 w 301649"/>
              <a:gd name="connsiteY7" fmla="*/ 5165 h 195665"/>
              <a:gd name="connsiteX8" fmla="*/ 214313 w 301649"/>
              <a:gd name="connsiteY8" fmla="*/ 45646 h 195665"/>
              <a:gd name="connsiteX9" fmla="*/ 300038 w 301649"/>
              <a:gd name="connsiteY9" fmla="*/ 195665 h 195665"/>
              <a:gd name="connsiteX0" fmla="*/ 300038 w 301649"/>
              <a:gd name="connsiteY0" fmla="*/ 195665 h 195665"/>
              <a:gd name="connsiteX1" fmla="*/ 271463 w 301649"/>
              <a:gd name="connsiteY1" fmla="*/ 121846 h 195665"/>
              <a:gd name="connsiteX2" fmla="*/ 195263 w 301649"/>
              <a:gd name="connsiteY2" fmla="*/ 112321 h 195665"/>
              <a:gd name="connsiteX3" fmla="*/ 52388 w 301649"/>
              <a:gd name="connsiteY3" fmla="*/ 105177 h 195665"/>
              <a:gd name="connsiteX4" fmla="*/ 45243 w 301649"/>
              <a:gd name="connsiteY4" fmla="*/ 150420 h 195665"/>
              <a:gd name="connsiteX5" fmla="*/ 23813 w 301649"/>
              <a:gd name="connsiteY5" fmla="*/ 169471 h 195665"/>
              <a:gd name="connsiteX6" fmla="*/ 0 w 301649"/>
              <a:gd name="connsiteY6" fmla="*/ 176615 h 195665"/>
              <a:gd name="connsiteX7" fmla="*/ 97631 w 301649"/>
              <a:gd name="connsiteY7" fmla="*/ 5165 h 195665"/>
              <a:gd name="connsiteX8" fmla="*/ 214313 w 301649"/>
              <a:gd name="connsiteY8" fmla="*/ 45646 h 195665"/>
              <a:gd name="connsiteX9" fmla="*/ 300038 w 301649"/>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5688 w 302094"/>
              <a:gd name="connsiteY4" fmla="*/ 150420 h 195665"/>
              <a:gd name="connsiteX5" fmla="*/ 24258 w 302094"/>
              <a:gd name="connsiteY5" fmla="*/ 169471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5688 w 302094"/>
              <a:gd name="connsiteY4" fmla="*/ 150420 h 195665"/>
              <a:gd name="connsiteX5" fmla="*/ 21877 w 302094"/>
              <a:gd name="connsiteY5" fmla="*/ 131371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3307 w 302094"/>
              <a:gd name="connsiteY4" fmla="*/ 126608 h 195665"/>
              <a:gd name="connsiteX5" fmla="*/ 21877 w 302094"/>
              <a:gd name="connsiteY5" fmla="*/ 131371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3307 w 302094"/>
              <a:gd name="connsiteY4" fmla="*/ 126608 h 195665"/>
              <a:gd name="connsiteX5" fmla="*/ 12352 w 302094"/>
              <a:gd name="connsiteY5" fmla="*/ 171852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3307 w 302094"/>
              <a:gd name="connsiteY4" fmla="*/ 126608 h 195665"/>
              <a:gd name="connsiteX5" fmla="*/ 12352 w 302094"/>
              <a:gd name="connsiteY5" fmla="*/ 171852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3307 w 302094"/>
              <a:gd name="connsiteY4" fmla="*/ 126608 h 195665"/>
              <a:gd name="connsiteX5" fmla="*/ 12352 w 302094"/>
              <a:gd name="connsiteY5" fmla="*/ 171852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3307 w 302094"/>
              <a:gd name="connsiteY4" fmla="*/ 126608 h 195665"/>
              <a:gd name="connsiteX5" fmla="*/ 12352 w 302094"/>
              <a:gd name="connsiteY5" fmla="*/ 171852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3307 w 302094"/>
              <a:gd name="connsiteY4" fmla="*/ 126608 h 195665"/>
              <a:gd name="connsiteX5" fmla="*/ 12352 w 302094"/>
              <a:gd name="connsiteY5" fmla="*/ 171852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1906"/>
              <a:gd name="connsiteY0" fmla="*/ 195665 h 195665"/>
              <a:gd name="connsiteX1" fmla="*/ 271908 w 301906"/>
              <a:gd name="connsiteY1" fmla="*/ 121846 h 195665"/>
              <a:gd name="connsiteX2" fmla="*/ 195708 w 301906"/>
              <a:gd name="connsiteY2" fmla="*/ 112321 h 195665"/>
              <a:gd name="connsiteX3" fmla="*/ 52833 w 301906"/>
              <a:gd name="connsiteY3" fmla="*/ 105177 h 195665"/>
              <a:gd name="connsiteX4" fmla="*/ 43307 w 301906"/>
              <a:gd name="connsiteY4" fmla="*/ 126608 h 195665"/>
              <a:gd name="connsiteX5" fmla="*/ 12352 w 301906"/>
              <a:gd name="connsiteY5" fmla="*/ 171852 h 195665"/>
              <a:gd name="connsiteX6" fmla="*/ 445 w 301906"/>
              <a:gd name="connsiteY6" fmla="*/ 176615 h 195665"/>
              <a:gd name="connsiteX7" fmla="*/ 98076 w 301906"/>
              <a:gd name="connsiteY7" fmla="*/ 5165 h 195665"/>
              <a:gd name="connsiteX8" fmla="*/ 214758 w 301906"/>
              <a:gd name="connsiteY8" fmla="*/ 45646 h 195665"/>
              <a:gd name="connsiteX9" fmla="*/ 300483 w 301906"/>
              <a:gd name="connsiteY9" fmla="*/ 195665 h 195665"/>
              <a:gd name="connsiteX0" fmla="*/ 300483 w 301906"/>
              <a:gd name="connsiteY0" fmla="*/ 195665 h 195665"/>
              <a:gd name="connsiteX1" fmla="*/ 271908 w 301906"/>
              <a:gd name="connsiteY1" fmla="*/ 121846 h 195665"/>
              <a:gd name="connsiteX2" fmla="*/ 195708 w 301906"/>
              <a:gd name="connsiteY2" fmla="*/ 112321 h 195665"/>
              <a:gd name="connsiteX3" fmla="*/ 52833 w 301906"/>
              <a:gd name="connsiteY3" fmla="*/ 105177 h 195665"/>
              <a:gd name="connsiteX4" fmla="*/ 43307 w 301906"/>
              <a:gd name="connsiteY4" fmla="*/ 126608 h 195665"/>
              <a:gd name="connsiteX5" fmla="*/ 12352 w 301906"/>
              <a:gd name="connsiteY5" fmla="*/ 171852 h 195665"/>
              <a:gd name="connsiteX6" fmla="*/ 445 w 301906"/>
              <a:gd name="connsiteY6" fmla="*/ 176615 h 195665"/>
              <a:gd name="connsiteX7" fmla="*/ 98076 w 301906"/>
              <a:gd name="connsiteY7" fmla="*/ 5165 h 195665"/>
              <a:gd name="connsiteX8" fmla="*/ 214758 w 301906"/>
              <a:gd name="connsiteY8" fmla="*/ 45646 h 195665"/>
              <a:gd name="connsiteX9" fmla="*/ 300483 w 301906"/>
              <a:gd name="connsiteY9" fmla="*/ 195665 h 195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1906" h="195665">
                <a:moveTo>
                  <a:pt x="300483" y="195665"/>
                </a:moveTo>
                <a:cubicBezTo>
                  <a:pt x="231426" y="159153"/>
                  <a:pt x="281433" y="146452"/>
                  <a:pt x="271908" y="121846"/>
                </a:cubicBezTo>
                <a:cubicBezTo>
                  <a:pt x="246508" y="130578"/>
                  <a:pt x="221108" y="115496"/>
                  <a:pt x="195708" y="112321"/>
                </a:cubicBezTo>
                <a:cubicBezTo>
                  <a:pt x="117127" y="138515"/>
                  <a:pt x="86170" y="124227"/>
                  <a:pt x="52833" y="105177"/>
                </a:cubicBezTo>
                <a:lnTo>
                  <a:pt x="43307" y="126608"/>
                </a:lnTo>
                <a:cubicBezTo>
                  <a:pt x="32989" y="141689"/>
                  <a:pt x="32195" y="178203"/>
                  <a:pt x="12352" y="171852"/>
                </a:cubicBezTo>
                <a:lnTo>
                  <a:pt x="445" y="176615"/>
                </a:lnTo>
                <a:cubicBezTo>
                  <a:pt x="-2730" y="105177"/>
                  <a:pt x="9176" y="22627"/>
                  <a:pt x="98076" y="5165"/>
                </a:cubicBezTo>
                <a:cubicBezTo>
                  <a:pt x="186976" y="-12297"/>
                  <a:pt x="204439" y="17864"/>
                  <a:pt x="214758" y="45646"/>
                </a:cubicBezTo>
                <a:cubicBezTo>
                  <a:pt x="302864" y="31358"/>
                  <a:pt x="305246" y="133753"/>
                  <a:pt x="300483" y="195665"/>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2" name="Freeform 20"/>
          <p:cNvSpPr>
            <a:spLocks noEditPoints="1"/>
          </p:cNvSpPr>
          <p:nvPr/>
        </p:nvSpPr>
        <p:spPr bwMode="black">
          <a:xfrm>
            <a:off x="5277954" y="4623477"/>
            <a:ext cx="2817874" cy="1959090"/>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chemeClr val="accent1"/>
          </a:solidFill>
          <a:extLst/>
        </p:spPr>
        <p:txBody>
          <a:bodyPr vert="horz" wrap="square" lIns="82305" tIns="41153" rIns="82305" bIns="41153" numCol="1" anchor="t" anchorCtr="0" compatLnSpc="1">
            <a:prstTxWarp prst="textNoShape">
              <a:avLst/>
            </a:prstTxWarp>
          </a:bodyPr>
          <a:lstStyle/>
          <a:p>
            <a:pPr defTabSz="932316"/>
            <a:endParaRPr lang="en-US" sz="900" dirty="0">
              <a:solidFill>
                <a:srgbClr val="FFFFFF"/>
              </a:solidFill>
            </a:endParaRPr>
          </a:p>
        </p:txBody>
      </p:sp>
      <p:sp>
        <p:nvSpPr>
          <p:cNvPr id="10" name="Rectangle 9"/>
          <p:cNvSpPr/>
          <p:nvPr/>
        </p:nvSpPr>
        <p:spPr bwMode="auto">
          <a:xfrm>
            <a:off x="5579102" y="4686300"/>
            <a:ext cx="2214239" cy="15420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23" name="Picture 22"/>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5603511" y="4738695"/>
            <a:ext cx="2152657" cy="1274191"/>
          </a:xfrm>
          <a:prstGeom prst="rect">
            <a:avLst/>
          </a:prstGeom>
          <a:effectLst/>
        </p:spPr>
      </p:pic>
      <p:sp>
        <p:nvSpPr>
          <p:cNvPr id="24" name="Freeform 23"/>
          <p:cNvSpPr/>
          <p:nvPr/>
        </p:nvSpPr>
        <p:spPr>
          <a:xfrm rot="11152154">
            <a:off x="9072312" y="3594423"/>
            <a:ext cx="1298155" cy="1245622"/>
          </a:xfrm>
          <a:custGeom>
            <a:avLst/>
            <a:gdLst>
              <a:gd name="connsiteX0" fmla="*/ 147901 w 547492"/>
              <a:gd name="connsiteY0" fmla="*/ 159 h 547027"/>
              <a:gd name="connsiteX1" fmla="*/ 164790 w 547492"/>
              <a:gd name="connsiteY1" fmla="*/ 17385 h 547027"/>
              <a:gd name="connsiteX2" fmla="*/ 257543 w 547492"/>
              <a:gd name="connsiteY2" fmla="*/ 261873 h 547027"/>
              <a:gd name="connsiteX3" fmla="*/ 531263 w 547492"/>
              <a:gd name="connsiteY3" fmla="*/ 383096 h 547027"/>
              <a:gd name="connsiteX4" fmla="*/ 533050 w 547492"/>
              <a:gd name="connsiteY4" fmla="*/ 419093 h 547027"/>
              <a:gd name="connsiteX5" fmla="*/ 234902 w 547492"/>
              <a:gd name="connsiteY5" fmla="*/ 291210 h 547027"/>
              <a:gd name="connsiteX6" fmla="*/ 130118 w 547492"/>
              <a:gd name="connsiteY6" fmla="*/ 16219 h 547027"/>
              <a:gd name="connsiteX7" fmla="*/ 147901 w 547492"/>
              <a:gd name="connsiteY7" fmla="*/ 159 h 547027"/>
              <a:gd name="connsiteX8" fmla="*/ 258593 w 547492"/>
              <a:gd name="connsiteY8" fmla="*/ 83 h 547027"/>
              <a:gd name="connsiteX9" fmla="*/ 276870 w 547492"/>
              <a:gd name="connsiteY9" fmla="*/ 19473 h 547027"/>
              <a:gd name="connsiteX10" fmla="*/ 342477 w 547492"/>
              <a:gd name="connsiteY10" fmla="*/ 185830 h 547027"/>
              <a:gd name="connsiteX11" fmla="*/ 529533 w 547492"/>
              <a:gd name="connsiteY11" fmla="*/ 271534 h 547027"/>
              <a:gd name="connsiteX12" fmla="*/ 529010 w 547492"/>
              <a:gd name="connsiteY12" fmla="*/ 308769 h 547027"/>
              <a:gd name="connsiteX13" fmla="*/ 319908 w 547492"/>
              <a:gd name="connsiteY13" fmla="*/ 218161 h 547027"/>
              <a:gd name="connsiteX14" fmla="*/ 241025 w 547492"/>
              <a:gd name="connsiteY14" fmla="*/ 18615 h 547027"/>
              <a:gd name="connsiteX15" fmla="*/ 258593 w 547492"/>
              <a:gd name="connsiteY15" fmla="*/ 83 h 547027"/>
              <a:gd name="connsiteX16" fmla="*/ 18843 w 547492"/>
              <a:gd name="connsiteY16" fmla="*/ 10 h 547027"/>
              <a:gd name="connsiteX17" fmla="*/ 37685 w 547492"/>
              <a:gd name="connsiteY17" fmla="*/ 16302 h 547027"/>
              <a:gd name="connsiteX18" fmla="*/ 164891 w 547492"/>
              <a:gd name="connsiteY18" fmla="*/ 345340 h 547027"/>
              <a:gd name="connsiteX19" fmla="*/ 531167 w 547492"/>
              <a:gd name="connsiteY19" fmla="*/ 510082 h 547027"/>
              <a:gd name="connsiteX20" fmla="*/ 528039 w 547492"/>
              <a:gd name="connsiteY20" fmla="*/ 547022 h 547027"/>
              <a:gd name="connsiteX21" fmla="*/ 139867 w 547492"/>
              <a:gd name="connsiteY21" fmla="*/ 375130 h 547027"/>
              <a:gd name="connsiteX22" fmla="*/ 0 w 547492"/>
              <a:gd name="connsiteY22" fmla="*/ 15557 h 547027"/>
              <a:gd name="connsiteX23" fmla="*/ 18843 w 547492"/>
              <a:gd name="connsiteY23" fmla="*/ 10 h 547027"/>
              <a:gd name="connsiteX24" fmla="*/ 361357 w 547492"/>
              <a:gd name="connsiteY24" fmla="*/ 3 h 547027"/>
              <a:gd name="connsiteX25" fmla="*/ 379427 w 547492"/>
              <a:gd name="connsiteY25" fmla="*/ 22811 h 547027"/>
              <a:gd name="connsiteX26" fmla="*/ 416799 w 547492"/>
              <a:gd name="connsiteY26" fmla="*/ 121134 h 547027"/>
              <a:gd name="connsiteX27" fmla="*/ 530986 w 547492"/>
              <a:gd name="connsiteY27" fmla="*/ 167238 h 547027"/>
              <a:gd name="connsiteX28" fmla="*/ 528863 w 547492"/>
              <a:gd name="connsiteY28" fmla="*/ 205554 h 547027"/>
              <a:gd name="connsiteX29" fmla="*/ 395749 w 547492"/>
              <a:gd name="connsiteY29" fmla="*/ 150171 h 547027"/>
              <a:gd name="connsiteX30" fmla="*/ 342870 w 547492"/>
              <a:gd name="connsiteY30" fmla="*/ 38961 h 547027"/>
              <a:gd name="connsiteX31" fmla="*/ 343296 w 547492"/>
              <a:gd name="connsiteY31" fmla="*/ 21634 h 547027"/>
              <a:gd name="connsiteX32" fmla="*/ 361357 w 547492"/>
              <a:gd name="connsiteY32" fmla="*/ 3 h 547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547492" h="547027">
                <a:moveTo>
                  <a:pt x="147901" y="159"/>
                </a:moveTo>
                <a:cubicBezTo>
                  <a:pt x="156233" y="1247"/>
                  <a:pt x="164417" y="7883"/>
                  <a:pt x="164790" y="17385"/>
                </a:cubicBezTo>
                <a:cubicBezTo>
                  <a:pt x="163504" y="123250"/>
                  <a:pt x="210481" y="208637"/>
                  <a:pt x="257543" y="261873"/>
                </a:cubicBezTo>
                <a:cubicBezTo>
                  <a:pt x="329801" y="345790"/>
                  <a:pt x="450493" y="385299"/>
                  <a:pt x="531263" y="383096"/>
                </a:cubicBezTo>
                <a:cubicBezTo>
                  <a:pt x="554755" y="384136"/>
                  <a:pt x="550415" y="419245"/>
                  <a:pt x="533050" y="419093"/>
                </a:cubicBezTo>
                <a:cubicBezTo>
                  <a:pt x="450691" y="419472"/>
                  <a:pt x="338455" y="398909"/>
                  <a:pt x="234902" y="291210"/>
                </a:cubicBezTo>
                <a:cubicBezTo>
                  <a:pt x="193363" y="241274"/>
                  <a:pt x="128927" y="167539"/>
                  <a:pt x="130118" y="16219"/>
                </a:cubicBezTo>
                <a:cubicBezTo>
                  <a:pt x="131087" y="3530"/>
                  <a:pt x="139569" y="-930"/>
                  <a:pt x="147901" y="159"/>
                </a:cubicBezTo>
                <a:close/>
                <a:moveTo>
                  <a:pt x="258593" y="83"/>
                </a:moveTo>
                <a:cubicBezTo>
                  <a:pt x="267391" y="-753"/>
                  <a:pt x="276308" y="4730"/>
                  <a:pt x="276870" y="19473"/>
                </a:cubicBezTo>
                <a:cubicBezTo>
                  <a:pt x="277152" y="95057"/>
                  <a:pt x="309784" y="144239"/>
                  <a:pt x="342477" y="185830"/>
                </a:cubicBezTo>
                <a:cubicBezTo>
                  <a:pt x="395970" y="243463"/>
                  <a:pt x="472402" y="273156"/>
                  <a:pt x="529533" y="271534"/>
                </a:cubicBezTo>
                <a:cubicBezTo>
                  <a:pt x="554491" y="271108"/>
                  <a:pt x="552612" y="307689"/>
                  <a:pt x="529010" y="308769"/>
                </a:cubicBezTo>
                <a:cubicBezTo>
                  <a:pt x="463605" y="309049"/>
                  <a:pt x="394346" y="293904"/>
                  <a:pt x="319908" y="218161"/>
                </a:cubicBezTo>
                <a:cubicBezTo>
                  <a:pt x="290526" y="181384"/>
                  <a:pt x="240182" y="130058"/>
                  <a:pt x="241025" y="18615"/>
                </a:cubicBezTo>
                <a:cubicBezTo>
                  <a:pt x="241115" y="8077"/>
                  <a:pt x="249795" y="920"/>
                  <a:pt x="258593" y="83"/>
                </a:cubicBezTo>
                <a:close/>
                <a:moveTo>
                  <a:pt x="18843" y="10"/>
                </a:moveTo>
                <a:cubicBezTo>
                  <a:pt x="28214" y="265"/>
                  <a:pt x="37586" y="5826"/>
                  <a:pt x="37685" y="16302"/>
                </a:cubicBezTo>
                <a:cubicBezTo>
                  <a:pt x="35997" y="154729"/>
                  <a:pt x="103125" y="275729"/>
                  <a:pt x="164891" y="345340"/>
                </a:cubicBezTo>
                <a:cubicBezTo>
                  <a:pt x="259725" y="455069"/>
                  <a:pt x="425162" y="512962"/>
                  <a:pt x="531167" y="510082"/>
                </a:cubicBezTo>
                <a:cubicBezTo>
                  <a:pt x="555744" y="509883"/>
                  <a:pt x="550829" y="547221"/>
                  <a:pt x="528039" y="547022"/>
                </a:cubicBezTo>
                <a:cubicBezTo>
                  <a:pt x="419949" y="547519"/>
                  <a:pt x="273429" y="516735"/>
                  <a:pt x="139867" y="375130"/>
                </a:cubicBezTo>
                <a:cubicBezTo>
                  <a:pt x="85350" y="312173"/>
                  <a:pt x="0" y="200955"/>
                  <a:pt x="0" y="15557"/>
                </a:cubicBezTo>
                <a:cubicBezTo>
                  <a:pt x="99" y="4808"/>
                  <a:pt x="9471" y="-244"/>
                  <a:pt x="18843" y="10"/>
                </a:cubicBezTo>
                <a:close/>
                <a:moveTo>
                  <a:pt x="361357" y="3"/>
                </a:moveTo>
                <a:cubicBezTo>
                  <a:pt x="370360" y="-117"/>
                  <a:pt x="379364" y="7170"/>
                  <a:pt x="379427" y="22811"/>
                </a:cubicBezTo>
                <a:cubicBezTo>
                  <a:pt x="379608" y="73981"/>
                  <a:pt x="395801" y="92977"/>
                  <a:pt x="416799" y="121134"/>
                </a:cubicBezTo>
                <a:cubicBezTo>
                  <a:pt x="452945" y="158363"/>
                  <a:pt x="498462" y="168336"/>
                  <a:pt x="530986" y="167238"/>
                </a:cubicBezTo>
                <a:cubicBezTo>
                  <a:pt x="549400" y="166950"/>
                  <a:pt x="557131" y="203036"/>
                  <a:pt x="528863" y="205554"/>
                </a:cubicBezTo>
                <a:cubicBezTo>
                  <a:pt x="486854" y="205743"/>
                  <a:pt x="443561" y="201449"/>
                  <a:pt x="395749" y="150171"/>
                </a:cubicBezTo>
                <a:cubicBezTo>
                  <a:pt x="351991" y="102452"/>
                  <a:pt x="343809" y="62263"/>
                  <a:pt x="342870" y="38961"/>
                </a:cubicBezTo>
                <a:cubicBezTo>
                  <a:pt x="342557" y="31194"/>
                  <a:pt x="343049" y="25303"/>
                  <a:pt x="343296" y="21634"/>
                </a:cubicBezTo>
                <a:cubicBezTo>
                  <a:pt x="343354" y="7649"/>
                  <a:pt x="352355" y="122"/>
                  <a:pt x="361357" y="3"/>
                </a:cubicBezTo>
                <a:close/>
              </a:path>
            </a:pathLst>
          </a:custGeom>
          <a:solidFill>
            <a:srgbClr val="0072C6"/>
          </a:solidFill>
          <a:ln w="25400" cap="flat" cmpd="sng" algn="ctr">
            <a:noFill/>
            <a:prstDash val="solid"/>
          </a:ln>
          <a:effectLst/>
        </p:spPr>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32316"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smtClean="0">
              <a:ln>
                <a:noFill/>
              </a:ln>
              <a:solidFill>
                <a:srgbClr val="FFFFFF"/>
              </a:solidFill>
              <a:effectLst/>
              <a:uLnTx/>
              <a:uFillTx/>
              <a:latin typeface="Segoe UI"/>
              <a:ea typeface="+mn-ea"/>
              <a:cs typeface="+mn-cs"/>
            </a:endParaRPr>
          </a:p>
        </p:txBody>
      </p:sp>
      <p:sp>
        <p:nvSpPr>
          <p:cNvPr id="31" name="Freeform 9"/>
          <p:cNvSpPr>
            <a:spLocks/>
          </p:cNvSpPr>
          <p:nvPr/>
        </p:nvSpPr>
        <p:spPr bwMode="auto">
          <a:xfrm>
            <a:off x="9366840" y="348363"/>
            <a:ext cx="897137" cy="1033659"/>
          </a:xfrm>
          <a:custGeom>
            <a:avLst/>
            <a:gdLst>
              <a:gd name="T0" fmla="*/ 91 w 97"/>
              <a:gd name="T1" fmla="*/ 88 h 112"/>
              <a:gd name="T2" fmla="*/ 82 w 97"/>
              <a:gd name="T3" fmla="*/ 88 h 112"/>
              <a:gd name="T4" fmla="*/ 85 w 97"/>
              <a:gd name="T5" fmla="*/ 74 h 112"/>
              <a:gd name="T6" fmla="*/ 88 w 97"/>
              <a:gd name="T7" fmla="*/ 69 h 112"/>
              <a:gd name="T8" fmla="*/ 88 w 97"/>
              <a:gd name="T9" fmla="*/ 69 h 112"/>
              <a:gd name="T10" fmla="*/ 88 w 97"/>
              <a:gd name="T11" fmla="*/ 69 h 112"/>
              <a:gd name="T12" fmla="*/ 91 w 97"/>
              <a:gd name="T13" fmla="*/ 53 h 112"/>
              <a:gd name="T14" fmla="*/ 69 w 97"/>
              <a:gd name="T15" fmla="*/ 17 h 112"/>
              <a:gd name="T16" fmla="*/ 40 w 97"/>
              <a:gd name="T17" fmla="*/ 0 h 112"/>
              <a:gd name="T18" fmla="*/ 4 w 97"/>
              <a:gd name="T19" fmla="*/ 46 h 112"/>
              <a:gd name="T20" fmla="*/ 9 w 97"/>
              <a:gd name="T21" fmla="*/ 69 h 112"/>
              <a:gd name="T22" fmla="*/ 9 w 97"/>
              <a:gd name="T23" fmla="*/ 69 h 112"/>
              <a:gd name="T24" fmla="*/ 15 w 97"/>
              <a:gd name="T25" fmla="*/ 88 h 112"/>
              <a:gd name="T26" fmla="*/ 6 w 97"/>
              <a:gd name="T27" fmla="*/ 88 h 112"/>
              <a:gd name="T28" fmla="*/ 0 w 97"/>
              <a:gd name="T29" fmla="*/ 95 h 112"/>
              <a:gd name="T30" fmla="*/ 16 w 97"/>
              <a:gd name="T31" fmla="*/ 110 h 112"/>
              <a:gd name="T32" fmla="*/ 42 w 97"/>
              <a:gd name="T33" fmla="*/ 112 h 112"/>
              <a:gd name="T34" fmla="*/ 44 w 97"/>
              <a:gd name="T35" fmla="*/ 112 h 112"/>
              <a:gd name="T36" fmla="*/ 44 w 97"/>
              <a:gd name="T37" fmla="*/ 112 h 112"/>
              <a:gd name="T38" fmla="*/ 47 w 97"/>
              <a:gd name="T39" fmla="*/ 112 h 112"/>
              <a:gd name="T40" fmla="*/ 48 w 97"/>
              <a:gd name="T41" fmla="*/ 112 h 112"/>
              <a:gd name="T42" fmla="*/ 49 w 97"/>
              <a:gd name="T43" fmla="*/ 112 h 112"/>
              <a:gd name="T44" fmla="*/ 53 w 97"/>
              <a:gd name="T45" fmla="*/ 112 h 112"/>
              <a:gd name="T46" fmla="*/ 53 w 97"/>
              <a:gd name="T47" fmla="*/ 112 h 112"/>
              <a:gd name="T48" fmla="*/ 54 w 97"/>
              <a:gd name="T49" fmla="*/ 112 h 112"/>
              <a:gd name="T50" fmla="*/ 81 w 97"/>
              <a:gd name="T51" fmla="*/ 110 h 112"/>
              <a:gd name="T52" fmla="*/ 96 w 97"/>
              <a:gd name="T53" fmla="*/ 95 h 112"/>
              <a:gd name="T54" fmla="*/ 91 w 97"/>
              <a:gd name="T55" fmla="*/ 8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7" h="112">
                <a:moveTo>
                  <a:pt x="91" y="88"/>
                </a:moveTo>
                <a:cubicBezTo>
                  <a:pt x="89" y="95"/>
                  <a:pt x="83" y="93"/>
                  <a:pt x="82" y="88"/>
                </a:cubicBezTo>
                <a:cubicBezTo>
                  <a:pt x="81" y="86"/>
                  <a:pt x="83" y="79"/>
                  <a:pt x="85" y="74"/>
                </a:cubicBezTo>
                <a:cubicBezTo>
                  <a:pt x="86" y="73"/>
                  <a:pt x="87" y="71"/>
                  <a:pt x="88" y="69"/>
                </a:cubicBezTo>
                <a:cubicBezTo>
                  <a:pt x="88" y="69"/>
                  <a:pt x="88" y="69"/>
                  <a:pt x="88" y="69"/>
                </a:cubicBezTo>
                <a:cubicBezTo>
                  <a:pt x="88" y="69"/>
                  <a:pt x="88" y="69"/>
                  <a:pt x="88" y="69"/>
                </a:cubicBezTo>
                <a:cubicBezTo>
                  <a:pt x="90" y="64"/>
                  <a:pt x="91" y="59"/>
                  <a:pt x="91" y="53"/>
                </a:cubicBezTo>
                <a:cubicBezTo>
                  <a:pt x="91" y="36"/>
                  <a:pt x="82" y="22"/>
                  <a:pt x="69" y="17"/>
                </a:cubicBezTo>
                <a:cubicBezTo>
                  <a:pt x="62" y="7"/>
                  <a:pt x="52" y="0"/>
                  <a:pt x="40" y="0"/>
                </a:cubicBezTo>
                <a:cubicBezTo>
                  <a:pt x="20" y="0"/>
                  <a:pt x="4" y="20"/>
                  <a:pt x="4" y="46"/>
                </a:cubicBezTo>
                <a:cubicBezTo>
                  <a:pt x="4" y="54"/>
                  <a:pt x="6" y="62"/>
                  <a:pt x="9" y="69"/>
                </a:cubicBezTo>
                <a:cubicBezTo>
                  <a:pt x="9" y="69"/>
                  <a:pt x="9" y="69"/>
                  <a:pt x="9" y="69"/>
                </a:cubicBezTo>
                <a:cubicBezTo>
                  <a:pt x="9" y="69"/>
                  <a:pt x="17" y="84"/>
                  <a:pt x="15" y="88"/>
                </a:cubicBezTo>
                <a:cubicBezTo>
                  <a:pt x="13" y="93"/>
                  <a:pt x="8" y="95"/>
                  <a:pt x="6" y="88"/>
                </a:cubicBezTo>
                <a:cubicBezTo>
                  <a:pt x="3" y="82"/>
                  <a:pt x="0" y="90"/>
                  <a:pt x="0" y="95"/>
                </a:cubicBezTo>
                <a:cubicBezTo>
                  <a:pt x="1" y="101"/>
                  <a:pt x="2" y="108"/>
                  <a:pt x="16" y="110"/>
                </a:cubicBezTo>
                <a:cubicBezTo>
                  <a:pt x="27" y="112"/>
                  <a:pt x="33" y="112"/>
                  <a:pt x="42" y="112"/>
                </a:cubicBezTo>
                <a:cubicBezTo>
                  <a:pt x="43" y="112"/>
                  <a:pt x="44" y="112"/>
                  <a:pt x="44" y="112"/>
                </a:cubicBezTo>
                <a:cubicBezTo>
                  <a:pt x="44" y="112"/>
                  <a:pt x="44" y="112"/>
                  <a:pt x="44" y="112"/>
                </a:cubicBezTo>
                <a:cubicBezTo>
                  <a:pt x="45" y="112"/>
                  <a:pt x="46" y="112"/>
                  <a:pt x="47" y="112"/>
                </a:cubicBezTo>
                <a:cubicBezTo>
                  <a:pt x="48" y="112"/>
                  <a:pt x="48" y="112"/>
                  <a:pt x="48" y="112"/>
                </a:cubicBezTo>
                <a:cubicBezTo>
                  <a:pt x="49" y="112"/>
                  <a:pt x="49" y="112"/>
                  <a:pt x="49" y="112"/>
                </a:cubicBezTo>
                <a:cubicBezTo>
                  <a:pt x="50" y="112"/>
                  <a:pt x="51" y="112"/>
                  <a:pt x="53" y="112"/>
                </a:cubicBezTo>
                <a:cubicBezTo>
                  <a:pt x="53" y="112"/>
                  <a:pt x="53" y="112"/>
                  <a:pt x="53" y="112"/>
                </a:cubicBezTo>
                <a:cubicBezTo>
                  <a:pt x="53" y="112"/>
                  <a:pt x="54" y="112"/>
                  <a:pt x="54" y="112"/>
                </a:cubicBezTo>
                <a:cubicBezTo>
                  <a:pt x="63" y="112"/>
                  <a:pt x="69" y="112"/>
                  <a:pt x="81" y="110"/>
                </a:cubicBezTo>
                <a:cubicBezTo>
                  <a:pt x="94" y="108"/>
                  <a:pt x="96" y="101"/>
                  <a:pt x="96" y="95"/>
                </a:cubicBezTo>
                <a:cubicBezTo>
                  <a:pt x="97" y="90"/>
                  <a:pt x="93" y="82"/>
                  <a:pt x="91" y="88"/>
                </a:cubicBezTo>
                <a:close/>
              </a:path>
            </a:pathLst>
          </a:custGeom>
          <a:solidFill>
            <a:srgbClr val="50505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316"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32" name="Freeform 11"/>
          <p:cNvSpPr>
            <a:spLocks/>
          </p:cNvSpPr>
          <p:nvPr/>
        </p:nvSpPr>
        <p:spPr bwMode="auto">
          <a:xfrm>
            <a:off x="10176700" y="1446993"/>
            <a:ext cx="553885" cy="1435421"/>
          </a:xfrm>
          <a:custGeom>
            <a:avLst/>
            <a:gdLst>
              <a:gd name="T0" fmla="*/ 0 w 60"/>
              <a:gd name="T1" fmla="*/ 7 h 155"/>
              <a:gd name="T2" fmla="*/ 24 w 60"/>
              <a:gd name="T3" fmla="*/ 0 h 155"/>
              <a:gd name="T4" fmla="*/ 60 w 60"/>
              <a:gd name="T5" fmla="*/ 155 h 155"/>
              <a:gd name="T6" fmla="*/ 35 w 60"/>
              <a:gd name="T7" fmla="*/ 155 h 155"/>
              <a:gd name="T8" fmla="*/ 0 w 60"/>
              <a:gd name="T9" fmla="*/ 7 h 155"/>
            </a:gdLst>
            <a:ahLst/>
            <a:cxnLst>
              <a:cxn ang="0">
                <a:pos x="T0" y="T1"/>
              </a:cxn>
              <a:cxn ang="0">
                <a:pos x="T2" y="T3"/>
              </a:cxn>
              <a:cxn ang="0">
                <a:pos x="T4" y="T5"/>
              </a:cxn>
              <a:cxn ang="0">
                <a:pos x="T6" y="T7"/>
              </a:cxn>
              <a:cxn ang="0">
                <a:pos x="T8" y="T9"/>
              </a:cxn>
            </a:cxnLst>
            <a:rect l="0" t="0" r="r" b="b"/>
            <a:pathLst>
              <a:path w="60" h="155">
                <a:moveTo>
                  <a:pt x="0" y="7"/>
                </a:moveTo>
                <a:cubicBezTo>
                  <a:pt x="8" y="5"/>
                  <a:pt x="16" y="3"/>
                  <a:pt x="24" y="0"/>
                </a:cubicBezTo>
                <a:cubicBezTo>
                  <a:pt x="47" y="51"/>
                  <a:pt x="54" y="100"/>
                  <a:pt x="60" y="155"/>
                </a:cubicBezTo>
                <a:cubicBezTo>
                  <a:pt x="35" y="155"/>
                  <a:pt x="35" y="155"/>
                  <a:pt x="35" y="155"/>
                </a:cubicBezTo>
                <a:cubicBezTo>
                  <a:pt x="29" y="102"/>
                  <a:pt x="23" y="55"/>
                  <a:pt x="0" y="7"/>
                </a:cubicBezTo>
                <a:close/>
              </a:path>
            </a:pathLst>
          </a:custGeom>
          <a:solidFill>
            <a:srgbClr val="96969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316"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33" name="Freeform 17"/>
          <p:cNvSpPr>
            <a:spLocks/>
          </p:cNvSpPr>
          <p:nvPr/>
        </p:nvSpPr>
        <p:spPr bwMode="auto">
          <a:xfrm>
            <a:off x="8891389" y="1452454"/>
            <a:ext cx="565586" cy="1435422"/>
          </a:xfrm>
          <a:custGeom>
            <a:avLst/>
            <a:gdLst>
              <a:gd name="T0" fmla="*/ 61 w 61"/>
              <a:gd name="T1" fmla="*/ 7 h 155"/>
              <a:gd name="T2" fmla="*/ 36 w 61"/>
              <a:gd name="T3" fmla="*/ 0 h 155"/>
              <a:gd name="T4" fmla="*/ 0 w 61"/>
              <a:gd name="T5" fmla="*/ 155 h 155"/>
              <a:gd name="T6" fmla="*/ 25 w 61"/>
              <a:gd name="T7" fmla="*/ 155 h 155"/>
              <a:gd name="T8" fmla="*/ 61 w 61"/>
              <a:gd name="T9" fmla="*/ 7 h 155"/>
            </a:gdLst>
            <a:ahLst/>
            <a:cxnLst>
              <a:cxn ang="0">
                <a:pos x="T0" y="T1"/>
              </a:cxn>
              <a:cxn ang="0">
                <a:pos x="T2" y="T3"/>
              </a:cxn>
              <a:cxn ang="0">
                <a:pos x="T4" y="T5"/>
              </a:cxn>
              <a:cxn ang="0">
                <a:pos x="T6" y="T7"/>
              </a:cxn>
              <a:cxn ang="0">
                <a:pos x="T8" y="T9"/>
              </a:cxn>
            </a:cxnLst>
            <a:rect l="0" t="0" r="r" b="b"/>
            <a:pathLst>
              <a:path w="61" h="155">
                <a:moveTo>
                  <a:pt x="61" y="7"/>
                </a:moveTo>
                <a:cubicBezTo>
                  <a:pt x="53" y="5"/>
                  <a:pt x="44" y="3"/>
                  <a:pt x="36" y="0"/>
                </a:cubicBezTo>
                <a:cubicBezTo>
                  <a:pt x="12" y="51"/>
                  <a:pt x="5" y="100"/>
                  <a:pt x="0" y="155"/>
                </a:cubicBezTo>
                <a:cubicBezTo>
                  <a:pt x="25" y="155"/>
                  <a:pt x="25" y="155"/>
                  <a:pt x="25" y="155"/>
                </a:cubicBezTo>
                <a:cubicBezTo>
                  <a:pt x="31" y="102"/>
                  <a:pt x="38" y="55"/>
                  <a:pt x="61" y="7"/>
                </a:cubicBezTo>
                <a:close/>
              </a:path>
            </a:pathLst>
          </a:custGeom>
          <a:solidFill>
            <a:srgbClr val="96969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316"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34" name="Freeform 19"/>
          <p:cNvSpPr>
            <a:spLocks/>
          </p:cNvSpPr>
          <p:nvPr/>
        </p:nvSpPr>
        <p:spPr bwMode="auto">
          <a:xfrm>
            <a:off x="9231827" y="1391133"/>
            <a:ext cx="1181882" cy="1829381"/>
          </a:xfrm>
          <a:custGeom>
            <a:avLst/>
            <a:gdLst>
              <a:gd name="T0" fmla="*/ 194 w 303"/>
              <a:gd name="T1" fmla="*/ 0 h 469"/>
              <a:gd name="T2" fmla="*/ 151 w 303"/>
              <a:gd name="T3" fmla="*/ 341 h 469"/>
              <a:gd name="T4" fmla="*/ 109 w 303"/>
              <a:gd name="T5" fmla="*/ 0 h 469"/>
              <a:gd name="T6" fmla="*/ 0 w 303"/>
              <a:gd name="T7" fmla="*/ 9 h 469"/>
              <a:gd name="T8" fmla="*/ 21 w 303"/>
              <a:gd name="T9" fmla="*/ 469 h 469"/>
              <a:gd name="T10" fmla="*/ 279 w 303"/>
              <a:gd name="T11" fmla="*/ 469 h 469"/>
              <a:gd name="T12" fmla="*/ 303 w 303"/>
              <a:gd name="T13" fmla="*/ 9 h 469"/>
              <a:gd name="T14" fmla="*/ 194 w 303"/>
              <a:gd name="T15" fmla="*/ 0 h 4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3" h="469">
                <a:moveTo>
                  <a:pt x="194" y="0"/>
                </a:moveTo>
                <a:lnTo>
                  <a:pt x="151" y="341"/>
                </a:lnTo>
                <a:lnTo>
                  <a:pt x="109" y="0"/>
                </a:lnTo>
                <a:lnTo>
                  <a:pt x="0" y="9"/>
                </a:lnTo>
                <a:lnTo>
                  <a:pt x="21" y="469"/>
                </a:lnTo>
                <a:lnTo>
                  <a:pt x="279" y="469"/>
                </a:lnTo>
                <a:lnTo>
                  <a:pt x="303" y="9"/>
                </a:lnTo>
                <a:lnTo>
                  <a:pt x="194" y="0"/>
                </a:lnTo>
                <a:close/>
              </a:path>
            </a:pathLst>
          </a:custGeom>
          <a:solidFill>
            <a:srgbClr val="ADD40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316"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35" name="Freeform 32"/>
          <p:cNvSpPr>
            <a:spLocks/>
          </p:cNvSpPr>
          <p:nvPr/>
        </p:nvSpPr>
        <p:spPr bwMode="auto">
          <a:xfrm>
            <a:off x="9456975" y="618949"/>
            <a:ext cx="663100" cy="803525"/>
          </a:xfrm>
          <a:custGeom>
            <a:avLst/>
            <a:gdLst>
              <a:gd name="T0" fmla="*/ 69 w 72"/>
              <a:gd name="T1" fmla="*/ 15 h 87"/>
              <a:gd name="T2" fmla="*/ 67 w 72"/>
              <a:gd name="T3" fmla="*/ 15 h 87"/>
              <a:gd name="T4" fmla="*/ 67 w 72"/>
              <a:gd name="T5" fmla="*/ 11 h 87"/>
              <a:gd name="T6" fmla="*/ 67 w 72"/>
              <a:gd name="T7" fmla="*/ 9 h 87"/>
              <a:gd name="T8" fmla="*/ 67 w 72"/>
              <a:gd name="T9" fmla="*/ 9 h 87"/>
              <a:gd name="T10" fmla="*/ 67 w 72"/>
              <a:gd name="T11" fmla="*/ 8 h 87"/>
              <a:gd name="T12" fmla="*/ 67 w 72"/>
              <a:gd name="T13" fmla="*/ 7 h 87"/>
              <a:gd name="T14" fmla="*/ 66 w 72"/>
              <a:gd name="T15" fmla="*/ 7 h 87"/>
              <a:gd name="T16" fmla="*/ 66 w 72"/>
              <a:gd name="T17" fmla="*/ 6 h 87"/>
              <a:gd name="T18" fmla="*/ 66 w 72"/>
              <a:gd name="T19" fmla="*/ 6 h 87"/>
              <a:gd name="T20" fmla="*/ 65 w 72"/>
              <a:gd name="T21" fmla="*/ 4 h 87"/>
              <a:gd name="T22" fmla="*/ 65 w 72"/>
              <a:gd name="T23" fmla="*/ 4 h 87"/>
              <a:gd name="T24" fmla="*/ 65 w 72"/>
              <a:gd name="T25" fmla="*/ 3 h 87"/>
              <a:gd name="T26" fmla="*/ 65 w 72"/>
              <a:gd name="T27" fmla="*/ 3 h 87"/>
              <a:gd name="T28" fmla="*/ 64 w 72"/>
              <a:gd name="T29" fmla="*/ 2 h 87"/>
              <a:gd name="T30" fmla="*/ 64 w 72"/>
              <a:gd name="T31" fmla="*/ 2 h 87"/>
              <a:gd name="T32" fmla="*/ 59 w 72"/>
              <a:gd name="T33" fmla="*/ 3 h 87"/>
              <a:gd name="T34" fmla="*/ 48 w 72"/>
              <a:gd name="T35" fmla="*/ 0 h 87"/>
              <a:gd name="T36" fmla="*/ 30 w 72"/>
              <a:gd name="T37" fmla="*/ 3 h 87"/>
              <a:gd name="T38" fmla="*/ 10 w 72"/>
              <a:gd name="T39" fmla="*/ 0 h 87"/>
              <a:gd name="T40" fmla="*/ 7 w 72"/>
              <a:gd name="T41" fmla="*/ 3 h 87"/>
              <a:gd name="T42" fmla="*/ 7 w 72"/>
              <a:gd name="T43" fmla="*/ 3 h 87"/>
              <a:gd name="T44" fmla="*/ 7 w 72"/>
              <a:gd name="T45" fmla="*/ 5 h 87"/>
              <a:gd name="T46" fmla="*/ 7 w 72"/>
              <a:gd name="T47" fmla="*/ 5 h 87"/>
              <a:gd name="T48" fmla="*/ 6 w 72"/>
              <a:gd name="T49" fmla="*/ 6 h 87"/>
              <a:gd name="T50" fmla="*/ 6 w 72"/>
              <a:gd name="T51" fmla="*/ 6 h 87"/>
              <a:gd name="T52" fmla="*/ 6 w 72"/>
              <a:gd name="T53" fmla="*/ 7 h 87"/>
              <a:gd name="T54" fmla="*/ 6 w 72"/>
              <a:gd name="T55" fmla="*/ 8 h 87"/>
              <a:gd name="T56" fmla="*/ 6 w 72"/>
              <a:gd name="T57" fmla="*/ 9 h 87"/>
              <a:gd name="T58" fmla="*/ 6 w 72"/>
              <a:gd name="T59" fmla="*/ 9 h 87"/>
              <a:gd name="T60" fmla="*/ 6 w 72"/>
              <a:gd name="T61" fmla="*/ 11 h 87"/>
              <a:gd name="T62" fmla="*/ 6 w 72"/>
              <a:gd name="T63" fmla="*/ 15 h 87"/>
              <a:gd name="T64" fmla="*/ 5 w 72"/>
              <a:gd name="T65" fmla="*/ 15 h 87"/>
              <a:gd name="T66" fmla="*/ 0 w 72"/>
              <a:gd name="T67" fmla="*/ 20 h 87"/>
              <a:gd name="T68" fmla="*/ 0 w 72"/>
              <a:gd name="T69" fmla="*/ 32 h 87"/>
              <a:gd name="T70" fmla="*/ 6 w 72"/>
              <a:gd name="T71" fmla="*/ 37 h 87"/>
              <a:gd name="T72" fmla="*/ 10 w 72"/>
              <a:gd name="T73" fmla="*/ 49 h 87"/>
              <a:gd name="T74" fmla="*/ 22 w 72"/>
              <a:gd name="T75" fmla="*/ 64 h 87"/>
              <a:gd name="T76" fmla="*/ 24 w 72"/>
              <a:gd name="T77" fmla="*/ 78 h 87"/>
              <a:gd name="T78" fmla="*/ 37 w 72"/>
              <a:gd name="T79" fmla="*/ 87 h 87"/>
              <a:gd name="T80" fmla="*/ 50 w 72"/>
              <a:gd name="T81" fmla="*/ 78 h 87"/>
              <a:gd name="T82" fmla="*/ 52 w 72"/>
              <a:gd name="T83" fmla="*/ 63 h 87"/>
              <a:gd name="T84" fmla="*/ 62 w 72"/>
              <a:gd name="T85" fmla="*/ 49 h 87"/>
              <a:gd name="T86" fmla="*/ 67 w 72"/>
              <a:gd name="T87" fmla="*/ 37 h 87"/>
              <a:gd name="T88" fmla="*/ 72 w 72"/>
              <a:gd name="T89" fmla="*/ 32 h 87"/>
              <a:gd name="T90" fmla="*/ 72 w 72"/>
              <a:gd name="T91" fmla="*/ 20 h 87"/>
              <a:gd name="T92" fmla="*/ 69 w 72"/>
              <a:gd name="T93" fmla="*/ 1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2" h="87">
                <a:moveTo>
                  <a:pt x="69" y="15"/>
                </a:moveTo>
                <a:cubicBezTo>
                  <a:pt x="68" y="15"/>
                  <a:pt x="68" y="15"/>
                  <a:pt x="67" y="15"/>
                </a:cubicBezTo>
                <a:cubicBezTo>
                  <a:pt x="67" y="11"/>
                  <a:pt x="67" y="11"/>
                  <a:pt x="67" y="11"/>
                </a:cubicBezTo>
                <a:cubicBezTo>
                  <a:pt x="67" y="10"/>
                  <a:pt x="67" y="10"/>
                  <a:pt x="67" y="9"/>
                </a:cubicBezTo>
                <a:cubicBezTo>
                  <a:pt x="67" y="9"/>
                  <a:pt x="67" y="9"/>
                  <a:pt x="67" y="9"/>
                </a:cubicBezTo>
                <a:cubicBezTo>
                  <a:pt x="67" y="9"/>
                  <a:pt x="67" y="8"/>
                  <a:pt x="67" y="8"/>
                </a:cubicBezTo>
                <a:cubicBezTo>
                  <a:pt x="67" y="8"/>
                  <a:pt x="67" y="8"/>
                  <a:pt x="67" y="7"/>
                </a:cubicBezTo>
                <a:cubicBezTo>
                  <a:pt x="67" y="7"/>
                  <a:pt x="66" y="7"/>
                  <a:pt x="66" y="7"/>
                </a:cubicBezTo>
                <a:cubicBezTo>
                  <a:pt x="66" y="7"/>
                  <a:pt x="66" y="6"/>
                  <a:pt x="66" y="6"/>
                </a:cubicBezTo>
                <a:cubicBezTo>
                  <a:pt x="66" y="6"/>
                  <a:pt x="66" y="6"/>
                  <a:pt x="66" y="6"/>
                </a:cubicBezTo>
                <a:cubicBezTo>
                  <a:pt x="66" y="5"/>
                  <a:pt x="66" y="5"/>
                  <a:pt x="65" y="4"/>
                </a:cubicBezTo>
                <a:cubicBezTo>
                  <a:pt x="65" y="4"/>
                  <a:pt x="65" y="4"/>
                  <a:pt x="65" y="4"/>
                </a:cubicBezTo>
                <a:cubicBezTo>
                  <a:pt x="65" y="4"/>
                  <a:pt x="65" y="3"/>
                  <a:pt x="65" y="3"/>
                </a:cubicBezTo>
                <a:cubicBezTo>
                  <a:pt x="65" y="3"/>
                  <a:pt x="65" y="3"/>
                  <a:pt x="65" y="3"/>
                </a:cubicBezTo>
                <a:cubicBezTo>
                  <a:pt x="65" y="3"/>
                  <a:pt x="64" y="2"/>
                  <a:pt x="64" y="2"/>
                </a:cubicBezTo>
                <a:cubicBezTo>
                  <a:pt x="64" y="2"/>
                  <a:pt x="64" y="2"/>
                  <a:pt x="64" y="2"/>
                </a:cubicBezTo>
                <a:cubicBezTo>
                  <a:pt x="62" y="2"/>
                  <a:pt x="61" y="3"/>
                  <a:pt x="59" y="3"/>
                </a:cubicBezTo>
                <a:cubicBezTo>
                  <a:pt x="54" y="3"/>
                  <a:pt x="51" y="2"/>
                  <a:pt x="48" y="0"/>
                </a:cubicBezTo>
                <a:cubicBezTo>
                  <a:pt x="44" y="2"/>
                  <a:pt x="37" y="3"/>
                  <a:pt x="30" y="3"/>
                </a:cubicBezTo>
                <a:cubicBezTo>
                  <a:pt x="22" y="3"/>
                  <a:pt x="15" y="2"/>
                  <a:pt x="10" y="0"/>
                </a:cubicBezTo>
                <a:cubicBezTo>
                  <a:pt x="9" y="1"/>
                  <a:pt x="8" y="2"/>
                  <a:pt x="7" y="3"/>
                </a:cubicBezTo>
                <a:cubicBezTo>
                  <a:pt x="7" y="3"/>
                  <a:pt x="7" y="3"/>
                  <a:pt x="7" y="3"/>
                </a:cubicBezTo>
                <a:cubicBezTo>
                  <a:pt x="7" y="4"/>
                  <a:pt x="7" y="4"/>
                  <a:pt x="7" y="5"/>
                </a:cubicBezTo>
                <a:cubicBezTo>
                  <a:pt x="7" y="5"/>
                  <a:pt x="7" y="5"/>
                  <a:pt x="7" y="5"/>
                </a:cubicBezTo>
                <a:cubicBezTo>
                  <a:pt x="7" y="5"/>
                  <a:pt x="6" y="6"/>
                  <a:pt x="6" y="6"/>
                </a:cubicBezTo>
                <a:cubicBezTo>
                  <a:pt x="6" y="6"/>
                  <a:pt x="6" y="6"/>
                  <a:pt x="6" y="6"/>
                </a:cubicBezTo>
                <a:cubicBezTo>
                  <a:pt x="6" y="7"/>
                  <a:pt x="6" y="7"/>
                  <a:pt x="6" y="7"/>
                </a:cubicBezTo>
                <a:cubicBezTo>
                  <a:pt x="6" y="7"/>
                  <a:pt x="6" y="8"/>
                  <a:pt x="6" y="8"/>
                </a:cubicBezTo>
                <a:cubicBezTo>
                  <a:pt x="6" y="8"/>
                  <a:pt x="6" y="8"/>
                  <a:pt x="6" y="9"/>
                </a:cubicBezTo>
                <a:cubicBezTo>
                  <a:pt x="6" y="9"/>
                  <a:pt x="6" y="9"/>
                  <a:pt x="6" y="9"/>
                </a:cubicBezTo>
                <a:cubicBezTo>
                  <a:pt x="6" y="10"/>
                  <a:pt x="6" y="10"/>
                  <a:pt x="6" y="11"/>
                </a:cubicBezTo>
                <a:cubicBezTo>
                  <a:pt x="6" y="15"/>
                  <a:pt x="6" y="15"/>
                  <a:pt x="6" y="15"/>
                </a:cubicBezTo>
                <a:cubicBezTo>
                  <a:pt x="5" y="15"/>
                  <a:pt x="5" y="15"/>
                  <a:pt x="5" y="15"/>
                </a:cubicBezTo>
                <a:cubicBezTo>
                  <a:pt x="2" y="16"/>
                  <a:pt x="0" y="18"/>
                  <a:pt x="0" y="20"/>
                </a:cubicBezTo>
                <a:cubicBezTo>
                  <a:pt x="0" y="32"/>
                  <a:pt x="0" y="32"/>
                  <a:pt x="0" y="32"/>
                </a:cubicBezTo>
                <a:cubicBezTo>
                  <a:pt x="0" y="34"/>
                  <a:pt x="3" y="37"/>
                  <a:pt x="6" y="37"/>
                </a:cubicBezTo>
                <a:cubicBezTo>
                  <a:pt x="10" y="49"/>
                  <a:pt x="10" y="49"/>
                  <a:pt x="10" y="49"/>
                </a:cubicBezTo>
                <a:cubicBezTo>
                  <a:pt x="13" y="57"/>
                  <a:pt x="16" y="62"/>
                  <a:pt x="22" y="64"/>
                </a:cubicBezTo>
                <a:cubicBezTo>
                  <a:pt x="24" y="78"/>
                  <a:pt x="24" y="78"/>
                  <a:pt x="24" y="78"/>
                </a:cubicBezTo>
                <a:cubicBezTo>
                  <a:pt x="37" y="87"/>
                  <a:pt x="37" y="87"/>
                  <a:pt x="37" y="87"/>
                </a:cubicBezTo>
                <a:cubicBezTo>
                  <a:pt x="50" y="78"/>
                  <a:pt x="50" y="78"/>
                  <a:pt x="50" y="78"/>
                </a:cubicBezTo>
                <a:cubicBezTo>
                  <a:pt x="52" y="63"/>
                  <a:pt x="52" y="63"/>
                  <a:pt x="52" y="63"/>
                </a:cubicBezTo>
                <a:cubicBezTo>
                  <a:pt x="57" y="62"/>
                  <a:pt x="59" y="57"/>
                  <a:pt x="62" y="49"/>
                </a:cubicBezTo>
                <a:cubicBezTo>
                  <a:pt x="67" y="37"/>
                  <a:pt x="67" y="37"/>
                  <a:pt x="67" y="37"/>
                </a:cubicBezTo>
                <a:cubicBezTo>
                  <a:pt x="70" y="37"/>
                  <a:pt x="72" y="34"/>
                  <a:pt x="72" y="32"/>
                </a:cubicBezTo>
                <a:cubicBezTo>
                  <a:pt x="72" y="20"/>
                  <a:pt x="72" y="20"/>
                  <a:pt x="72" y="20"/>
                </a:cubicBezTo>
                <a:cubicBezTo>
                  <a:pt x="72" y="18"/>
                  <a:pt x="71" y="16"/>
                  <a:pt x="69" y="15"/>
                </a:cubicBezTo>
                <a:close/>
              </a:path>
            </a:pathLst>
          </a:custGeom>
          <a:solidFill>
            <a:srgbClr val="FFB9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316"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36" name="Freeform 64"/>
          <p:cNvSpPr>
            <a:spLocks noEditPoints="1"/>
          </p:cNvSpPr>
          <p:nvPr/>
        </p:nvSpPr>
        <p:spPr bwMode="auto">
          <a:xfrm>
            <a:off x="9478427" y="767677"/>
            <a:ext cx="620195" cy="195029"/>
          </a:xfrm>
          <a:custGeom>
            <a:avLst/>
            <a:gdLst>
              <a:gd name="T0" fmla="*/ 66 w 67"/>
              <a:gd name="T1" fmla="*/ 1 h 21"/>
              <a:gd name="T2" fmla="*/ 50 w 67"/>
              <a:gd name="T3" fmla="*/ 0 h 21"/>
              <a:gd name="T4" fmla="*/ 34 w 67"/>
              <a:gd name="T5" fmla="*/ 4 h 21"/>
              <a:gd name="T6" fmla="*/ 18 w 67"/>
              <a:gd name="T7" fmla="*/ 0 h 21"/>
              <a:gd name="T8" fmla="*/ 1 w 67"/>
              <a:gd name="T9" fmla="*/ 1 h 21"/>
              <a:gd name="T10" fmla="*/ 1 w 67"/>
              <a:gd name="T11" fmla="*/ 3 h 21"/>
              <a:gd name="T12" fmla="*/ 3 w 67"/>
              <a:gd name="T13" fmla="*/ 6 h 21"/>
              <a:gd name="T14" fmla="*/ 5 w 67"/>
              <a:gd name="T15" fmla="*/ 11 h 21"/>
              <a:gd name="T16" fmla="*/ 20 w 67"/>
              <a:gd name="T17" fmla="*/ 20 h 21"/>
              <a:gd name="T18" fmla="*/ 31 w 67"/>
              <a:gd name="T19" fmla="*/ 8 h 21"/>
              <a:gd name="T20" fmla="*/ 34 w 67"/>
              <a:gd name="T21" fmla="*/ 7 h 21"/>
              <a:gd name="T22" fmla="*/ 36 w 67"/>
              <a:gd name="T23" fmla="*/ 8 h 21"/>
              <a:gd name="T24" fmla="*/ 47 w 67"/>
              <a:gd name="T25" fmla="*/ 20 h 21"/>
              <a:gd name="T26" fmla="*/ 62 w 67"/>
              <a:gd name="T27" fmla="*/ 11 h 21"/>
              <a:gd name="T28" fmla="*/ 64 w 67"/>
              <a:gd name="T29" fmla="*/ 6 h 21"/>
              <a:gd name="T30" fmla="*/ 66 w 67"/>
              <a:gd name="T31" fmla="*/ 3 h 21"/>
              <a:gd name="T32" fmla="*/ 66 w 67"/>
              <a:gd name="T33" fmla="*/ 1 h 21"/>
              <a:gd name="T34" fmla="*/ 26 w 67"/>
              <a:gd name="T35" fmla="*/ 15 h 21"/>
              <a:gd name="T36" fmla="*/ 14 w 67"/>
              <a:gd name="T37" fmla="*/ 18 h 21"/>
              <a:gd name="T38" fmla="*/ 6 w 67"/>
              <a:gd name="T39" fmla="*/ 7 h 21"/>
              <a:gd name="T40" fmla="*/ 18 w 67"/>
              <a:gd name="T41" fmla="*/ 2 h 21"/>
              <a:gd name="T42" fmla="*/ 26 w 67"/>
              <a:gd name="T43" fmla="*/ 4 h 21"/>
              <a:gd name="T44" fmla="*/ 26 w 67"/>
              <a:gd name="T45" fmla="*/ 15 h 21"/>
              <a:gd name="T46" fmla="*/ 54 w 67"/>
              <a:gd name="T47" fmla="*/ 18 h 21"/>
              <a:gd name="T48" fmla="*/ 42 w 67"/>
              <a:gd name="T49" fmla="*/ 15 h 21"/>
              <a:gd name="T50" fmla="*/ 41 w 67"/>
              <a:gd name="T51" fmla="*/ 4 h 21"/>
              <a:gd name="T52" fmla="*/ 49 w 67"/>
              <a:gd name="T53" fmla="*/ 2 h 21"/>
              <a:gd name="T54" fmla="*/ 61 w 67"/>
              <a:gd name="T55" fmla="*/ 7 h 21"/>
              <a:gd name="T56" fmla="*/ 54 w 67"/>
              <a:gd name="T57" fmla="*/ 18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 h="21">
                <a:moveTo>
                  <a:pt x="66" y="1"/>
                </a:moveTo>
                <a:cubicBezTo>
                  <a:pt x="66" y="1"/>
                  <a:pt x="57" y="0"/>
                  <a:pt x="50" y="0"/>
                </a:cubicBezTo>
                <a:cubicBezTo>
                  <a:pt x="43" y="1"/>
                  <a:pt x="37" y="4"/>
                  <a:pt x="34" y="4"/>
                </a:cubicBezTo>
                <a:cubicBezTo>
                  <a:pt x="30" y="4"/>
                  <a:pt x="25" y="1"/>
                  <a:pt x="18" y="0"/>
                </a:cubicBezTo>
                <a:cubicBezTo>
                  <a:pt x="11" y="0"/>
                  <a:pt x="1" y="1"/>
                  <a:pt x="1" y="1"/>
                </a:cubicBezTo>
                <a:cubicBezTo>
                  <a:pt x="0" y="1"/>
                  <a:pt x="0" y="2"/>
                  <a:pt x="1" y="3"/>
                </a:cubicBezTo>
                <a:cubicBezTo>
                  <a:pt x="1" y="5"/>
                  <a:pt x="1" y="5"/>
                  <a:pt x="3" y="6"/>
                </a:cubicBezTo>
                <a:cubicBezTo>
                  <a:pt x="4" y="7"/>
                  <a:pt x="5" y="11"/>
                  <a:pt x="5" y="11"/>
                </a:cubicBezTo>
                <a:cubicBezTo>
                  <a:pt x="6" y="19"/>
                  <a:pt x="12" y="21"/>
                  <a:pt x="20" y="20"/>
                </a:cubicBezTo>
                <a:cubicBezTo>
                  <a:pt x="28" y="19"/>
                  <a:pt x="30" y="10"/>
                  <a:pt x="31" y="8"/>
                </a:cubicBezTo>
                <a:cubicBezTo>
                  <a:pt x="32" y="7"/>
                  <a:pt x="34" y="7"/>
                  <a:pt x="34" y="7"/>
                </a:cubicBezTo>
                <a:cubicBezTo>
                  <a:pt x="34" y="7"/>
                  <a:pt x="35" y="7"/>
                  <a:pt x="36" y="8"/>
                </a:cubicBezTo>
                <a:cubicBezTo>
                  <a:pt x="37" y="10"/>
                  <a:pt x="39" y="19"/>
                  <a:pt x="47" y="20"/>
                </a:cubicBezTo>
                <a:cubicBezTo>
                  <a:pt x="55" y="21"/>
                  <a:pt x="61" y="19"/>
                  <a:pt x="62" y="11"/>
                </a:cubicBezTo>
                <a:cubicBezTo>
                  <a:pt x="62" y="11"/>
                  <a:pt x="63" y="7"/>
                  <a:pt x="64" y="6"/>
                </a:cubicBezTo>
                <a:cubicBezTo>
                  <a:pt x="66" y="5"/>
                  <a:pt x="66" y="5"/>
                  <a:pt x="66" y="3"/>
                </a:cubicBezTo>
                <a:cubicBezTo>
                  <a:pt x="67" y="2"/>
                  <a:pt x="67" y="1"/>
                  <a:pt x="66" y="1"/>
                </a:cubicBezTo>
                <a:close/>
                <a:moveTo>
                  <a:pt x="26" y="15"/>
                </a:moveTo>
                <a:cubicBezTo>
                  <a:pt x="23" y="18"/>
                  <a:pt x="19" y="19"/>
                  <a:pt x="14" y="18"/>
                </a:cubicBezTo>
                <a:cubicBezTo>
                  <a:pt x="8" y="18"/>
                  <a:pt x="6" y="14"/>
                  <a:pt x="6" y="7"/>
                </a:cubicBezTo>
                <a:cubicBezTo>
                  <a:pt x="6" y="0"/>
                  <a:pt x="18" y="2"/>
                  <a:pt x="18" y="2"/>
                </a:cubicBezTo>
                <a:cubicBezTo>
                  <a:pt x="23" y="3"/>
                  <a:pt x="23" y="3"/>
                  <a:pt x="26" y="4"/>
                </a:cubicBezTo>
                <a:cubicBezTo>
                  <a:pt x="30" y="5"/>
                  <a:pt x="28" y="12"/>
                  <a:pt x="26" y="15"/>
                </a:cubicBezTo>
                <a:close/>
                <a:moveTo>
                  <a:pt x="54" y="18"/>
                </a:moveTo>
                <a:cubicBezTo>
                  <a:pt x="48" y="19"/>
                  <a:pt x="44" y="18"/>
                  <a:pt x="42" y="15"/>
                </a:cubicBezTo>
                <a:cubicBezTo>
                  <a:pt x="40" y="12"/>
                  <a:pt x="37" y="5"/>
                  <a:pt x="41" y="4"/>
                </a:cubicBezTo>
                <a:cubicBezTo>
                  <a:pt x="45" y="3"/>
                  <a:pt x="45" y="3"/>
                  <a:pt x="49" y="2"/>
                </a:cubicBezTo>
                <a:cubicBezTo>
                  <a:pt x="49" y="2"/>
                  <a:pt x="61" y="0"/>
                  <a:pt x="61" y="7"/>
                </a:cubicBezTo>
                <a:cubicBezTo>
                  <a:pt x="61" y="14"/>
                  <a:pt x="59" y="18"/>
                  <a:pt x="54" y="18"/>
                </a:cubicBezTo>
                <a:close/>
              </a:path>
            </a:pathLst>
          </a:custGeom>
          <a:solidFill>
            <a:srgbClr val="50505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316"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37" name="Rectangle 79"/>
          <p:cNvSpPr/>
          <p:nvPr/>
        </p:nvSpPr>
        <p:spPr>
          <a:xfrm rot="16200000">
            <a:off x="9768913" y="1332866"/>
            <a:ext cx="1392643" cy="2459729"/>
          </a:xfrm>
          <a:custGeom>
            <a:avLst/>
            <a:gdLst/>
            <a:ahLst/>
            <a:cxnLst/>
            <a:rect l="l" t="t" r="r" b="b"/>
            <a:pathLst>
              <a:path w="1407298" h="2385394">
                <a:moveTo>
                  <a:pt x="703650" y="2179220"/>
                </a:moveTo>
                <a:cubicBezTo>
                  <a:pt x="660028" y="2179220"/>
                  <a:pt x="624666" y="2214582"/>
                  <a:pt x="624666" y="2258204"/>
                </a:cubicBezTo>
                <a:cubicBezTo>
                  <a:pt x="624666" y="2301826"/>
                  <a:pt x="660028" y="2337188"/>
                  <a:pt x="703650" y="2337188"/>
                </a:cubicBezTo>
                <a:cubicBezTo>
                  <a:pt x="747272" y="2337188"/>
                  <a:pt x="782634" y="2301826"/>
                  <a:pt x="782634" y="2258204"/>
                </a:cubicBezTo>
                <a:cubicBezTo>
                  <a:pt x="782634" y="2214582"/>
                  <a:pt x="747272" y="2179220"/>
                  <a:pt x="703650" y="2179220"/>
                </a:cubicBezTo>
                <a:close/>
                <a:moveTo>
                  <a:pt x="177553" y="179867"/>
                </a:moveTo>
                <a:lnTo>
                  <a:pt x="172551" y="180877"/>
                </a:lnTo>
                <a:lnTo>
                  <a:pt x="165667" y="180877"/>
                </a:lnTo>
                <a:cubicBezTo>
                  <a:pt x="144630" y="180877"/>
                  <a:pt x="127577" y="197930"/>
                  <a:pt x="127577" y="218967"/>
                </a:cubicBezTo>
                <a:lnTo>
                  <a:pt x="127577" y="2097793"/>
                </a:lnTo>
                <a:cubicBezTo>
                  <a:pt x="127577" y="2118830"/>
                  <a:pt x="144630" y="2135883"/>
                  <a:pt x="165667" y="2135883"/>
                </a:cubicBezTo>
                <a:lnTo>
                  <a:pt x="1241631" y="2135883"/>
                </a:lnTo>
                <a:cubicBezTo>
                  <a:pt x="1262668" y="2135883"/>
                  <a:pt x="1279721" y="2118830"/>
                  <a:pt x="1279721" y="2097793"/>
                </a:cubicBezTo>
                <a:lnTo>
                  <a:pt x="1279721" y="218967"/>
                </a:lnTo>
                <a:cubicBezTo>
                  <a:pt x="1279721" y="197930"/>
                  <a:pt x="1262668" y="180877"/>
                  <a:pt x="1241631" y="180877"/>
                </a:cubicBezTo>
                <a:lnTo>
                  <a:pt x="1234749" y="180877"/>
                </a:lnTo>
                <a:cubicBezTo>
                  <a:pt x="1233161" y="179963"/>
                  <a:pt x="1231465" y="179867"/>
                  <a:pt x="1229746" y="179867"/>
                </a:cubicBezTo>
                <a:close/>
                <a:moveTo>
                  <a:pt x="602415" y="56498"/>
                </a:moveTo>
                <a:cubicBezTo>
                  <a:pt x="588290" y="56498"/>
                  <a:pt x="576839" y="67949"/>
                  <a:pt x="576839" y="82074"/>
                </a:cubicBezTo>
                <a:cubicBezTo>
                  <a:pt x="576839" y="96199"/>
                  <a:pt x="588290" y="107650"/>
                  <a:pt x="602415" y="107650"/>
                </a:cubicBezTo>
                <a:lnTo>
                  <a:pt x="804884" y="107650"/>
                </a:lnTo>
                <a:cubicBezTo>
                  <a:pt x="819009" y="107650"/>
                  <a:pt x="830460" y="96199"/>
                  <a:pt x="830460" y="82074"/>
                </a:cubicBezTo>
                <a:cubicBezTo>
                  <a:pt x="830460" y="67949"/>
                  <a:pt x="819009" y="56498"/>
                  <a:pt x="804884" y="56498"/>
                </a:cubicBezTo>
                <a:close/>
                <a:moveTo>
                  <a:pt x="76685" y="0"/>
                </a:moveTo>
                <a:lnTo>
                  <a:pt x="1330614" y="0"/>
                </a:lnTo>
                <a:cubicBezTo>
                  <a:pt x="1372966" y="0"/>
                  <a:pt x="1407298" y="34333"/>
                  <a:pt x="1407298" y="76684"/>
                </a:cubicBezTo>
                <a:lnTo>
                  <a:pt x="1407298" y="1757263"/>
                </a:lnTo>
                <a:lnTo>
                  <a:pt x="1407298" y="1766789"/>
                </a:lnTo>
                <a:lnTo>
                  <a:pt x="1407298" y="2308710"/>
                </a:lnTo>
                <a:cubicBezTo>
                  <a:pt x="1407298" y="2351061"/>
                  <a:pt x="1372966" y="2385394"/>
                  <a:pt x="1330614" y="2385394"/>
                </a:cubicBezTo>
                <a:lnTo>
                  <a:pt x="76685" y="2385394"/>
                </a:lnTo>
                <a:cubicBezTo>
                  <a:pt x="34333" y="2385394"/>
                  <a:pt x="0" y="2351061"/>
                  <a:pt x="0" y="2308710"/>
                </a:cubicBezTo>
                <a:lnTo>
                  <a:pt x="0" y="1766789"/>
                </a:lnTo>
                <a:lnTo>
                  <a:pt x="0" y="1757263"/>
                </a:lnTo>
                <a:lnTo>
                  <a:pt x="0" y="76684"/>
                </a:lnTo>
                <a:cubicBezTo>
                  <a:pt x="0" y="34333"/>
                  <a:pt x="34333" y="0"/>
                  <a:pt x="76685" y="0"/>
                </a:cubicBezTo>
                <a:close/>
              </a:path>
            </a:pathLst>
          </a:custGeom>
          <a:solidFill>
            <a:srgbClr val="AB0086"/>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316"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FFFFFF"/>
              </a:solidFill>
              <a:effectLst/>
              <a:uLnTx/>
              <a:uFillTx/>
              <a:latin typeface="Segoe UI"/>
              <a:ea typeface="+mn-ea"/>
              <a:cs typeface="+mn-cs"/>
            </a:endParaRPr>
          </a:p>
        </p:txBody>
      </p:sp>
      <p:sp>
        <p:nvSpPr>
          <p:cNvPr id="38" name="Rectangle 37"/>
          <p:cNvSpPr/>
          <p:nvPr/>
        </p:nvSpPr>
        <p:spPr bwMode="auto">
          <a:xfrm>
            <a:off x="9366840" y="1993900"/>
            <a:ext cx="2089179" cy="1166085"/>
          </a:xfrm>
          <a:prstGeom prst="rect">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39" name="Picture 38"/>
          <p:cNvPicPr>
            <a:picLocks noChangeAspect="1"/>
          </p:cNvPicPr>
          <p:nvPr/>
        </p:nvPicPr>
        <p:blipFill rotWithShape="1">
          <a:blip r:embed="rId4" cstate="screen">
            <a:extLst>
              <a:ext uri="{28A0092B-C50C-407E-A947-70E740481C1C}">
                <a14:useLocalDpi xmlns:a14="http://schemas.microsoft.com/office/drawing/2010/main" val="0"/>
              </a:ext>
            </a:extLst>
          </a:blip>
          <a:srcRect l="-225"/>
          <a:stretch/>
        </p:blipFill>
        <p:spPr>
          <a:xfrm>
            <a:off x="9349723" y="1981123"/>
            <a:ext cx="2131070" cy="1178862"/>
          </a:xfrm>
          <a:prstGeom prst="rect">
            <a:avLst/>
          </a:prstGeom>
        </p:spPr>
      </p:pic>
      <p:sp>
        <p:nvSpPr>
          <p:cNvPr id="42" name="Circular Arrow 41"/>
          <p:cNvSpPr/>
          <p:nvPr/>
        </p:nvSpPr>
        <p:spPr bwMode="auto">
          <a:xfrm rot="18977532">
            <a:off x="6550783" y="1462544"/>
            <a:ext cx="2917811" cy="2068577"/>
          </a:xfrm>
          <a:prstGeom prst="circular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3" name="Circular Arrow 42"/>
          <p:cNvSpPr/>
          <p:nvPr/>
        </p:nvSpPr>
        <p:spPr bwMode="auto">
          <a:xfrm rot="9308846">
            <a:off x="8776781" y="4221241"/>
            <a:ext cx="2917811" cy="2068577"/>
          </a:xfrm>
          <a:prstGeom prst="circular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522071445"/>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Freeform 117"/>
          <p:cNvSpPr>
            <a:spLocks/>
          </p:cNvSpPr>
          <p:nvPr/>
        </p:nvSpPr>
        <p:spPr bwMode="auto">
          <a:xfrm>
            <a:off x="8294652" y="54956"/>
            <a:ext cx="3894173" cy="2231191"/>
          </a:xfrm>
          <a:custGeom>
            <a:avLst/>
            <a:gdLst>
              <a:gd name="T0" fmla="*/ 63 w 75"/>
              <a:gd name="T1" fmla="*/ 21 h 49"/>
              <a:gd name="T2" fmla="*/ 63 w 75"/>
              <a:gd name="T3" fmla="*/ 20 h 49"/>
              <a:gd name="T4" fmla="*/ 42 w 75"/>
              <a:gd name="T5" fmla="*/ 0 h 49"/>
              <a:gd name="T6" fmla="*/ 25 w 75"/>
              <a:gd name="T7" fmla="*/ 9 h 49"/>
              <a:gd name="T8" fmla="*/ 19 w 75"/>
              <a:gd name="T9" fmla="*/ 7 h 49"/>
              <a:gd name="T10" fmla="*/ 13 w 75"/>
              <a:gd name="T11" fmla="*/ 9 h 49"/>
              <a:gd name="T12" fmla="*/ 7 w 75"/>
              <a:gd name="T13" fmla="*/ 19 h 49"/>
              <a:gd name="T14" fmla="*/ 0 w 75"/>
              <a:gd name="T15" fmla="*/ 33 h 49"/>
              <a:gd name="T16" fmla="*/ 14 w 75"/>
              <a:gd name="T17" fmla="*/ 49 h 49"/>
              <a:gd name="T18" fmla="*/ 16 w 75"/>
              <a:gd name="T19" fmla="*/ 49 h 49"/>
              <a:gd name="T20" fmla="*/ 18 w 75"/>
              <a:gd name="T21" fmla="*/ 49 h 49"/>
              <a:gd name="T22" fmla="*/ 51 w 75"/>
              <a:gd name="T23" fmla="*/ 49 h 49"/>
              <a:gd name="T24" fmla="*/ 52 w 75"/>
              <a:gd name="T25" fmla="*/ 49 h 49"/>
              <a:gd name="T26" fmla="*/ 53 w 75"/>
              <a:gd name="T27" fmla="*/ 49 h 49"/>
              <a:gd name="T28" fmla="*/ 55 w 75"/>
              <a:gd name="T29" fmla="*/ 49 h 49"/>
              <a:gd name="T30" fmla="*/ 61 w 75"/>
              <a:gd name="T31" fmla="*/ 49 h 49"/>
              <a:gd name="T32" fmla="*/ 75 w 75"/>
              <a:gd name="T33" fmla="*/ 35 h 49"/>
              <a:gd name="T34" fmla="*/ 63 w 75"/>
              <a:gd name="T35" fmla="*/ 2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 h="49">
                <a:moveTo>
                  <a:pt x="63" y="21"/>
                </a:moveTo>
                <a:cubicBezTo>
                  <a:pt x="63" y="21"/>
                  <a:pt x="63" y="21"/>
                  <a:pt x="63" y="20"/>
                </a:cubicBezTo>
                <a:cubicBezTo>
                  <a:pt x="63" y="9"/>
                  <a:pt x="54" y="0"/>
                  <a:pt x="42" y="0"/>
                </a:cubicBezTo>
                <a:cubicBezTo>
                  <a:pt x="35" y="0"/>
                  <a:pt x="29" y="3"/>
                  <a:pt x="25" y="9"/>
                </a:cubicBezTo>
                <a:cubicBezTo>
                  <a:pt x="23" y="8"/>
                  <a:pt x="21" y="7"/>
                  <a:pt x="19" y="7"/>
                </a:cubicBezTo>
                <a:cubicBezTo>
                  <a:pt x="17" y="7"/>
                  <a:pt x="15" y="8"/>
                  <a:pt x="13" y="9"/>
                </a:cubicBezTo>
                <a:cubicBezTo>
                  <a:pt x="9" y="12"/>
                  <a:pt x="7" y="15"/>
                  <a:pt x="7" y="19"/>
                </a:cubicBezTo>
                <a:cubicBezTo>
                  <a:pt x="3" y="22"/>
                  <a:pt x="0" y="27"/>
                  <a:pt x="0" y="33"/>
                </a:cubicBezTo>
                <a:cubicBezTo>
                  <a:pt x="0" y="41"/>
                  <a:pt x="6" y="48"/>
                  <a:pt x="14" y="49"/>
                </a:cubicBezTo>
                <a:cubicBezTo>
                  <a:pt x="15" y="49"/>
                  <a:pt x="16" y="49"/>
                  <a:pt x="16" y="49"/>
                </a:cubicBezTo>
                <a:cubicBezTo>
                  <a:pt x="17" y="49"/>
                  <a:pt x="17" y="49"/>
                  <a:pt x="18" y="49"/>
                </a:cubicBezTo>
                <a:cubicBezTo>
                  <a:pt x="25" y="49"/>
                  <a:pt x="43" y="49"/>
                  <a:pt x="51" y="49"/>
                </a:cubicBezTo>
                <a:cubicBezTo>
                  <a:pt x="52" y="49"/>
                  <a:pt x="52" y="49"/>
                  <a:pt x="52" y="49"/>
                </a:cubicBezTo>
                <a:cubicBezTo>
                  <a:pt x="53" y="49"/>
                  <a:pt x="53" y="49"/>
                  <a:pt x="53" y="49"/>
                </a:cubicBezTo>
                <a:cubicBezTo>
                  <a:pt x="53" y="49"/>
                  <a:pt x="55" y="49"/>
                  <a:pt x="55" y="49"/>
                </a:cubicBezTo>
                <a:cubicBezTo>
                  <a:pt x="61" y="49"/>
                  <a:pt x="61" y="49"/>
                  <a:pt x="61" y="49"/>
                </a:cubicBezTo>
                <a:cubicBezTo>
                  <a:pt x="69" y="49"/>
                  <a:pt x="75" y="43"/>
                  <a:pt x="75" y="35"/>
                </a:cubicBezTo>
                <a:cubicBezTo>
                  <a:pt x="75" y="28"/>
                  <a:pt x="69" y="22"/>
                  <a:pt x="63" y="21"/>
                </a:cubicBezTo>
                <a:close/>
              </a:path>
            </a:pathLst>
          </a:custGeom>
          <a:solidFill>
            <a:srgbClr val="FFFFFF">
              <a:lumMod val="85000"/>
              <a:alpha val="79000"/>
            </a:srgbClr>
          </a:solidFill>
          <a:ln>
            <a:noFill/>
          </a:ln>
          <a:extLst/>
        </p:spPr>
        <p:txBody>
          <a:bodyPr vert="horz" wrap="square" lIns="91440" tIns="45720" rIns="91440" bIns="45720" numCol="1" anchor="t" anchorCtr="0" compatLnSpc="1">
            <a:prstTxWarp prst="textNoShape">
              <a:avLst/>
            </a:prstTxWarp>
          </a:bodyPr>
          <a:lstStyle/>
          <a:p>
            <a:pPr marL="0" marR="0" lvl="0" indent="0" defTabSz="932316"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 name="Text Placeholder 1"/>
          <p:cNvSpPr>
            <a:spLocks noGrp="1"/>
          </p:cNvSpPr>
          <p:nvPr>
            <p:ph type="body" idx="1"/>
          </p:nvPr>
        </p:nvSpPr>
        <p:spPr/>
        <p:txBody>
          <a:bodyPr/>
          <a:lstStyle/>
          <a:p>
            <a:r>
              <a:rPr lang="en-US" dirty="0" smtClean="0"/>
              <a:t>Keep your files secure in one place</a:t>
            </a:r>
            <a:endParaRPr lang="en-US" dirty="0"/>
          </a:p>
        </p:txBody>
      </p:sp>
      <p:sp>
        <p:nvSpPr>
          <p:cNvPr id="3" name="Text Placeholder 2"/>
          <p:cNvSpPr>
            <a:spLocks noGrp="1"/>
          </p:cNvSpPr>
          <p:nvPr>
            <p:ph type="body" sz="quarter" idx="10"/>
          </p:nvPr>
        </p:nvSpPr>
        <p:spPr/>
        <p:txBody>
          <a:bodyPr/>
          <a:lstStyle/>
          <a:p>
            <a:pPr lvl="0" fontAlgn="ctr"/>
            <a:r>
              <a:rPr lang="en-US" sz="1800" dirty="0" smtClean="0"/>
              <a:t>Save</a:t>
            </a:r>
            <a:r>
              <a:rPr lang="en-US" sz="1800" dirty="0"/>
              <a:t> and backup </a:t>
            </a:r>
            <a:r>
              <a:rPr lang="en-US" sz="1800" dirty="0" smtClean="0"/>
              <a:t>files </a:t>
            </a:r>
            <a:r>
              <a:rPr lang="en-US" sz="1800" dirty="0"/>
              <a:t>to the cloud with 1TB of </a:t>
            </a:r>
            <a:r>
              <a:rPr lang="en-US" sz="1800" dirty="0" smtClean="0"/>
              <a:t>cloud storage so you can access your files from anywhere</a:t>
            </a:r>
          </a:p>
          <a:p>
            <a:pPr lvl="0" fontAlgn="ctr"/>
            <a:r>
              <a:rPr lang="en-US" sz="1800" dirty="0" smtClean="0"/>
              <a:t>Recover quickly from the unexpected by safeguarding critical business and customer data </a:t>
            </a:r>
          </a:p>
          <a:p>
            <a:pPr lvl="0"/>
            <a:r>
              <a:rPr lang="en-US" sz="1800" dirty="0" smtClean="0"/>
              <a:t>Keep </a:t>
            </a:r>
            <a:r>
              <a:rPr lang="en-US" sz="1800" dirty="0"/>
              <a:t>your online files safe with a financially backed 99.9% uptime guarantee </a:t>
            </a:r>
          </a:p>
          <a:p>
            <a:pPr lvl="0" fontAlgn="ctr"/>
            <a:r>
              <a:rPr lang="en-US" sz="1800" dirty="0" smtClean="0"/>
              <a:t>Share </a:t>
            </a:r>
            <a:r>
              <a:rPr lang="en-US" sz="1800" dirty="0"/>
              <a:t>and edit the most up to date documents </a:t>
            </a:r>
            <a:r>
              <a:rPr lang="en-US" sz="1800" dirty="0">
                <a:solidFill>
                  <a:schemeClr val="tx1"/>
                </a:solidFill>
              </a:rPr>
              <a:t> </a:t>
            </a:r>
          </a:p>
          <a:p>
            <a:r>
              <a:rPr lang="en-US" sz="1800" dirty="0">
                <a:solidFill>
                  <a:schemeClr val="tx1"/>
                </a:solidFill>
              </a:rPr>
              <a:t> </a:t>
            </a:r>
          </a:p>
        </p:txBody>
      </p:sp>
      <p:sp>
        <p:nvSpPr>
          <p:cNvPr id="6" name="Freeform 7"/>
          <p:cNvSpPr>
            <a:spLocks noEditPoints="1"/>
          </p:cNvSpPr>
          <p:nvPr/>
        </p:nvSpPr>
        <p:spPr bwMode="auto">
          <a:xfrm>
            <a:off x="5360279" y="2593075"/>
            <a:ext cx="6022399" cy="3566054"/>
          </a:xfrm>
          <a:custGeom>
            <a:avLst/>
            <a:gdLst>
              <a:gd name="T0" fmla="*/ 412 w 485"/>
              <a:gd name="T1" fmla="*/ 0 h 260"/>
              <a:gd name="T2" fmla="*/ 74 w 485"/>
              <a:gd name="T3" fmla="*/ 0 h 260"/>
              <a:gd name="T4" fmla="*/ 62 w 485"/>
              <a:gd name="T5" fmla="*/ 12 h 260"/>
              <a:gd name="T6" fmla="*/ 62 w 485"/>
              <a:gd name="T7" fmla="*/ 220 h 260"/>
              <a:gd name="T8" fmla="*/ 74 w 485"/>
              <a:gd name="T9" fmla="*/ 232 h 260"/>
              <a:gd name="T10" fmla="*/ 412 w 485"/>
              <a:gd name="T11" fmla="*/ 232 h 260"/>
              <a:gd name="T12" fmla="*/ 424 w 485"/>
              <a:gd name="T13" fmla="*/ 220 h 260"/>
              <a:gd name="T14" fmla="*/ 424 w 485"/>
              <a:gd name="T15" fmla="*/ 12 h 260"/>
              <a:gd name="T16" fmla="*/ 412 w 485"/>
              <a:gd name="T17" fmla="*/ 0 h 260"/>
              <a:gd name="T18" fmla="*/ 408 w 485"/>
              <a:gd name="T19" fmla="*/ 218 h 260"/>
              <a:gd name="T20" fmla="*/ 77 w 485"/>
              <a:gd name="T21" fmla="*/ 218 h 260"/>
              <a:gd name="T22" fmla="*/ 77 w 485"/>
              <a:gd name="T23" fmla="*/ 13 h 260"/>
              <a:gd name="T24" fmla="*/ 408 w 485"/>
              <a:gd name="T25" fmla="*/ 13 h 260"/>
              <a:gd name="T26" fmla="*/ 408 w 485"/>
              <a:gd name="T27" fmla="*/ 218 h 260"/>
              <a:gd name="T28" fmla="*/ 276 w 485"/>
              <a:gd name="T29" fmla="*/ 241 h 260"/>
              <a:gd name="T30" fmla="*/ 276 w 485"/>
              <a:gd name="T31" fmla="*/ 243 h 260"/>
              <a:gd name="T32" fmla="*/ 271 w 485"/>
              <a:gd name="T33" fmla="*/ 247 h 260"/>
              <a:gd name="T34" fmla="*/ 214 w 485"/>
              <a:gd name="T35" fmla="*/ 247 h 260"/>
              <a:gd name="T36" fmla="*/ 210 w 485"/>
              <a:gd name="T37" fmla="*/ 243 h 260"/>
              <a:gd name="T38" fmla="*/ 210 w 485"/>
              <a:gd name="T39" fmla="*/ 241 h 260"/>
              <a:gd name="T40" fmla="*/ 0 w 485"/>
              <a:gd name="T41" fmla="*/ 241 h 260"/>
              <a:gd name="T42" fmla="*/ 0 w 485"/>
              <a:gd name="T43" fmla="*/ 253 h 260"/>
              <a:gd name="T44" fmla="*/ 16 w 485"/>
              <a:gd name="T45" fmla="*/ 260 h 260"/>
              <a:gd name="T46" fmla="*/ 16 w 485"/>
              <a:gd name="T47" fmla="*/ 260 h 260"/>
              <a:gd name="T48" fmla="*/ 469 w 485"/>
              <a:gd name="T49" fmla="*/ 260 h 260"/>
              <a:gd name="T50" fmla="*/ 469 w 485"/>
              <a:gd name="T51" fmla="*/ 260 h 260"/>
              <a:gd name="T52" fmla="*/ 485 w 485"/>
              <a:gd name="T53" fmla="*/ 253 h 260"/>
              <a:gd name="T54" fmla="*/ 485 w 485"/>
              <a:gd name="T55" fmla="*/ 241 h 260"/>
              <a:gd name="T56" fmla="*/ 276 w 485"/>
              <a:gd name="T57" fmla="*/ 241 h 260"/>
              <a:gd name="T58" fmla="*/ 276 w 485"/>
              <a:gd name="T59" fmla="*/ 241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85" h="260">
                <a:moveTo>
                  <a:pt x="412" y="0"/>
                </a:moveTo>
                <a:cubicBezTo>
                  <a:pt x="74" y="0"/>
                  <a:pt x="74" y="0"/>
                  <a:pt x="74" y="0"/>
                </a:cubicBezTo>
                <a:cubicBezTo>
                  <a:pt x="68" y="0"/>
                  <a:pt x="62" y="5"/>
                  <a:pt x="62" y="12"/>
                </a:cubicBezTo>
                <a:cubicBezTo>
                  <a:pt x="62" y="220"/>
                  <a:pt x="62" y="220"/>
                  <a:pt x="62" y="220"/>
                </a:cubicBezTo>
                <a:cubicBezTo>
                  <a:pt x="62" y="227"/>
                  <a:pt x="68" y="232"/>
                  <a:pt x="74" y="232"/>
                </a:cubicBezTo>
                <a:cubicBezTo>
                  <a:pt x="412" y="232"/>
                  <a:pt x="412" y="232"/>
                  <a:pt x="412" y="232"/>
                </a:cubicBezTo>
                <a:cubicBezTo>
                  <a:pt x="419" y="232"/>
                  <a:pt x="424" y="227"/>
                  <a:pt x="424" y="220"/>
                </a:cubicBezTo>
                <a:cubicBezTo>
                  <a:pt x="424" y="12"/>
                  <a:pt x="424" y="12"/>
                  <a:pt x="424" y="12"/>
                </a:cubicBezTo>
                <a:cubicBezTo>
                  <a:pt x="424" y="5"/>
                  <a:pt x="419" y="0"/>
                  <a:pt x="412" y="0"/>
                </a:cubicBezTo>
                <a:close/>
                <a:moveTo>
                  <a:pt x="408" y="218"/>
                </a:moveTo>
                <a:cubicBezTo>
                  <a:pt x="77" y="218"/>
                  <a:pt x="77" y="218"/>
                  <a:pt x="77" y="218"/>
                </a:cubicBezTo>
                <a:cubicBezTo>
                  <a:pt x="77" y="13"/>
                  <a:pt x="77" y="13"/>
                  <a:pt x="77" y="13"/>
                </a:cubicBezTo>
                <a:cubicBezTo>
                  <a:pt x="408" y="13"/>
                  <a:pt x="408" y="13"/>
                  <a:pt x="408" y="13"/>
                </a:cubicBezTo>
                <a:cubicBezTo>
                  <a:pt x="408" y="218"/>
                  <a:pt x="408" y="218"/>
                  <a:pt x="408" y="218"/>
                </a:cubicBezTo>
                <a:close/>
                <a:moveTo>
                  <a:pt x="276" y="241"/>
                </a:moveTo>
                <a:cubicBezTo>
                  <a:pt x="276" y="243"/>
                  <a:pt x="276" y="243"/>
                  <a:pt x="276" y="243"/>
                </a:cubicBezTo>
                <a:cubicBezTo>
                  <a:pt x="276" y="246"/>
                  <a:pt x="274" y="247"/>
                  <a:pt x="271" y="247"/>
                </a:cubicBezTo>
                <a:cubicBezTo>
                  <a:pt x="214" y="247"/>
                  <a:pt x="214" y="247"/>
                  <a:pt x="214" y="247"/>
                </a:cubicBezTo>
                <a:cubicBezTo>
                  <a:pt x="212" y="247"/>
                  <a:pt x="210" y="246"/>
                  <a:pt x="210" y="243"/>
                </a:cubicBezTo>
                <a:cubicBezTo>
                  <a:pt x="210" y="241"/>
                  <a:pt x="210" y="241"/>
                  <a:pt x="210" y="241"/>
                </a:cubicBezTo>
                <a:cubicBezTo>
                  <a:pt x="0" y="241"/>
                  <a:pt x="0" y="241"/>
                  <a:pt x="0" y="241"/>
                </a:cubicBezTo>
                <a:cubicBezTo>
                  <a:pt x="0" y="253"/>
                  <a:pt x="0" y="253"/>
                  <a:pt x="0" y="253"/>
                </a:cubicBezTo>
                <a:cubicBezTo>
                  <a:pt x="0" y="253"/>
                  <a:pt x="11" y="260"/>
                  <a:pt x="16" y="260"/>
                </a:cubicBezTo>
                <a:cubicBezTo>
                  <a:pt x="16" y="260"/>
                  <a:pt x="16" y="260"/>
                  <a:pt x="16" y="260"/>
                </a:cubicBezTo>
                <a:cubicBezTo>
                  <a:pt x="469" y="260"/>
                  <a:pt x="469" y="260"/>
                  <a:pt x="469" y="260"/>
                </a:cubicBezTo>
                <a:cubicBezTo>
                  <a:pt x="469" y="260"/>
                  <a:pt x="469" y="260"/>
                  <a:pt x="469" y="260"/>
                </a:cubicBezTo>
                <a:cubicBezTo>
                  <a:pt x="474" y="260"/>
                  <a:pt x="485" y="253"/>
                  <a:pt x="485" y="253"/>
                </a:cubicBezTo>
                <a:cubicBezTo>
                  <a:pt x="485" y="241"/>
                  <a:pt x="485" y="241"/>
                  <a:pt x="485" y="241"/>
                </a:cubicBezTo>
                <a:cubicBezTo>
                  <a:pt x="276" y="241"/>
                  <a:pt x="276" y="241"/>
                  <a:pt x="276" y="241"/>
                </a:cubicBezTo>
                <a:cubicBezTo>
                  <a:pt x="276" y="241"/>
                  <a:pt x="276" y="241"/>
                  <a:pt x="276" y="241"/>
                </a:cubicBezTo>
                <a:close/>
              </a:path>
            </a:pathLst>
          </a:custGeom>
          <a:solidFill>
            <a:srgbClr val="68217A"/>
          </a:solidFill>
          <a:ln>
            <a:noFill/>
          </a:ln>
        </p:spPr>
        <p:txBody>
          <a:bodyPr vert="horz" wrap="square" lIns="91440" tIns="45720" rIns="91440" bIns="45720" numCol="1" anchor="t" anchorCtr="0" compatLnSpc="1">
            <a:prstTxWarp prst="textNoShape">
              <a:avLst/>
            </a:prstTxWarp>
          </a:bodyPr>
          <a:lstStyle/>
          <a:p>
            <a:pPr marL="0" marR="0" lvl="0" indent="0" defTabSz="932316"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 name="Rectangle 3"/>
          <p:cNvSpPr/>
          <p:nvPr/>
        </p:nvSpPr>
        <p:spPr bwMode="auto">
          <a:xfrm>
            <a:off x="6196083" y="2623316"/>
            <a:ext cx="4258955" cy="2958617"/>
          </a:xfrm>
          <a:prstGeom prst="rect">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6295634" y="2961543"/>
            <a:ext cx="4186700" cy="2442970"/>
          </a:xfrm>
          <a:prstGeom prst="rect">
            <a:avLst/>
          </a:prstGeom>
          <a:effectLst>
            <a:outerShdw blurRad="139700" dist="38100" dir="2700000" algn="tl" rotWithShape="0">
              <a:prstClr val="black">
                <a:alpha val="11000"/>
              </a:prstClr>
            </a:outerShdw>
          </a:effectLst>
        </p:spPr>
      </p:pic>
      <p:sp>
        <p:nvSpPr>
          <p:cNvPr id="10" name="Freeform 9"/>
          <p:cNvSpPr/>
          <p:nvPr/>
        </p:nvSpPr>
        <p:spPr>
          <a:xfrm rot="9954676">
            <a:off x="7427515" y="1581232"/>
            <a:ext cx="814677" cy="785630"/>
          </a:xfrm>
          <a:custGeom>
            <a:avLst/>
            <a:gdLst>
              <a:gd name="connsiteX0" fmla="*/ 147901 w 547492"/>
              <a:gd name="connsiteY0" fmla="*/ 159 h 547027"/>
              <a:gd name="connsiteX1" fmla="*/ 164790 w 547492"/>
              <a:gd name="connsiteY1" fmla="*/ 17385 h 547027"/>
              <a:gd name="connsiteX2" fmla="*/ 257543 w 547492"/>
              <a:gd name="connsiteY2" fmla="*/ 261873 h 547027"/>
              <a:gd name="connsiteX3" fmla="*/ 531263 w 547492"/>
              <a:gd name="connsiteY3" fmla="*/ 383096 h 547027"/>
              <a:gd name="connsiteX4" fmla="*/ 533050 w 547492"/>
              <a:gd name="connsiteY4" fmla="*/ 419093 h 547027"/>
              <a:gd name="connsiteX5" fmla="*/ 234902 w 547492"/>
              <a:gd name="connsiteY5" fmla="*/ 291210 h 547027"/>
              <a:gd name="connsiteX6" fmla="*/ 130118 w 547492"/>
              <a:gd name="connsiteY6" fmla="*/ 16219 h 547027"/>
              <a:gd name="connsiteX7" fmla="*/ 147901 w 547492"/>
              <a:gd name="connsiteY7" fmla="*/ 159 h 547027"/>
              <a:gd name="connsiteX8" fmla="*/ 258593 w 547492"/>
              <a:gd name="connsiteY8" fmla="*/ 83 h 547027"/>
              <a:gd name="connsiteX9" fmla="*/ 276870 w 547492"/>
              <a:gd name="connsiteY9" fmla="*/ 19473 h 547027"/>
              <a:gd name="connsiteX10" fmla="*/ 342477 w 547492"/>
              <a:gd name="connsiteY10" fmla="*/ 185830 h 547027"/>
              <a:gd name="connsiteX11" fmla="*/ 529533 w 547492"/>
              <a:gd name="connsiteY11" fmla="*/ 271534 h 547027"/>
              <a:gd name="connsiteX12" fmla="*/ 529010 w 547492"/>
              <a:gd name="connsiteY12" fmla="*/ 308769 h 547027"/>
              <a:gd name="connsiteX13" fmla="*/ 319908 w 547492"/>
              <a:gd name="connsiteY13" fmla="*/ 218161 h 547027"/>
              <a:gd name="connsiteX14" fmla="*/ 241025 w 547492"/>
              <a:gd name="connsiteY14" fmla="*/ 18615 h 547027"/>
              <a:gd name="connsiteX15" fmla="*/ 258593 w 547492"/>
              <a:gd name="connsiteY15" fmla="*/ 83 h 547027"/>
              <a:gd name="connsiteX16" fmla="*/ 18843 w 547492"/>
              <a:gd name="connsiteY16" fmla="*/ 10 h 547027"/>
              <a:gd name="connsiteX17" fmla="*/ 37685 w 547492"/>
              <a:gd name="connsiteY17" fmla="*/ 16302 h 547027"/>
              <a:gd name="connsiteX18" fmla="*/ 164891 w 547492"/>
              <a:gd name="connsiteY18" fmla="*/ 345340 h 547027"/>
              <a:gd name="connsiteX19" fmla="*/ 531167 w 547492"/>
              <a:gd name="connsiteY19" fmla="*/ 510082 h 547027"/>
              <a:gd name="connsiteX20" fmla="*/ 528039 w 547492"/>
              <a:gd name="connsiteY20" fmla="*/ 547022 h 547027"/>
              <a:gd name="connsiteX21" fmla="*/ 139867 w 547492"/>
              <a:gd name="connsiteY21" fmla="*/ 375130 h 547027"/>
              <a:gd name="connsiteX22" fmla="*/ 0 w 547492"/>
              <a:gd name="connsiteY22" fmla="*/ 15557 h 547027"/>
              <a:gd name="connsiteX23" fmla="*/ 18843 w 547492"/>
              <a:gd name="connsiteY23" fmla="*/ 10 h 547027"/>
              <a:gd name="connsiteX24" fmla="*/ 361357 w 547492"/>
              <a:gd name="connsiteY24" fmla="*/ 3 h 547027"/>
              <a:gd name="connsiteX25" fmla="*/ 379427 w 547492"/>
              <a:gd name="connsiteY25" fmla="*/ 22811 h 547027"/>
              <a:gd name="connsiteX26" fmla="*/ 416799 w 547492"/>
              <a:gd name="connsiteY26" fmla="*/ 121134 h 547027"/>
              <a:gd name="connsiteX27" fmla="*/ 530986 w 547492"/>
              <a:gd name="connsiteY27" fmla="*/ 167238 h 547027"/>
              <a:gd name="connsiteX28" fmla="*/ 528863 w 547492"/>
              <a:gd name="connsiteY28" fmla="*/ 205554 h 547027"/>
              <a:gd name="connsiteX29" fmla="*/ 395749 w 547492"/>
              <a:gd name="connsiteY29" fmla="*/ 150171 h 547027"/>
              <a:gd name="connsiteX30" fmla="*/ 342870 w 547492"/>
              <a:gd name="connsiteY30" fmla="*/ 38961 h 547027"/>
              <a:gd name="connsiteX31" fmla="*/ 343296 w 547492"/>
              <a:gd name="connsiteY31" fmla="*/ 21634 h 547027"/>
              <a:gd name="connsiteX32" fmla="*/ 361357 w 547492"/>
              <a:gd name="connsiteY32" fmla="*/ 3 h 547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547492" h="547027">
                <a:moveTo>
                  <a:pt x="147901" y="159"/>
                </a:moveTo>
                <a:cubicBezTo>
                  <a:pt x="156233" y="1247"/>
                  <a:pt x="164417" y="7883"/>
                  <a:pt x="164790" y="17385"/>
                </a:cubicBezTo>
                <a:cubicBezTo>
                  <a:pt x="163504" y="123250"/>
                  <a:pt x="210481" y="208637"/>
                  <a:pt x="257543" y="261873"/>
                </a:cubicBezTo>
                <a:cubicBezTo>
                  <a:pt x="329801" y="345790"/>
                  <a:pt x="450493" y="385299"/>
                  <a:pt x="531263" y="383096"/>
                </a:cubicBezTo>
                <a:cubicBezTo>
                  <a:pt x="554755" y="384136"/>
                  <a:pt x="550415" y="419245"/>
                  <a:pt x="533050" y="419093"/>
                </a:cubicBezTo>
                <a:cubicBezTo>
                  <a:pt x="450691" y="419472"/>
                  <a:pt x="338455" y="398909"/>
                  <a:pt x="234902" y="291210"/>
                </a:cubicBezTo>
                <a:cubicBezTo>
                  <a:pt x="193363" y="241274"/>
                  <a:pt x="128927" y="167539"/>
                  <a:pt x="130118" y="16219"/>
                </a:cubicBezTo>
                <a:cubicBezTo>
                  <a:pt x="131087" y="3530"/>
                  <a:pt x="139569" y="-930"/>
                  <a:pt x="147901" y="159"/>
                </a:cubicBezTo>
                <a:close/>
                <a:moveTo>
                  <a:pt x="258593" y="83"/>
                </a:moveTo>
                <a:cubicBezTo>
                  <a:pt x="267391" y="-753"/>
                  <a:pt x="276308" y="4730"/>
                  <a:pt x="276870" y="19473"/>
                </a:cubicBezTo>
                <a:cubicBezTo>
                  <a:pt x="277152" y="95057"/>
                  <a:pt x="309784" y="144239"/>
                  <a:pt x="342477" y="185830"/>
                </a:cubicBezTo>
                <a:cubicBezTo>
                  <a:pt x="395970" y="243463"/>
                  <a:pt x="472402" y="273156"/>
                  <a:pt x="529533" y="271534"/>
                </a:cubicBezTo>
                <a:cubicBezTo>
                  <a:pt x="554491" y="271108"/>
                  <a:pt x="552612" y="307689"/>
                  <a:pt x="529010" y="308769"/>
                </a:cubicBezTo>
                <a:cubicBezTo>
                  <a:pt x="463605" y="309049"/>
                  <a:pt x="394346" y="293904"/>
                  <a:pt x="319908" y="218161"/>
                </a:cubicBezTo>
                <a:cubicBezTo>
                  <a:pt x="290526" y="181384"/>
                  <a:pt x="240182" y="130058"/>
                  <a:pt x="241025" y="18615"/>
                </a:cubicBezTo>
                <a:cubicBezTo>
                  <a:pt x="241115" y="8077"/>
                  <a:pt x="249795" y="920"/>
                  <a:pt x="258593" y="83"/>
                </a:cubicBezTo>
                <a:close/>
                <a:moveTo>
                  <a:pt x="18843" y="10"/>
                </a:moveTo>
                <a:cubicBezTo>
                  <a:pt x="28214" y="265"/>
                  <a:pt x="37586" y="5826"/>
                  <a:pt x="37685" y="16302"/>
                </a:cubicBezTo>
                <a:cubicBezTo>
                  <a:pt x="35997" y="154729"/>
                  <a:pt x="103125" y="275729"/>
                  <a:pt x="164891" y="345340"/>
                </a:cubicBezTo>
                <a:cubicBezTo>
                  <a:pt x="259725" y="455069"/>
                  <a:pt x="425162" y="512962"/>
                  <a:pt x="531167" y="510082"/>
                </a:cubicBezTo>
                <a:cubicBezTo>
                  <a:pt x="555744" y="509883"/>
                  <a:pt x="550829" y="547221"/>
                  <a:pt x="528039" y="547022"/>
                </a:cubicBezTo>
                <a:cubicBezTo>
                  <a:pt x="419949" y="547519"/>
                  <a:pt x="273429" y="516735"/>
                  <a:pt x="139867" y="375130"/>
                </a:cubicBezTo>
                <a:cubicBezTo>
                  <a:pt x="85350" y="312173"/>
                  <a:pt x="0" y="200955"/>
                  <a:pt x="0" y="15557"/>
                </a:cubicBezTo>
                <a:cubicBezTo>
                  <a:pt x="99" y="4808"/>
                  <a:pt x="9471" y="-244"/>
                  <a:pt x="18843" y="10"/>
                </a:cubicBezTo>
                <a:close/>
                <a:moveTo>
                  <a:pt x="361357" y="3"/>
                </a:moveTo>
                <a:cubicBezTo>
                  <a:pt x="370360" y="-117"/>
                  <a:pt x="379364" y="7170"/>
                  <a:pt x="379427" y="22811"/>
                </a:cubicBezTo>
                <a:cubicBezTo>
                  <a:pt x="379608" y="73981"/>
                  <a:pt x="395801" y="92977"/>
                  <a:pt x="416799" y="121134"/>
                </a:cubicBezTo>
                <a:cubicBezTo>
                  <a:pt x="452945" y="158363"/>
                  <a:pt x="498462" y="168336"/>
                  <a:pt x="530986" y="167238"/>
                </a:cubicBezTo>
                <a:cubicBezTo>
                  <a:pt x="549400" y="166950"/>
                  <a:pt x="557131" y="203036"/>
                  <a:pt x="528863" y="205554"/>
                </a:cubicBezTo>
                <a:cubicBezTo>
                  <a:pt x="486854" y="205743"/>
                  <a:pt x="443561" y="201449"/>
                  <a:pt x="395749" y="150171"/>
                </a:cubicBezTo>
                <a:cubicBezTo>
                  <a:pt x="351991" y="102452"/>
                  <a:pt x="343809" y="62263"/>
                  <a:pt x="342870" y="38961"/>
                </a:cubicBezTo>
                <a:cubicBezTo>
                  <a:pt x="342557" y="31194"/>
                  <a:pt x="343049" y="25303"/>
                  <a:pt x="343296" y="21634"/>
                </a:cubicBezTo>
                <a:cubicBezTo>
                  <a:pt x="343354" y="7649"/>
                  <a:pt x="352355" y="122"/>
                  <a:pt x="361357" y="3"/>
                </a:cubicBezTo>
                <a:close/>
              </a:path>
            </a:pathLst>
          </a:custGeom>
          <a:solidFill>
            <a:srgbClr val="0072C6"/>
          </a:solidFill>
          <a:ln w="25400" cap="flat" cmpd="sng" algn="ctr">
            <a:noFill/>
            <a:prstDash val="solid"/>
          </a:ln>
          <a:effectLst/>
        </p:spPr>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32316"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smtClean="0">
              <a:ln>
                <a:noFill/>
              </a:ln>
              <a:solidFill>
                <a:srgbClr val="FFFFFF"/>
              </a:solidFill>
              <a:effectLst/>
              <a:uLnTx/>
              <a:uFillTx/>
              <a:latin typeface="Segoe UI"/>
              <a:ea typeface="+mn-ea"/>
              <a:cs typeface="+mn-cs"/>
            </a:endParaRPr>
          </a:p>
        </p:txBody>
      </p:sp>
      <p:sp>
        <p:nvSpPr>
          <p:cNvPr id="12" name="Freeform 52"/>
          <p:cNvSpPr>
            <a:spLocks noEditPoints="1"/>
          </p:cNvSpPr>
          <p:nvPr/>
        </p:nvSpPr>
        <p:spPr bwMode="auto">
          <a:xfrm>
            <a:off x="9683384" y="831944"/>
            <a:ext cx="219199" cy="345660"/>
          </a:xfrm>
          <a:custGeom>
            <a:avLst/>
            <a:gdLst>
              <a:gd name="T0" fmla="*/ 8 w 52"/>
              <a:gd name="T1" fmla="*/ 8 h 82"/>
              <a:gd name="T2" fmla="*/ 8 w 52"/>
              <a:gd name="T3" fmla="*/ 8 h 82"/>
              <a:gd name="T4" fmla="*/ 4 w 52"/>
              <a:gd name="T5" fmla="*/ 14 h 82"/>
              <a:gd name="T6" fmla="*/ 2 w 52"/>
              <a:gd name="T7" fmla="*/ 20 h 82"/>
              <a:gd name="T8" fmla="*/ 0 w 52"/>
              <a:gd name="T9" fmla="*/ 40 h 82"/>
              <a:gd name="T10" fmla="*/ 0 w 52"/>
              <a:gd name="T11" fmla="*/ 40 h 82"/>
              <a:gd name="T12" fmla="*/ 2 w 52"/>
              <a:gd name="T13" fmla="*/ 60 h 82"/>
              <a:gd name="T14" fmla="*/ 4 w 52"/>
              <a:gd name="T15" fmla="*/ 66 h 82"/>
              <a:gd name="T16" fmla="*/ 8 w 52"/>
              <a:gd name="T17" fmla="*/ 72 h 82"/>
              <a:gd name="T18" fmla="*/ 8 w 52"/>
              <a:gd name="T19" fmla="*/ 72 h 82"/>
              <a:gd name="T20" fmla="*/ 12 w 52"/>
              <a:gd name="T21" fmla="*/ 76 h 82"/>
              <a:gd name="T22" fmla="*/ 16 w 52"/>
              <a:gd name="T23" fmla="*/ 78 h 82"/>
              <a:gd name="T24" fmla="*/ 20 w 52"/>
              <a:gd name="T25" fmla="*/ 80 h 82"/>
              <a:gd name="T26" fmla="*/ 26 w 52"/>
              <a:gd name="T27" fmla="*/ 82 h 82"/>
              <a:gd name="T28" fmla="*/ 26 w 52"/>
              <a:gd name="T29" fmla="*/ 82 h 82"/>
              <a:gd name="T30" fmla="*/ 36 w 52"/>
              <a:gd name="T31" fmla="*/ 80 h 82"/>
              <a:gd name="T32" fmla="*/ 40 w 52"/>
              <a:gd name="T33" fmla="*/ 76 h 82"/>
              <a:gd name="T34" fmla="*/ 44 w 52"/>
              <a:gd name="T35" fmla="*/ 72 h 82"/>
              <a:gd name="T36" fmla="*/ 44 w 52"/>
              <a:gd name="T37" fmla="*/ 72 h 82"/>
              <a:gd name="T38" fmla="*/ 48 w 52"/>
              <a:gd name="T39" fmla="*/ 68 h 82"/>
              <a:gd name="T40" fmla="*/ 50 w 52"/>
              <a:gd name="T41" fmla="*/ 60 h 82"/>
              <a:gd name="T42" fmla="*/ 52 w 52"/>
              <a:gd name="T43" fmla="*/ 40 h 82"/>
              <a:gd name="T44" fmla="*/ 52 w 52"/>
              <a:gd name="T45" fmla="*/ 40 h 82"/>
              <a:gd name="T46" fmla="*/ 50 w 52"/>
              <a:gd name="T47" fmla="*/ 20 h 82"/>
              <a:gd name="T48" fmla="*/ 48 w 52"/>
              <a:gd name="T49" fmla="*/ 14 h 82"/>
              <a:gd name="T50" fmla="*/ 44 w 52"/>
              <a:gd name="T51" fmla="*/ 8 h 82"/>
              <a:gd name="T52" fmla="*/ 44 w 52"/>
              <a:gd name="T53" fmla="*/ 8 h 82"/>
              <a:gd name="T54" fmla="*/ 40 w 52"/>
              <a:gd name="T55" fmla="*/ 4 h 82"/>
              <a:gd name="T56" fmla="*/ 36 w 52"/>
              <a:gd name="T57" fmla="*/ 2 h 82"/>
              <a:gd name="T58" fmla="*/ 26 w 52"/>
              <a:gd name="T59" fmla="*/ 0 h 82"/>
              <a:gd name="T60" fmla="*/ 26 w 52"/>
              <a:gd name="T61" fmla="*/ 0 h 82"/>
              <a:gd name="T62" fmla="*/ 16 w 52"/>
              <a:gd name="T63" fmla="*/ 2 h 82"/>
              <a:gd name="T64" fmla="*/ 12 w 52"/>
              <a:gd name="T65" fmla="*/ 4 h 82"/>
              <a:gd name="T66" fmla="*/ 8 w 52"/>
              <a:gd name="T67" fmla="*/ 8 h 82"/>
              <a:gd name="T68" fmla="*/ 8 w 52"/>
              <a:gd name="T69" fmla="*/ 8 h 82"/>
              <a:gd name="T70" fmla="*/ 8 w 52"/>
              <a:gd name="T71" fmla="*/ 8 h 82"/>
              <a:gd name="T72" fmla="*/ 32 w 52"/>
              <a:gd name="T73" fmla="*/ 14 h 82"/>
              <a:gd name="T74" fmla="*/ 32 w 52"/>
              <a:gd name="T75" fmla="*/ 14 h 82"/>
              <a:gd name="T76" fmla="*/ 34 w 52"/>
              <a:gd name="T77" fmla="*/ 20 h 82"/>
              <a:gd name="T78" fmla="*/ 34 w 52"/>
              <a:gd name="T79" fmla="*/ 20 h 82"/>
              <a:gd name="T80" fmla="*/ 36 w 52"/>
              <a:gd name="T81" fmla="*/ 40 h 82"/>
              <a:gd name="T82" fmla="*/ 36 w 52"/>
              <a:gd name="T83" fmla="*/ 40 h 82"/>
              <a:gd name="T84" fmla="*/ 34 w 52"/>
              <a:gd name="T85" fmla="*/ 60 h 82"/>
              <a:gd name="T86" fmla="*/ 34 w 52"/>
              <a:gd name="T87" fmla="*/ 60 h 82"/>
              <a:gd name="T88" fmla="*/ 32 w 52"/>
              <a:gd name="T89" fmla="*/ 66 h 82"/>
              <a:gd name="T90" fmla="*/ 32 w 52"/>
              <a:gd name="T91" fmla="*/ 66 h 82"/>
              <a:gd name="T92" fmla="*/ 26 w 52"/>
              <a:gd name="T93" fmla="*/ 68 h 82"/>
              <a:gd name="T94" fmla="*/ 26 w 52"/>
              <a:gd name="T95" fmla="*/ 68 h 82"/>
              <a:gd name="T96" fmla="*/ 22 w 52"/>
              <a:gd name="T97" fmla="*/ 66 h 82"/>
              <a:gd name="T98" fmla="*/ 22 w 52"/>
              <a:gd name="T99" fmla="*/ 66 h 82"/>
              <a:gd name="T100" fmla="*/ 18 w 52"/>
              <a:gd name="T101" fmla="*/ 60 h 82"/>
              <a:gd name="T102" fmla="*/ 18 w 52"/>
              <a:gd name="T103" fmla="*/ 60 h 82"/>
              <a:gd name="T104" fmla="*/ 16 w 52"/>
              <a:gd name="T105" fmla="*/ 40 h 82"/>
              <a:gd name="T106" fmla="*/ 16 w 52"/>
              <a:gd name="T107" fmla="*/ 40 h 82"/>
              <a:gd name="T108" fmla="*/ 18 w 52"/>
              <a:gd name="T109" fmla="*/ 20 h 82"/>
              <a:gd name="T110" fmla="*/ 18 w 52"/>
              <a:gd name="T111" fmla="*/ 20 h 82"/>
              <a:gd name="T112" fmla="*/ 22 w 52"/>
              <a:gd name="T113" fmla="*/ 14 h 82"/>
              <a:gd name="T114" fmla="*/ 22 w 52"/>
              <a:gd name="T115" fmla="*/ 14 h 82"/>
              <a:gd name="T116" fmla="*/ 26 w 52"/>
              <a:gd name="T117" fmla="*/ 12 h 82"/>
              <a:gd name="T118" fmla="*/ 26 w 52"/>
              <a:gd name="T119" fmla="*/ 12 h 82"/>
              <a:gd name="T120" fmla="*/ 32 w 52"/>
              <a:gd name="T121" fmla="*/ 14 h 82"/>
              <a:gd name="T122" fmla="*/ 32 w 52"/>
              <a:gd name="T123" fmla="*/ 1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82">
                <a:moveTo>
                  <a:pt x="8" y="8"/>
                </a:moveTo>
                <a:lnTo>
                  <a:pt x="8" y="8"/>
                </a:lnTo>
                <a:lnTo>
                  <a:pt x="4" y="14"/>
                </a:lnTo>
                <a:lnTo>
                  <a:pt x="2" y="20"/>
                </a:lnTo>
                <a:lnTo>
                  <a:pt x="0" y="40"/>
                </a:lnTo>
                <a:lnTo>
                  <a:pt x="0" y="40"/>
                </a:lnTo>
                <a:lnTo>
                  <a:pt x="2" y="60"/>
                </a:lnTo>
                <a:lnTo>
                  <a:pt x="4" y="66"/>
                </a:lnTo>
                <a:lnTo>
                  <a:pt x="8" y="72"/>
                </a:lnTo>
                <a:lnTo>
                  <a:pt x="8" y="72"/>
                </a:lnTo>
                <a:lnTo>
                  <a:pt x="12" y="76"/>
                </a:lnTo>
                <a:lnTo>
                  <a:pt x="16" y="78"/>
                </a:lnTo>
                <a:lnTo>
                  <a:pt x="20" y="80"/>
                </a:lnTo>
                <a:lnTo>
                  <a:pt x="26" y="82"/>
                </a:lnTo>
                <a:lnTo>
                  <a:pt x="26" y="82"/>
                </a:lnTo>
                <a:lnTo>
                  <a:pt x="36" y="80"/>
                </a:lnTo>
                <a:lnTo>
                  <a:pt x="40" y="76"/>
                </a:lnTo>
                <a:lnTo>
                  <a:pt x="44" y="72"/>
                </a:lnTo>
                <a:lnTo>
                  <a:pt x="44" y="72"/>
                </a:lnTo>
                <a:lnTo>
                  <a:pt x="48" y="68"/>
                </a:lnTo>
                <a:lnTo>
                  <a:pt x="50" y="60"/>
                </a:lnTo>
                <a:lnTo>
                  <a:pt x="52" y="40"/>
                </a:lnTo>
                <a:lnTo>
                  <a:pt x="52" y="40"/>
                </a:lnTo>
                <a:lnTo>
                  <a:pt x="50" y="20"/>
                </a:lnTo>
                <a:lnTo>
                  <a:pt x="48" y="14"/>
                </a:lnTo>
                <a:lnTo>
                  <a:pt x="44" y="8"/>
                </a:lnTo>
                <a:lnTo>
                  <a:pt x="44" y="8"/>
                </a:lnTo>
                <a:lnTo>
                  <a:pt x="40" y="4"/>
                </a:lnTo>
                <a:lnTo>
                  <a:pt x="36" y="2"/>
                </a:lnTo>
                <a:lnTo>
                  <a:pt x="26" y="0"/>
                </a:lnTo>
                <a:lnTo>
                  <a:pt x="26" y="0"/>
                </a:lnTo>
                <a:lnTo>
                  <a:pt x="16" y="2"/>
                </a:lnTo>
                <a:lnTo>
                  <a:pt x="12" y="4"/>
                </a:lnTo>
                <a:lnTo>
                  <a:pt x="8" y="8"/>
                </a:lnTo>
                <a:lnTo>
                  <a:pt x="8" y="8"/>
                </a:lnTo>
                <a:lnTo>
                  <a:pt x="8" y="8"/>
                </a:lnTo>
                <a:close/>
                <a:moveTo>
                  <a:pt x="32" y="14"/>
                </a:moveTo>
                <a:lnTo>
                  <a:pt x="32" y="14"/>
                </a:lnTo>
                <a:lnTo>
                  <a:pt x="34" y="20"/>
                </a:lnTo>
                <a:lnTo>
                  <a:pt x="34" y="20"/>
                </a:lnTo>
                <a:lnTo>
                  <a:pt x="36" y="40"/>
                </a:lnTo>
                <a:lnTo>
                  <a:pt x="36" y="40"/>
                </a:lnTo>
                <a:lnTo>
                  <a:pt x="34" y="60"/>
                </a:lnTo>
                <a:lnTo>
                  <a:pt x="34" y="60"/>
                </a:lnTo>
                <a:lnTo>
                  <a:pt x="32" y="66"/>
                </a:lnTo>
                <a:lnTo>
                  <a:pt x="32" y="66"/>
                </a:lnTo>
                <a:lnTo>
                  <a:pt x="26" y="68"/>
                </a:lnTo>
                <a:lnTo>
                  <a:pt x="26" y="68"/>
                </a:lnTo>
                <a:lnTo>
                  <a:pt x="22" y="66"/>
                </a:lnTo>
                <a:lnTo>
                  <a:pt x="22" y="66"/>
                </a:lnTo>
                <a:lnTo>
                  <a:pt x="18" y="60"/>
                </a:lnTo>
                <a:lnTo>
                  <a:pt x="18" y="60"/>
                </a:lnTo>
                <a:lnTo>
                  <a:pt x="16" y="40"/>
                </a:lnTo>
                <a:lnTo>
                  <a:pt x="16" y="40"/>
                </a:lnTo>
                <a:lnTo>
                  <a:pt x="18" y="20"/>
                </a:lnTo>
                <a:lnTo>
                  <a:pt x="18" y="20"/>
                </a:lnTo>
                <a:lnTo>
                  <a:pt x="22" y="14"/>
                </a:lnTo>
                <a:lnTo>
                  <a:pt x="22" y="14"/>
                </a:lnTo>
                <a:lnTo>
                  <a:pt x="26" y="12"/>
                </a:lnTo>
                <a:lnTo>
                  <a:pt x="26" y="12"/>
                </a:lnTo>
                <a:lnTo>
                  <a:pt x="32" y="14"/>
                </a:lnTo>
                <a:lnTo>
                  <a:pt x="32" y="14"/>
                </a:lnTo>
                <a:close/>
              </a:path>
            </a:pathLst>
          </a:custGeom>
          <a:solidFill>
            <a:srgbClr val="FFFFFF">
              <a:alpha val="30000"/>
            </a:srgbClr>
          </a:solidFill>
          <a:ln>
            <a:noFill/>
          </a:ln>
          <a:extLst/>
        </p:spPr>
        <p:txBody>
          <a:bodyPr vert="horz" wrap="square" lIns="91440" tIns="45720" rIns="91440" bIns="45720" numCol="1" anchor="t" anchorCtr="0" compatLnSpc="1">
            <a:prstTxWarp prst="textNoShape">
              <a:avLst/>
            </a:prstTxWarp>
          </a:bodyPr>
          <a:lstStyle/>
          <a:p>
            <a:pPr marL="0" marR="0" lvl="0" indent="0" defTabSz="932316"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FFFFFF">
                  <a:alpha val="0"/>
                </a:srgbClr>
              </a:solidFill>
              <a:effectLst/>
              <a:uLnTx/>
              <a:uFillTx/>
            </a:endParaRPr>
          </a:p>
        </p:txBody>
      </p:sp>
      <p:grpSp>
        <p:nvGrpSpPr>
          <p:cNvPr id="13" name="Group 12"/>
          <p:cNvGrpSpPr/>
          <p:nvPr/>
        </p:nvGrpSpPr>
        <p:grpSpPr>
          <a:xfrm>
            <a:off x="8705043" y="845002"/>
            <a:ext cx="3268966" cy="1678640"/>
            <a:chOff x="5296624" y="2447744"/>
            <a:chExt cx="2264777" cy="1162977"/>
          </a:xfrm>
        </p:grpSpPr>
        <p:sp>
          <p:nvSpPr>
            <p:cNvPr id="14" name="Oval 13"/>
            <p:cNvSpPr/>
            <p:nvPr/>
          </p:nvSpPr>
          <p:spPr bwMode="auto">
            <a:xfrm>
              <a:off x="6857032" y="2906352"/>
              <a:ext cx="704369" cy="704369"/>
            </a:xfrm>
            <a:prstGeom prst="ellipse">
              <a:avLst/>
            </a:prstGeom>
            <a:solidFill>
              <a:srgbClr val="DC3C00"/>
            </a:solidFill>
            <a:ln w="9525" cap="flat" cmpd="sng" algn="ctr">
              <a:noFill/>
              <a:prstDash val="solid"/>
              <a:headEnd type="none" w="med" len="med"/>
              <a:tailEnd type="none" w="med" len="med"/>
            </a:ln>
            <a:effectLst>
              <a:outerShdw dist="88900" dir="2700000" sx="96000" sy="96000" algn="tl" rotWithShape="0">
                <a:prstClr val="black">
                  <a:alpha val="11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Oval 14"/>
            <p:cNvSpPr/>
            <p:nvPr/>
          </p:nvSpPr>
          <p:spPr bwMode="auto">
            <a:xfrm>
              <a:off x="5296624" y="2447744"/>
              <a:ext cx="502940" cy="502940"/>
            </a:xfrm>
            <a:prstGeom prst="ellipse">
              <a:avLst/>
            </a:prstGeom>
            <a:solidFill>
              <a:srgbClr val="008272"/>
            </a:solidFill>
            <a:ln w="9525" cap="flat" cmpd="sng" algn="ctr">
              <a:noFill/>
              <a:prstDash val="solid"/>
              <a:headEnd type="none" w="med" len="med"/>
              <a:tailEnd type="none" w="med" len="med"/>
            </a:ln>
            <a:effectLst>
              <a:outerShdw dist="88900" dir="2700000" sx="96000" sy="96000" algn="tl" rotWithShape="0">
                <a:prstClr val="black">
                  <a:alpha val="11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 name="Round Diagonal Corner Rectangle 53"/>
            <p:cNvSpPr/>
            <p:nvPr/>
          </p:nvSpPr>
          <p:spPr bwMode="auto">
            <a:xfrm flipH="1">
              <a:off x="7019230" y="3028648"/>
              <a:ext cx="367305" cy="444791"/>
            </a:xfrm>
            <a:custGeom>
              <a:avLst/>
              <a:gdLst/>
              <a:ahLst/>
              <a:cxnLst/>
              <a:rect l="l" t="t" r="r" b="b"/>
              <a:pathLst>
                <a:path w="1271587" h="1572173">
                  <a:moveTo>
                    <a:pt x="823054" y="1205454"/>
                  </a:moveTo>
                  <a:lnTo>
                    <a:pt x="246792" y="1205454"/>
                  </a:lnTo>
                  <a:cubicBezTo>
                    <a:pt x="226407" y="1205454"/>
                    <a:pt x="209882" y="1221979"/>
                    <a:pt x="209882" y="1242364"/>
                  </a:cubicBezTo>
                  <a:lnTo>
                    <a:pt x="209883" y="1242364"/>
                  </a:lnTo>
                  <a:cubicBezTo>
                    <a:pt x="209883" y="1262749"/>
                    <a:pt x="226408" y="1279274"/>
                    <a:pt x="246793" y="1279274"/>
                  </a:cubicBezTo>
                  <a:lnTo>
                    <a:pt x="823054" y="1279273"/>
                  </a:lnTo>
                  <a:cubicBezTo>
                    <a:pt x="843439" y="1279273"/>
                    <a:pt x="859964" y="1262748"/>
                    <a:pt x="859964" y="1242364"/>
                  </a:cubicBezTo>
                  <a:cubicBezTo>
                    <a:pt x="859964" y="1221979"/>
                    <a:pt x="843439" y="1205454"/>
                    <a:pt x="823054" y="1205454"/>
                  </a:cubicBezTo>
                  <a:close/>
                  <a:moveTo>
                    <a:pt x="823054" y="1034004"/>
                  </a:moveTo>
                  <a:lnTo>
                    <a:pt x="246792" y="1034004"/>
                  </a:lnTo>
                  <a:cubicBezTo>
                    <a:pt x="226407" y="1034004"/>
                    <a:pt x="209882" y="1050529"/>
                    <a:pt x="209882" y="1070914"/>
                  </a:cubicBezTo>
                  <a:lnTo>
                    <a:pt x="209883" y="1070914"/>
                  </a:lnTo>
                  <a:cubicBezTo>
                    <a:pt x="209883" y="1091299"/>
                    <a:pt x="226408" y="1107824"/>
                    <a:pt x="246793" y="1107824"/>
                  </a:cubicBezTo>
                  <a:lnTo>
                    <a:pt x="823054" y="1107823"/>
                  </a:lnTo>
                  <a:cubicBezTo>
                    <a:pt x="843439" y="1107823"/>
                    <a:pt x="859964" y="1091298"/>
                    <a:pt x="859964" y="1070914"/>
                  </a:cubicBezTo>
                  <a:cubicBezTo>
                    <a:pt x="859964" y="1050529"/>
                    <a:pt x="843439" y="1034004"/>
                    <a:pt x="823054" y="1034004"/>
                  </a:cubicBezTo>
                  <a:close/>
                  <a:moveTo>
                    <a:pt x="823054" y="862553"/>
                  </a:moveTo>
                  <a:lnTo>
                    <a:pt x="246792" y="862553"/>
                  </a:lnTo>
                  <a:cubicBezTo>
                    <a:pt x="226407" y="862553"/>
                    <a:pt x="209882" y="879078"/>
                    <a:pt x="209882" y="899463"/>
                  </a:cubicBezTo>
                  <a:lnTo>
                    <a:pt x="209883" y="899463"/>
                  </a:lnTo>
                  <a:cubicBezTo>
                    <a:pt x="209883" y="919848"/>
                    <a:pt x="226408" y="936373"/>
                    <a:pt x="246793" y="936373"/>
                  </a:cubicBezTo>
                  <a:lnTo>
                    <a:pt x="823054" y="936372"/>
                  </a:lnTo>
                  <a:cubicBezTo>
                    <a:pt x="843439" y="936372"/>
                    <a:pt x="859964" y="919847"/>
                    <a:pt x="859964" y="899463"/>
                  </a:cubicBezTo>
                  <a:cubicBezTo>
                    <a:pt x="859964" y="879078"/>
                    <a:pt x="843439" y="862553"/>
                    <a:pt x="823054" y="862553"/>
                  </a:cubicBezTo>
                  <a:close/>
                  <a:moveTo>
                    <a:pt x="570642" y="693484"/>
                  </a:moveTo>
                  <a:lnTo>
                    <a:pt x="246792" y="693484"/>
                  </a:lnTo>
                  <a:cubicBezTo>
                    <a:pt x="226407" y="693484"/>
                    <a:pt x="209882" y="710009"/>
                    <a:pt x="209882" y="730394"/>
                  </a:cubicBezTo>
                  <a:lnTo>
                    <a:pt x="209883" y="730394"/>
                  </a:lnTo>
                  <a:cubicBezTo>
                    <a:pt x="209883" y="750779"/>
                    <a:pt x="226408" y="767304"/>
                    <a:pt x="246793" y="767304"/>
                  </a:cubicBezTo>
                  <a:lnTo>
                    <a:pt x="570642" y="767303"/>
                  </a:lnTo>
                  <a:cubicBezTo>
                    <a:pt x="591027" y="767303"/>
                    <a:pt x="607552" y="750778"/>
                    <a:pt x="607552" y="730394"/>
                  </a:cubicBezTo>
                  <a:cubicBezTo>
                    <a:pt x="607552" y="710009"/>
                    <a:pt x="591027" y="693484"/>
                    <a:pt x="570642" y="693484"/>
                  </a:cubicBezTo>
                  <a:close/>
                  <a:moveTo>
                    <a:pt x="679213" y="429158"/>
                  </a:moveTo>
                  <a:lnTo>
                    <a:pt x="679213" y="645579"/>
                  </a:lnTo>
                  <a:cubicBezTo>
                    <a:pt x="679213" y="679926"/>
                    <a:pt x="707057" y="707770"/>
                    <a:pt x="741404" y="707770"/>
                  </a:cubicBezTo>
                  <a:lnTo>
                    <a:pt x="992124" y="707770"/>
                  </a:lnTo>
                  <a:lnTo>
                    <a:pt x="992124" y="1398611"/>
                  </a:lnTo>
                  <a:cubicBezTo>
                    <a:pt x="992124" y="1451881"/>
                    <a:pt x="971294" y="1504590"/>
                    <a:pt x="897731" y="1495065"/>
                  </a:cubicBezTo>
                  <a:lnTo>
                    <a:pt x="77724" y="1495065"/>
                  </a:lnTo>
                  <a:lnTo>
                    <a:pt x="77724" y="527973"/>
                  </a:lnTo>
                  <a:cubicBezTo>
                    <a:pt x="80105" y="443747"/>
                    <a:pt x="119986" y="431519"/>
                    <a:pt x="172117" y="431519"/>
                  </a:cubicBezTo>
                  <a:lnTo>
                    <a:pt x="173626" y="431512"/>
                  </a:lnTo>
                  <a:lnTo>
                    <a:pt x="173626" y="432343"/>
                  </a:lnTo>
                  <a:lnTo>
                    <a:pt x="253392" y="432343"/>
                  </a:lnTo>
                  <a:lnTo>
                    <a:pt x="253392" y="431141"/>
                  </a:lnTo>
                  <a:close/>
                  <a:moveTo>
                    <a:pt x="870687" y="76711"/>
                  </a:moveTo>
                  <a:lnTo>
                    <a:pt x="870687" y="298819"/>
                  </a:lnTo>
                  <a:cubicBezTo>
                    <a:pt x="870687" y="323322"/>
                    <a:pt x="884495" y="344600"/>
                    <a:pt x="904891" y="355035"/>
                  </a:cubicBezTo>
                  <a:lnTo>
                    <a:pt x="1184859" y="355035"/>
                  </a:lnTo>
                  <a:lnTo>
                    <a:pt x="1184859" y="362645"/>
                  </a:lnTo>
                  <a:lnTo>
                    <a:pt x="1191821" y="362645"/>
                  </a:lnTo>
                  <a:lnTo>
                    <a:pt x="1191821" y="1071639"/>
                  </a:lnTo>
                  <a:cubicBezTo>
                    <a:pt x="1191821" y="1087950"/>
                    <a:pt x="1189918" y="1104210"/>
                    <a:pt x="1184859" y="1118613"/>
                  </a:cubicBezTo>
                  <a:lnTo>
                    <a:pt x="1184859" y="1165881"/>
                  </a:lnTo>
                  <a:lnTo>
                    <a:pt x="1143986" y="1165881"/>
                  </a:lnTo>
                  <a:cubicBezTo>
                    <a:pt x="1131093" y="1171331"/>
                    <a:pt x="1114913" y="1173213"/>
                    <a:pt x="1094947" y="1170628"/>
                  </a:cubicBezTo>
                  <a:lnTo>
                    <a:pt x="1069848" y="1170628"/>
                  </a:lnTo>
                  <a:lnTo>
                    <a:pt x="1069848" y="664962"/>
                  </a:lnTo>
                  <a:lnTo>
                    <a:pt x="733418" y="354411"/>
                  </a:lnTo>
                  <a:lnTo>
                    <a:pt x="253392" y="354411"/>
                  </a:lnTo>
                  <a:lnTo>
                    <a:pt x="253392" y="178123"/>
                  </a:lnTo>
                  <a:cubicBezTo>
                    <a:pt x="255836" y="91683"/>
                    <a:pt x="296765" y="79134"/>
                    <a:pt x="350266" y="79134"/>
                  </a:cubicBezTo>
                  <a:close/>
                  <a:moveTo>
                    <a:pt x="926316" y="0"/>
                  </a:moveTo>
                  <a:lnTo>
                    <a:pt x="286968" y="0"/>
                  </a:lnTo>
                  <a:cubicBezTo>
                    <a:pt x="224371" y="0"/>
                    <a:pt x="173626" y="50745"/>
                    <a:pt x="173626" y="113342"/>
                  </a:cubicBezTo>
                  <a:lnTo>
                    <a:pt x="173626" y="354411"/>
                  </a:lnTo>
                  <a:lnTo>
                    <a:pt x="110440" y="354411"/>
                  </a:lnTo>
                  <a:cubicBezTo>
                    <a:pt x="49446" y="354411"/>
                    <a:pt x="0" y="403857"/>
                    <a:pt x="0" y="464851"/>
                  </a:cubicBezTo>
                  <a:lnTo>
                    <a:pt x="0" y="1572173"/>
                  </a:lnTo>
                  <a:lnTo>
                    <a:pt x="959408" y="1572173"/>
                  </a:lnTo>
                  <a:cubicBezTo>
                    <a:pt x="1020402" y="1572173"/>
                    <a:pt x="1069848" y="1522727"/>
                    <a:pt x="1069848" y="1461733"/>
                  </a:cubicBezTo>
                  <a:lnTo>
                    <a:pt x="1069848" y="1249762"/>
                  </a:lnTo>
                  <a:lnTo>
                    <a:pt x="1158245" y="1249762"/>
                  </a:lnTo>
                  <a:cubicBezTo>
                    <a:pt x="1220842" y="1249762"/>
                    <a:pt x="1271587" y="1199017"/>
                    <a:pt x="1271587" y="1136420"/>
                  </a:cubicBezTo>
                  <a:lnTo>
                    <a:pt x="1271587" y="318712"/>
                  </a:ln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600" b="0" i="0" u="none" strike="noStrike" kern="0" cap="none" spc="-5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7" name="Group 16"/>
            <p:cNvGrpSpPr/>
            <p:nvPr/>
          </p:nvGrpSpPr>
          <p:grpSpPr>
            <a:xfrm>
              <a:off x="5443535" y="2559334"/>
              <a:ext cx="925930" cy="269941"/>
              <a:chOff x="8029572" y="4788184"/>
              <a:chExt cx="925930" cy="269941"/>
            </a:xfrm>
            <a:solidFill>
              <a:srgbClr val="FFFFFF"/>
            </a:solidFill>
          </p:grpSpPr>
          <p:sp>
            <p:nvSpPr>
              <p:cNvPr id="19" name="Round Diagonal Corner Rectangle 53"/>
              <p:cNvSpPr/>
              <p:nvPr/>
            </p:nvSpPr>
            <p:spPr bwMode="auto">
              <a:xfrm>
                <a:off x="8029572" y="4788184"/>
                <a:ext cx="237151" cy="269941"/>
              </a:xfrm>
              <a:custGeom>
                <a:avLst/>
                <a:gdLst/>
                <a:ahLst/>
                <a:cxnLst/>
                <a:rect l="l" t="t" r="r" b="b"/>
                <a:pathLst>
                  <a:path w="3235820" h="3683194">
                    <a:moveTo>
                      <a:pt x="595560" y="650095"/>
                    </a:moveTo>
                    <a:lnTo>
                      <a:pt x="1886300" y="650095"/>
                    </a:lnTo>
                    <a:lnTo>
                      <a:pt x="1886300" y="1018395"/>
                    </a:lnTo>
                    <a:lnTo>
                      <a:pt x="595560" y="1018395"/>
                    </a:lnTo>
                    <a:close/>
                    <a:moveTo>
                      <a:pt x="2054321" y="226077"/>
                    </a:moveTo>
                    <a:lnTo>
                      <a:pt x="520579" y="233218"/>
                    </a:lnTo>
                    <a:cubicBezTo>
                      <a:pt x="362905" y="233218"/>
                      <a:pt x="242283" y="270202"/>
                      <a:pt x="235081" y="524949"/>
                    </a:cubicBezTo>
                    <a:lnTo>
                      <a:pt x="235081" y="3449976"/>
                    </a:lnTo>
                    <a:lnTo>
                      <a:pt x="2715242" y="3449976"/>
                    </a:lnTo>
                    <a:cubicBezTo>
                      <a:pt x="2937738" y="3478785"/>
                      <a:pt x="3000739" y="3319364"/>
                      <a:pt x="3000739" y="3158245"/>
                    </a:cubicBezTo>
                    <a:lnTo>
                      <a:pt x="3000739" y="1068756"/>
                    </a:lnTo>
                    <a:lnTo>
                      <a:pt x="2242421" y="1068756"/>
                    </a:lnTo>
                    <a:cubicBezTo>
                      <a:pt x="2138537" y="1068756"/>
                      <a:pt x="2054321" y="984540"/>
                      <a:pt x="2054321" y="880655"/>
                    </a:cubicBezTo>
                    <a:close/>
                    <a:moveTo>
                      <a:pt x="334033" y="0"/>
                    </a:moveTo>
                    <a:lnTo>
                      <a:pt x="2218267" y="0"/>
                    </a:lnTo>
                    <a:lnTo>
                      <a:pt x="3235820" y="939280"/>
                    </a:lnTo>
                    <a:lnTo>
                      <a:pt x="3235820" y="3349162"/>
                    </a:lnTo>
                    <a:cubicBezTo>
                      <a:pt x="3235820" y="3533642"/>
                      <a:pt x="3086268" y="3683194"/>
                      <a:pt x="2901788" y="3683194"/>
                    </a:cubicBezTo>
                    <a:lnTo>
                      <a:pt x="0" y="3683194"/>
                    </a:lnTo>
                    <a:lnTo>
                      <a:pt x="0" y="334033"/>
                    </a:lnTo>
                    <a:cubicBezTo>
                      <a:pt x="0" y="149553"/>
                      <a:pt x="149553" y="0"/>
                      <a:pt x="334033" y="0"/>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1836"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Wave 8"/>
              <p:cNvSpPr/>
              <p:nvPr/>
            </p:nvSpPr>
            <p:spPr>
              <a:xfrm>
                <a:off x="8810657" y="4891109"/>
                <a:ext cx="144845" cy="9002"/>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w="10795" cap="flat" cmpd="sng" algn="ctr">
                <a:noFill/>
                <a:prstDash val="solid"/>
              </a:ln>
              <a:effectLst/>
            </p:spPr>
            <p:txBody>
              <a:bodyPr rtlCol="0" anchor="ctr"/>
              <a:lstStyle/>
              <a:p>
                <a:pPr marL="0" marR="0" lvl="0" indent="0" algn="ctr" defTabSz="932316"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FFFFFF"/>
                  </a:solidFill>
                  <a:effectLst/>
                  <a:uLnTx/>
                  <a:uFillTx/>
                  <a:latin typeface="Segoe UI"/>
                  <a:ea typeface="+mn-ea"/>
                  <a:cs typeface="+mn-cs"/>
                </a:endParaRPr>
              </a:p>
            </p:txBody>
          </p:sp>
          <p:sp>
            <p:nvSpPr>
              <p:cNvPr id="21" name="Wave 8"/>
              <p:cNvSpPr/>
              <p:nvPr/>
            </p:nvSpPr>
            <p:spPr>
              <a:xfrm>
                <a:off x="8056200" y="4920863"/>
                <a:ext cx="184126" cy="31675"/>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w="10795" cap="flat" cmpd="sng" algn="ctr">
                <a:noFill/>
                <a:prstDash val="solid"/>
              </a:ln>
              <a:effectLst/>
            </p:spPr>
            <p:txBody>
              <a:bodyPr rtlCol="0" anchor="ctr"/>
              <a:lstStyle/>
              <a:p>
                <a:pPr marL="0" marR="0" lvl="0" indent="0" algn="ctr" defTabSz="932316"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FFFFFF"/>
                  </a:solidFill>
                  <a:effectLst/>
                  <a:uLnTx/>
                  <a:uFillTx/>
                  <a:latin typeface="Segoe UI"/>
                  <a:ea typeface="+mn-ea"/>
                  <a:cs typeface="+mn-cs"/>
                </a:endParaRPr>
              </a:p>
            </p:txBody>
          </p:sp>
          <p:sp>
            <p:nvSpPr>
              <p:cNvPr id="22" name="Wave 8"/>
              <p:cNvSpPr/>
              <p:nvPr/>
            </p:nvSpPr>
            <p:spPr>
              <a:xfrm>
                <a:off x="8063681" y="4893883"/>
                <a:ext cx="144845" cy="9002"/>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w="10795" cap="flat" cmpd="sng" algn="ctr">
                <a:noFill/>
                <a:prstDash val="solid"/>
              </a:ln>
              <a:effectLst/>
            </p:spPr>
            <p:txBody>
              <a:bodyPr rtlCol="0" anchor="ctr"/>
              <a:lstStyle/>
              <a:p>
                <a:pPr marL="0" marR="0" lvl="0" indent="0" algn="ctr" defTabSz="932316"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FFFFFF"/>
                  </a:solidFill>
                  <a:effectLst/>
                  <a:uLnTx/>
                  <a:uFillTx/>
                  <a:latin typeface="Segoe UI"/>
                  <a:ea typeface="+mn-ea"/>
                  <a:cs typeface="+mn-cs"/>
                </a:endParaRPr>
              </a:p>
            </p:txBody>
          </p:sp>
          <p:sp>
            <p:nvSpPr>
              <p:cNvPr id="23" name="Wave 8"/>
              <p:cNvSpPr/>
              <p:nvPr/>
            </p:nvSpPr>
            <p:spPr>
              <a:xfrm>
                <a:off x="8810657" y="4980371"/>
                <a:ext cx="144845" cy="9002"/>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w="10795" cap="flat" cmpd="sng" algn="ctr">
                <a:noFill/>
                <a:prstDash val="solid"/>
              </a:ln>
              <a:effectLst/>
            </p:spPr>
            <p:txBody>
              <a:bodyPr rtlCol="0" anchor="ctr"/>
              <a:lstStyle/>
              <a:p>
                <a:pPr marL="0" marR="0" lvl="0" indent="0" algn="ctr" defTabSz="932316"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FFFFFF"/>
                  </a:solidFill>
                  <a:effectLst/>
                  <a:uLnTx/>
                  <a:uFillTx/>
                  <a:latin typeface="Segoe UI"/>
                  <a:ea typeface="+mn-ea"/>
                  <a:cs typeface="+mn-cs"/>
                </a:endParaRPr>
              </a:p>
            </p:txBody>
          </p:sp>
          <p:sp>
            <p:nvSpPr>
              <p:cNvPr id="24" name="Wave 8"/>
              <p:cNvSpPr/>
              <p:nvPr/>
            </p:nvSpPr>
            <p:spPr>
              <a:xfrm>
                <a:off x="8810657" y="5010125"/>
                <a:ext cx="144845" cy="9002"/>
              </a:xfrm>
              <a:custGeom>
                <a:avLst/>
                <a:gdLst>
                  <a:gd name="connsiteX0" fmla="*/ 339725 w 5497620"/>
                  <a:gd name="connsiteY0" fmla="*/ 1022 h 327083"/>
                  <a:gd name="connsiteX1" fmla="*/ 1358900 w 5497620"/>
                  <a:gd name="connsiteY1" fmla="*/ 39717 h 327083"/>
                  <a:gd name="connsiteX2" fmla="*/ 1698625 w 5497620"/>
                  <a:gd name="connsiteY2" fmla="*/ 1022 h 327083"/>
                  <a:gd name="connsiteX3" fmla="*/ 2717800 w 5497620"/>
                  <a:gd name="connsiteY3" fmla="*/ 39717 h 327083"/>
                  <a:gd name="connsiteX4" fmla="*/ 3057525 w 5497620"/>
                  <a:gd name="connsiteY4" fmla="*/ 1022 h 327083"/>
                  <a:gd name="connsiteX5" fmla="*/ 4076700 w 5497620"/>
                  <a:gd name="connsiteY5" fmla="*/ 39717 h 327083"/>
                  <a:gd name="connsiteX6" fmla="*/ 5435600 w 5497620"/>
                  <a:gd name="connsiteY6" fmla="*/ 39717 h 327083"/>
                  <a:gd name="connsiteX7" fmla="*/ 5435600 w 5497620"/>
                  <a:gd name="connsiteY7" fmla="*/ 287367 h 327083"/>
                  <a:gd name="connsiteX8" fmla="*/ 4076700 w 5497620"/>
                  <a:gd name="connsiteY8" fmla="*/ 287367 h 327083"/>
                  <a:gd name="connsiteX9" fmla="*/ 2717800 w 5497620"/>
                  <a:gd name="connsiteY9" fmla="*/ 287367 h 327083"/>
                  <a:gd name="connsiteX10" fmla="*/ 1358900 w 5497620"/>
                  <a:gd name="connsiteY10" fmla="*/ 287367 h 327083"/>
                  <a:gd name="connsiteX11" fmla="*/ 0 w 5497620"/>
                  <a:gd name="connsiteY11" fmla="*/ 287367 h 327083"/>
                  <a:gd name="connsiteX12" fmla="*/ 0 w 5497620"/>
                  <a:gd name="connsiteY12" fmla="*/ 39717 h 327083"/>
                  <a:gd name="connsiteX13" fmla="*/ 339725 w 5497620"/>
                  <a:gd name="connsiteY13" fmla="*/ 1022 h 327083"/>
                  <a:gd name="connsiteX0" fmla="*/ 339725 w 5521465"/>
                  <a:gd name="connsiteY0" fmla="*/ 1022 h 327083"/>
                  <a:gd name="connsiteX1" fmla="*/ 1358900 w 5521465"/>
                  <a:gd name="connsiteY1" fmla="*/ 39717 h 327083"/>
                  <a:gd name="connsiteX2" fmla="*/ 1698625 w 5521465"/>
                  <a:gd name="connsiteY2" fmla="*/ 1022 h 327083"/>
                  <a:gd name="connsiteX3" fmla="*/ 2717800 w 5521465"/>
                  <a:gd name="connsiteY3" fmla="*/ 39717 h 327083"/>
                  <a:gd name="connsiteX4" fmla="*/ 3057525 w 5521465"/>
                  <a:gd name="connsiteY4" fmla="*/ 1022 h 327083"/>
                  <a:gd name="connsiteX5" fmla="*/ 4076700 w 5521465"/>
                  <a:gd name="connsiteY5" fmla="*/ 39717 h 327083"/>
                  <a:gd name="connsiteX6" fmla="*/ 5435600 w 5521465"/>
                  <a:gd name="connsiteY6" fmla="*/ 39717 h 327083"/>
                  <a:gd name="connsiteX7" fmla="*/ 5435600 w 5521465"/>
                  <a:gd name="connsiteY7" fmla="*/ 287367 h 327083"/>
                  <a:gd name="connsiteX8" fmla="*/ 4076700 w 5521465"/>
                  <a:gd name="connsiteY8" fmla="*/ 287367 h 327083"/>
                  <a:gd name="connsiteX9" fmla="*/ 2717800 w 5521465"/>
                  <a:gd name="connsiteY9" fmla="*/ 287367 h 327083"/>
                  <a:gd name="connsiteX10" fmla="*/ 1358900 w 5521465"/>
                  <a:gd name="connsiteY10" fmla="*/ 287367 h 327083"/>
                  <a:gd name="connsiteX11" fmla="*/ 0 w 5521465"/>
                  <a:gd name="connsiteY11" fmla="*/ 287367 h 327083"/>
                  <a:gd name="connsiteX12" fmla="*/ 0 w 5521465"/>
                  <a:gd name="connsiteY12" fmla="*/ 39717 h 327083"/>
                  <a:gd name="connsiteX13" fmla="*/ 339725 w 5521465"/>
                  <a:gd name="connsiteY13" fmla="*/ 1022 h 327083"/>
                  <a:gd name="connsiteX0" fmla="*/ 339725 w 5526976"/>
                  <a:gd name="connsiteY0" fmla="*/ 1022 h 327083"/>
                  <a:gd name="connsiteX1" fmla="*/ 1358900 w 5526976"/>
                  <a:gd name="connsiteY1" fmla="*/ 39717 h 327083"/>
                  <a:gd name="connsiteX2" fmla="*/ 1698625 w 5526976"/>
                  <a:gd name="connsiteY2" fmla="*/ 1022 h 327083"/>
                  <a:gd name="connsiteX3" fmla="*/ 2717800 w 5526976"/>
                  <a:gd name="connsiteY3" fmla="*/ 39717 h 327083"/>
                  <a:gd name="connsiteX4" fmla="*/ 3057525 w 5526976"/>
                  <a:gd name="connsiteY4" fmla="*/ 1022 h 327083"/>
                  <a:gd name="connsiteX5" fmla="*/ 4076700 w 5526976"/>
                  <a:gd name="connsiteY5" fmla="*/ 39717 h 327083"/>
                  <a:gd name="connsiteX6" fmla="*/ 5435600 w 5526976"/>
                  <a:gd name="connsiteY6" fmla="*/ 39717 h 327083"/>
                  <a:gd name="connsiteX7" fmla="*/ 5435600 w 5526976"/>
                  <a:gd name="connsiteY7" fmla="*/ 287367 h 327083"/>
                  <a:gd name="connsiteX8" fmla="*/ 4076700 w 5526976"/>
                  <a:gd name="connsiteY8" fmla="*/ 287367 h 327083"/>
                  <a:gd name="connsiteX9" fmla="*/ 2717800 w 5526976"/>
                  <a:gd name="connsiteY9" fmla="*/ 287367 h 327083"/>
                  <a:gd name="connsiteX10" fmla="*/ 1358900 w 5526976"/>
                  <a:gd name="connsiteY10" fmla="*/ 287367 h 327083"/>
                  <a:gd name="connsiteX11" fmla="*/ 0 w 5526976"/>
                  <a:gd name="connsiteY11" fmla="*/ 287367 h 327083"/>
                  <a:gd name="connsiteX12" fmla="*/ 0 w 5526976"/>
                  <a:gd name="connsiteY12" fmla="*/ 39717 h 327083"/>
                  <a:gd name="connsiteX13" fmla="*/ 339725 w 5526976"/>
                  <a:gd name="connsiteY13" fmla="*/ 1022 h 327083"/>
                  <a:gd name="connsiteX0" fmla="*/ 339725 w 5533551"/>
                  <a:gd name="connsiteY0" fmla="*/ 1022 h 327083"/>
                  <a:gd name="connsiteX1" fmla="*/ 1358900 w 5533551"/>
                  <a:gd name="connsiteY1" fmla="*/ 39717 h 327083"/>
                  <a:gd name="connsiteX2" fmla="*/ 1698625 w 5533551"/>
                  <a:gd name="connsiteY2" fmla="*/ 1022 h 327083"/>
                  <a:gd name="connsiteX3" fmla="*/ 2717800 w 5533551"/>
                  <a:gd name="connsiteY3" fmla="*/ 39717 h 327083"/>
                  <a:gd name="connsiteX4" fmla="*/ 3057525 w 5533551"/>
                  <a:gd name="connsiteY4" fmla="*/ 1022 h 327083"/>
                  <a:gd name="connsiteX5" fmla="*/ 4076700 w 5533551"/>
                  <a:gd name="connsiteY5" fmla="*/ 39717 h 327083"/>
                  <a:gd name="connsiteX6" fmla="*/ 5435600 w 5533551"/>
                  <a:gd name="connsiteY6" fmla="*/ 39717 h 327083"/>
                  <a:gd name="connsiteX7" fmla="*/ 5435600 w 5533551"/>
                  <a:gd name="connsiteY7" fmla="*/ 287367 h 327083"/>
                  <a:gd name="connsiteX8" fmla="*/ 4076700 w 5533551"/>
                  <a:gd name="connsiteY8" fmla="*/ 287367 h 327083"/>
                  <a:gd name="connsiteX9" fmla="*/ 2717800 w 5533551"/>
                  <a:gd name="connsiteY9" fmla="*/ 287367 h 327083"/>
                  <a:gd name="connsiteX10" fmla="*/ 1358900 w 5533551"/>
                  <a:gd name="connsiteY10" fmla="*/ 287367 h 327083"/>
                  <a:gd name="connsiteX11" fmla="*/ 0 w 5533551"/>
                  <a:gd name="connsiteY11" fmla="*/ 287367 h 327083"/>
                  <a:gd name="connsiteX12" fmla="*/ 0 w 5533551"/>
                  <a:gd name="connsiteY12" fmla="*/ 39717 h 327083"/>
                  <a:gd name="connsiteX13" fmla="*/ 339725 w 5533551"/>
                  <a:gd name="connsiteY13" fmla="*/ 1022 h 327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33551" h="327083">
                    <a:moveTo>
                      <a:pt x="339725" y="1022"/>
                    </a:moveTo>
                    <a:cubicBezTo>
                      <a:pt x="679450" y="13920"/>
                      <a:pt x="1019175" y="142904"/>
                      <a:pt x="1358900" y="39717"/>
                    </a:cubicBezTo>
                    <a:cubicBezTo>
                      <a:pt x="1472142" y="5321"/>
                      <a:pt x="1585383" y="-3278"/>
                      <a:pt x="1698625" y="1022"/>
                    </a:cubicBezTo>
                    <a:cubicBezTo>
                      <a:pt x="2038350" y="13920"/>
                      <a:pt x="2378075" y="142904"/>
                      <a:pt x="2717800" y="39717"/>
                    </a:cubicBezTo>
                    <a:cubicBezTo>
                      <a:pt x="2831042" y="5321"/>
                      <a:pt x="2944283" y="-3278"/>
                      <a:pt x="3057525" y="1022"/>
                    </a:cubicBezTo>
                    <a:cubicBezTo>
                      <a:pt x="3397250" y="13920"/>
                      <a:pt x="3736975" y="142904"/>
                      <a:pt x="4076700" y="39717"/>
                    </a:cubicBezTo>
                    <a:cubicBezTo>
                      <a:pt x="4529667" y="-97866"/>
                      <a:pt x="4982633" y="177300"/>
                      <a:pt x="5435600" y="39717"/>
                    </a:cubicBezTo>
                    <a:cubicBezTo>
                      <a:pt x="5588433" y="89046"/>
                      <a:pt x="5541917" y="297846"/>
                      <a:pt x="5435600" y="287367"/>
                    </a:cubicBezTo>
                    <a:cubicBezTo>
                      <a:pt x="4982633" y="424950"/>
                      <a:pt x="4529667" y="149784"/>
                      <a:pt x="4076700" y="287367"/>
                    </a:cubicBezTo>
                    <a:cubicBezTo>
                      <a:pt x="3623733" y="424950"/>
                      <a:pt x="3170767" y="149784"/>
                      <a:pt x="2717800" y="287367"/>
                    </a:cubicBezTo>
                    <a:cubicBezTo>
                      <a:pt x="2264833" y="424950"/>
                      <a:pt x="1811867" y="149784"/>
                      <a:pt x="1358900" y="287367"/>
                    </a:cubicBezTo>
                    <a:cubicBezTo>
                      <a:pt x="905933" y="424950"/>
                      <a:pt x="452967" y="149784"/>
                      <a:pt x="0" y="287367"/>
                    </a:cubicBezTo>
                    <a:lnTo>
                      <a:pt x="0" y="39717"/>
                    </a:lnTo>
                    <a:cubicBezTo>
                      <a:pt x="113242" y="5321"/>
                      <a:pt x="226483" y="-3278"/>
                      <a:pt x="339725" y="1022"/>
                    </a:cubicBezTo>
                    <a:close/>
                  </a:path>
                </a:pathLst>
              </a:custGeom>
              <a:grpFill/>
              <a:ln w="10795" cap="flat" cmpd="sng" algn="ctr">
                <a:noFill/>
                <a:prstDash val="solid"/>
              </a:ln>
              <a:effectLst/>
            </p:spPr>
            <p:txBody>
              <a:bodyPr rtlCol="0" anchor="ctr"/>
              <a:lstStyle/>
              <a:p>
                <a:pPr marL="0" marR="0" lvl="0" indent="0" algn="ctr" defTabSz="932316"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FFFFFF"/>
                  </a:solidFill>
                  <a:effectLst/>
                  <a:uLnTx/>
                  <a:uFillTx/>
                  <a:latin typeface="Segoe UI"/>
                  <a:ea typeface="+mn-ea"/>
                  <a:cs typeface="+mn-cs"/>
                </a:endParaRPr>
              </a:p>
            </p:txBody>
          </p:sp>
        </p:grpSp>
      </p:grpSp>
      <p:sp>
        <p:nvSpPr>
          <p:cNvPr id="28" name="Oval 27"/>
          <p:cNvSpPr/>
          <p:nvPr/>
        </p:nvSpPr>
        <p:spPr bwMode="auto">
          <a:xfrm>
            <a:off x="9681895" y="39219"/>
            <a:ext cx="1438842" cy="1438842"/>
          </a:xfrm>
          <a:prstGeom prst="ellipse">
            <a:avLst/>
          </a:prstGeom>
          <a:solidFill>
            <a:srgbClr val="0072C6"/>
          </a:solidFill>
          <a:ln w="9525" cap="flat" cmpd="sng" algn="ctr">
            <a:noFill/>
            <a:prstDash val="solid"/>
            <a:headEnd type="none" w="med" len="med"/>
            <a:tailEnd type="none" w="med" len="med"/>
          </a:ln>
          <a:effectLst>
            <a:outerShdw dist="88900" dir="2700000" sx="96000" sy="96000" algn="tl" rotWithShape="0">
              <a:prstClr val="black">
                <a:alpha val="11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 name="Rectangle 135"/>
          <p:cNvSpPr/>
          <p:nvPr/>
        </p:nvSpPr>
        <p:spPr bwMode="auto">
          <a:xfrm>
            <a:off x="10010986" y="338422"/>
            <a:ext cx="741006" cy="741006"/>
          </a:xfrm>
          <a:custGeom>
            <a:avLst/>
            <a:gdLst/>
            <a:ahLst/>
            <a:cxnLst/>
            <a:rect l="l" t="t" r="r" b="b"/>
            <a:pathLst>
              <a:path w="4486492" h="4486492">
                <a:moveTo>
                  <a:pt x="3115020" y="3115652"/>
                </a:moveTo>
                <a:lnTo>
                  <a:pt x="3115020" y="4358307"/>
                </a:lnTo>
                <a:lnTo>
                  <a:pt x="4358306" y="4358307"/>
                </a:lnTo>
                <a:lnTo>
                  <a:pt x="4358306" y="3115652"/>
                </a:lnTo>
                <a:close/>
                <a:moveTo>
                  <a:pt x="1473659" y="3115652"/>
                </a:moveTo>
                <a:lnTo>
                  <a:pt x="1473659" y="4358307"/>
                </a:lnTo>
                <a:lnTo>
                  <a:pt x="3012833" y="4358307"/>
                </a:lnTo>
                <a:lnTo>
                  <a:pt x="3012833" y="3115652"/>
                </a:lnTo>
                <a:close/>
                <a:moveTo>
                  <a:pt x="128186" y="3115652"/>
                </a:moveTo>
                <a:lnTo>
                  <a:pt x="128186" y="4358307"/>
                </a:lnTo>
                <a:lnTo>
                  <a:pt x="1371472" y="4358307"/>
                </a:lnTo>
                <a:lnTo>
                  <a:pt x="1371472" y="3115652"/>
                </a:lnTo>
                <a:close/>
                <a:moveTo>
                  <a:pt x="1473659" y="2755431"/>
                </a:moveTo>
                <a:lnTo>
                  <a:pt x="1473659" y="3013467"/>
                </a:lnTo>
                <a:lnTo>
                  <a:pt x="1793547" y="3013467"/>
                </a:lnTo>
                <a:close/>
                <a:moveTo>
                  <a:pt x="963448" y="2343871"/>
                </a:moveTo>
                <a:lnTo>
                  <a:pt x="330177" y="3013467"/>
                </a:lnTo>
                <a:lnTo>
                  <a:pt x="1371472" y="3013467"/>
                </a:lnTo>
                <a:lnTo>
                  <a:pt x="1371472" y="2673002"/>
                </a:lnTo>
                <a:close/>
                <a:moveTo>
                  <a:pt x="3012833" y="1906434"/>
                </a:moveTo>
                <a:lnTo>
                  <a:pt x="2010377" y="3013467"/>
                </a:lnTo>
                <a:lnTo>
                  <a:pt x="3012833" y="3013467"/>
                </a:lnTo>
                <a:close/>
                <a:moveTo>
                  <a:pt x="3386427" y="1493866"/>
                </a:moveTo>
                <a:lnTo>
                  <a:pt x="3115020" y="1793586"/>
                </a:lnTo>
                <a:lnTo>
                  <a:pt x="3115020" y="3013467"/>
                </a:lnTo>
                <a:lnTo>
                  <a:pt x="4358306" y="3013467"/>
                </a:lnTo>
                <a:lnTo>
                  <a:pt x="4358306" y="2522701"/>
                </a:lnTo>
                <a:close/>
                <a:moveTo>
                  <a:pt x="3801600" y="1473023"/>
                </a:moveTo>
                <a:lnTo>
                  <a:pt x="4358306" y="2069204"/>
                </a:lnTo>
                <a:lnTo>
                  <a:pt x="4358306" y="1473023"/>
                </a:lnTo>
                <a:close/>
                <a:moveTo>
                  <a:pt x="1473659" y="1473023"/>
                </a:moveTo>
                <a:lnTo>
                  <a:pt x="1473659" y="2383401"/>
                </a:lnTo>
                <a:lnTo>
                  <a:pt x="1820355" y="2695206"/>
                </a:lnTo>
                <a:lnTo>
                  <a:pt x="2954285" y="1473023"/>
                </a:lnTo>
                <a:close/>
                <a:moveTo>
                  <a:pt x="128186" y="1473023"/>
                </a:moveTo>
                <a:lnTo>
                  <a:pt x="128186" y="2789526"/>
                </a:lnTo>
                <a:lnTo>
                  <a:pt x="963448" y="1924535"/>
                </a:lnTo>
                <a:lnTo>
                  <a:pt x="1371472" y="2291497"/>
                </a:lnTo>
                <a:lnTo>
                  <a:pt x="1371472" y="1473023"/>
                </a:lnTo>
                <a:close/>
                <a:moveTo>
                  <a:pt x="3115020" y="128186"/>
                </a:moveTo>
                <a:lnTo>
                  <a:pt x="3115020" y="1299778"/>
                </a:lnTo>
                <a:lnTo>
                  <a:pt x="3376578" y="1017863"/>
                </a:lnTo>
                <a:lnTo>
                  <a:pt x="3706181" y="1370838"/>
                </a:lnTo>
                <a:lnTo>
                  <a:pt x="4358306" y="1370838"/>
                </a:lnTo>
                <a:lnTo>
                  <a:pt x="4358306" y="128186"/>
                </a:lnTo>
                <a:close/>
                <a:moveTo>
                  <a:pt x="1473659" y="128186"/>
                </a:moveTo>
                <a:lnTo>
                  <a:pt x="1473659" y="1370838"/>
                </a:lnTo>
                <a:lnTo>
                  <a:pt x="3012833" y="1370838"/>
                </a:lnTo>
                <a:lnTo>
                  <a:pt x="3012833" y="128186"/>
                </a:lnTo>
                <a:close/>
                <a:moveTo>
                  <a:pt x="128186" y="128186"/>
                </a:moveTo>
                <a:lnTo>
                  <a:pt x="128186" y="1370838"/>
                </a:lnTo>
                <a:lnTo>
                  <a:pt x="1371472" y="1370838"/>
                </a:lnTo>
                <a:lnTo>
                  <a:pt x="1371472" y="128186"/>
                </a:lnTo>
                <a:close/>
                <a:moveTo>
                  <a:pt x="0" y="0"/>
                </a:moveTo>
                <a:lnTo>
                  <a:pt x="4486492" y="0"/>
                </a:lnTo>
                <a:lnTo>
                  <a:pt x="4486492" y="4486492"/>
                </a:lnTo>
                <a:lnTo>
                  <a:pt x="0" y="4486492"/>
                </a:lnTo>
                <a:close/>
              </a:path>
            </a:pathLst>
          </a:custGeom>
          <a:solidFill>
            <a:srgbClr val="FFFFFF"/>
          </a:solidFill>
          <a:ln>
            <a:noFill/>
          </a:ln>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32316"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FFFFFF"/>
              </a:solidFill>
              <a:effectLst/>
              <a:uLnTx/>
              <a:uFillTx/>
            </a:endParaRPr>
          </a:p>
        </p:txBody>
      </p:sp>
    </p:spTree>
    <p:extLst>
      <p:ext uri="{BB962C8B-B14F-4D97-AF65-F5344CB8AC3E}">
        <p14:creationId xmlns:p14="http://schemas.microsoft.com/office/powerpoint/2010/main" val="145020405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 Placeholder 1"/>
          <p:cNvSpPr>
            <a:spLocks noGrp="1"/>
          </p:cNvSpPr>
          <p:nvPr>
            <p:ph type="body" idx="1"/>
          </p:nvPr>
        </p:nvSpPr>
        <p:spPr/>
        <p:txBody>
          <a:bodyPr/>
          <a:lstStyle/>
          <a:p>
            <a:r>
              <a:rPr lang="en-US" dirty="0" smtClean="0"/>
              <a:t>Simple &amp; secure sharing </a:t>
            </a:r>
            <a:endParaRPr lang="en-US" dirty="0"/>
          </a:p>
        </p:txBody>
      </p:sp>
      <p:sp>
        <p:nvSpPr>
          <p:cNvPr id="6" name="Text Placeholder 5"/>
          <p:cNvSpPr>
            <a:spLocks noGrp="1"/>
          </p:cNvSpPr>
          <p:nvPr>
            <p:ph type="body" sz="quarter" idx="10"/>
          </p:nvPr>
        </p:nvSpPr>
        <p:spPr/>
        <p:txBody>
          <a:bodyPr/>
          <a:lstStyle/>
          <a:p>
            <a:pPr lvl="0" fontAlgn="ctr"/>
            <a:r>
              <a:rPr lang="en-US" sz="1800" dirty="0" smtClean="0"/>
              <a:t>Content </a:t>
            </a:r>
            <a:r>
              <a:rPr lang="en-US" sz="1800" dirty="0"/>
              <a:t>is private by default so </a:t>
            </a:r>
            <a:r>
              <a:rPr lang="en-US" sz="1800" dirty="0" smtClean="0"/>
              <a:t>you control who </a:t>
            </a:r>
            <a:r>
              <a:rPr lang="en-US" sz="1800" dirty="0"/>
              <a:t>can view and edit </a:t>
            </a:r>
            <a:r>
              <a:rPr lang="en-US" sz="1800" dirty="0" smtClean="0"/>
              <a:t>your </a:t>
            </a:r>
            <a:r>
              <a:rPr lang="en-US" sz="1800" dirty="0"/>
              <a:t>files</a:t>
            </a:r>
          </a:p>
          <a:p>
            <a:pPr lvl="0" fontAlgn="ctr"/>
            <a:r>
              <a:rPr lang="en-US" sz="1800" dirty="0"/>
              <a:t>Share documents from any device with built-in sharing options that allow you to share folders, files, or document links in </a:t>
            </a:r>
            <a:r>
              <a:rPr lang="en-US" sz="1800" dirty="0" smtClean="0"/>
              <a:t>seconds</a:t>
            </a:r>
          </a:p>
          <a:p>
            <a:pPr fontAlgn="ctr"/>
            <a:r>
              <a:rPr lang="en-US" sz="1800" dirty="0" smtClean="0"/>
              <a:t>Share documents directly from your Office app through OneDrive for Business </a:t>
            </a:r>
            <a:endParaRPr lang="en-US" sz="1800" dirty="0"/>
          </a:p>
        </p:txBody>
      </p:sp>
      <p:sp>
        <p:nvSpPr>
          <p:cNvPr id="10" name="Rectangle 9"/>
          <p:cNvSpPr/>
          <p:nvPr/>
        </p:nvSpPr>
        <p:spPr>
          <a:xfrm>
            <a:off x="4713168" y="3784709"/>
            <a:ext cx="8294781" cy="3218481"/>
          </a:xfrm>
          <a:prstGeom prst="rect">
            <a:avLst/>
          </a:prstGeom>
          <a:solidFill>
            <a:schemeClr val="accent5">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nvGrpSpPr>
          <p:cNvPr id="11" name="Group 10"/>
          <p:cNvGrpSpPr/>
          <p:nvPr/>
        </p:nvGrpSpPr>
        <p:grpSpPr>
          <a:xfrm>
            <a:off x="5134082" y="66468"/>
            <a:ext cx="6985574" cy="6611130"/>
            <a:chOff x="5029727" y="32616"/>
            <a:chExt cx="7015738" cy="6639674"/>
          </a:xfrm>
        </p:grpSpPr>
        <p:sp>
          <p:nvSpPr>
            <p:cNvPr id="16" name="Oval 15"/>
            <p:cNvSpPr>
              <a:spLocks noChangeAspect="1"/>
            </p:cNvSpPr>
            <p:nvPr/>
          </p:nvSpPr>
          <p:spPr bwMode="auto">
            <a:xfrm>
              <a:off x="5177643" y="3742414"/>
              <a:ext cx="6702625" cy="1325168"/>
            </a:xfrm>
            <a:prstGeom prst="ellipse">
              <a:avLst/>
            </a:prstGeom>
            <a:solidFill>
              <a:srgbClr val="FFFFFF">
                <a:lumMod val="95000"/>
              </a:srgbClr>
            </a:solidFill>
            <a:ln w="2857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 name="Oval 16"/>
            <p:cNvSpPr/>
            <p:nvPr/>
          </p:nvSpPr>
          <p:spPr bwMode="auto">
            <a:xfrm>
              <a:off x="5029727" y="3669865"/>
              <a:ext cx="7015738" cy="1553485"/>
            </a:xfrm>
            <a:prstGeom prst="ellipse">
              <a:avLst/>
            </a:prstGeom>
            <a:noFill/>
            <a:ln w="28575" cap="flat" cmpd="sng" algn="ctr">
              <a:solidFill>
                <a:srgbClr val="68217A">
                  <a:lumMod val="60000"/>
                  <a:lumOff val="40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 name="Freeform 5"/>
            <p:cNvSpPr>
              <a:spLocks/>
            </p:cNvSpPr>
            <p:nvPr/>
          </p:nvSpPr>
          <p:spPr bwMode="auto">
            <a:xfrm>
              <a:off x="10495469" y="4371949"/>
              <a:ext cx="673100" cy="674688"/>
            </a:xfrm>
            <a:custGeom>
              <a:avLst/>
              <a:gdLst>
                <a:gd name="T0" fmla="*/ 22 w 179"/>
                <a:gd name="T1" fmla="*/ 79 h 179"/>
                <a:gd name="T2" fmla="*/ 101 w 179"/>
                <a:gd name="T3" fmla="*/ 157 h 179"/>
                <a:gd name="T4" fmla="*/ 179 w 179"/>
                <a:gd name="T5" fmla="*/ 157 h 179"/>
                <a:gd name="T6" fmla="*/ 22 w 179"/>
                <a:gd name="T7" fmla="*/ 0 h 179"/>
                <a:gd name="T8" fmla="*/ 22 w 179"/>
                <a:gd name="T9" fmla="*/ 79 h 179"/>
              </a:gdLst>
              <a:ahLst/>
              <a:cxnLst>
                <a:cxn ang="0">
                  <a:pos x="T0" y="T1"/>
                </a:cxn>
                <a:cxn ang="0">
                  <a:pos x="T2" y="T3"/>
                </a:cxn>
                <a:cxn ang="0">
                  <a:pos x="T4" y="T5"/>
                </a:cxn>
                <a:cxn ang="0">
                  <a:pos x="T6" y="T7"/>
                </a:cxn>
                <a:cxn ang="0">
                  <a:pos x="T8" y="T9"/>
                </a:cxn>
              </a:cxnLst>
              <a:rect l="0" t="0" r="r" b="b"/>
              <a:pathLst>
                <a:path w="179" h="179">
                  <a:moveTo>
                    <a:pt x="22" y="79"/>
                  </a:moveTo>
                  <a:cubicBezTo>
                    <a:pt x="101" y="157"/>
                    <a:pt x="101" y="157"/>
                    <a:pt x="101" y="157"/>
                  </a:cubicBezTo>
                  <a:cubicBezTo>
                    <a:pt x="122" y="179"/>
                    <a:pt x="158" y="179"/>
                    <a:pt x="179" y="157"/>
                  </a:cubicBezTo>
                  <a:cubicBezTo>
                    <a:pt x="22" y="0"/>
                    <a:pt x="22" y="0"/>
                    <a:pt x="22" y="0"/>
                  </a:cubicBezTo>
                  <a:cubicBezTo>
                    <a:pt x="0" y="22"/>
                    <a:pt x="0" y="57"/>
                    <a:pt x="22" y="79"/>
                  </a:cubicBezTo>
                  <a:close/>
                </a:path>
              </a:pathLst>
            </a:custGeom>
            <a:solidFill>
              <a:srgbClr val="6821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316"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0" name="Freeform 6"/>
            <p:cNvSpPr>
              <a:spLocks/>
            </p:cNvSpPr>
            <p:nvPr/>
          </p:nvSpPr>
          <p:spPr bwMode="auto">
            <a:xfrm>
              <a:off x="10548743" y="4300988"/>
              <a:ext cx="673100" cy="673100"/>
            </a:xfrm>
            <a:custGeom>
              <a:avLst/>
              <a:gdLst>
                <a:gd name="T0" fmla="*/ 157 w 179"/>
                <a:gd name="T1" fmla="*/ 100 h 179"/>
                <a:gd name="T2" fmla="*/ 79 w 179"/>
                <a:gd name="T3" fmla="*/ 22 h 179"/>
                <a:gd name="T4" fmla="*/ 0 w 179"/>
                <a:gd name="T5" fmla="*/ 22 h 179"/>
                <a:gd name="T6" fmla="*/ 157 w 179"/>
                <a:gd name="T7" fmla="*/ 179 h 179"/>
                <a:gd name="T8" fmla="*/ 157 w 179"/>
                <a:gd name="T9" fmla="*/ 100 h 179"/>
              </a:gdLst>
              <a:ahLst/>
              <a:cxnLst>
                <a:cxn ang="0">
                  <a:pos x="T0" y="T1"/>
                </a:cxn>
                <a:cxn ang="0">
                  <a:pos x="T2" y="T3"/>
                </a:cxn>
                <a:cxn ang="0">
                  <a:pos x="T4" y="T5"/>
                </a:cxn>
                <a:cxn ang="0">
                  <a:pos x="T6" y="T7"/>
                </a:cxn>
                <a:cxn ang="0">
                  <a:pos x="T8" y="T9"/>
                </a:cxn>
              </a:cxnLst>
              <a:rect l="0" t="0" r="r" b="b"/>
              <a:pathLst>
                <a:path w="179" h="179">
                  <a:moveTo>
                    <a:pt x="157" y="100"/>
                  </a:moveTo>
                  <a:cubicBezTo>
                    <a:pt x="79" y="22"/>
                    <a:pt x="79" y="22"/>
                    <a:pt x="79" y="22"/>
                  </a:cubicBezTo>
                  <a:cubicBezTo>
                    <a:pt x="57" y="0"/>
                    <a:pt x="22" y="0"/>
                    <a:pt x="0" y="22"/>
                  </a:cubicBezTo>
                  <a:cubicBezTo>
                    <a:pt x="157" y="179"/>
                    <a:pt x="157" y="179"/>
                    <a:pt x="157" y="179"/>
                  </a:cubicBezTo>
                  <a:cubicBezTo>
                    <a:pt x="179" y="157"/>
                    <a:pt x="179" y="122"/>
                    <a:pt x="157" y="100"/>
                  </a:cubicBezTo>
                  <a:close/>
                </a:path>
              </a:pathLst>
            </a:custGeom>
            <a:solidFill>
              <a:srgbClr val="9B4F9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316"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3" name="Freeform 10"/>
            <p:cNvSpPr>
              <a:spLocks/>
            </p:cNvSpPr>
            <p:nvPr/>
          </p:nvSpPr>
          <p:spPr bwMode="auto">
            <a:xfrm>
              <a:off x="10586521" y="4526088"/>
              <a:ext cx="744538" cy="647700"/>
            </a:xfrm>
            <a:custGeom>
              <a:avLst/>
              <a:gdLst>
                <a:gd name="T0" fmla="*/ 111 w 198"/>
                <a:gd name="T1" fmla="*/ 5 h 172"/>
                <a:gd name="T2" fmla="*/ 95 w 198"/>
                <a:gd name="T3" fmla="*/ 5 h 172"/>
                <a:gd name="T4" fmla="*/ 93 w 198"/>
                <a:gd name="T5" fmla="*/ 17 h 172"/>
                <a:gd name="T6" fmla="*/ 82 w 198"/>
                <a:gd name="T7" fmla="*/ 5 h 172"/>
                <a:gd name="T8" fmla="*/ 66 w 198"/>
                <a:gd name="T9" fmla="*/ 5 h 172"/>
                <a:gd name="T10" fmla="*/ 66 w 198"/>
                <a:gd name="T11" fmla="*/ 21 h 172"/>
                <a:gd name="T12" fmla="*/ 66 w 198"/>
                <a:gd name="T13" fmla="*/ 21 h 172"/>
                <a:gd name="T14" fmla="*/ 66 w 198"/>
                <a:gd name="T15" fmla="*/ 21 h 172"/>
                <a:gd name="T16" fmla="*/ 66 w 198"/>
                <a:gd name="T17" fmla="*/ 21 h 172"/>
                <a:gd name="T18" fmla="*/ 51 w 198"/>
                <a:gd name="T19" fmla="*/ 5 h 172"/>
                <a:gd name="T20" fmla="*/ 35 w 198"/>
                <a:gd name="T21" fmla="*/ 5 h 172"/>
                <a:gd name="T22" fmla="*/ 36 w 198"/>
                <a:gd name="T23" fmla="*/ 21 h 172"/>
                <a:gd name="T24" fmla="*/ 35 w 198"/>
                <a:gd name="T25" fmla="*/ 20 h 172"/>
                <a:gd name="T26" fmla="*/ 35 w 198"/>
                <a:gd name="T27" fmla="*/ 20 h 172"/>
                <a:gd name="T28" fmla="*/ 23 w 198"/>
                <a:gd name="T29" fmla="*/ 8 h 172"/>
                <a:gd name="T30" fmla="*/ 5 w 198"/>
                <a:gd name="T31" fmla="*/ 7 h 172"/>
                <a:gd name="T32" fmla="*/ 6 w 198"/>
                <a:gd name="T33" fmla="*/ 25 h 172"/>
                <a:gd name="T34" fmla="*/ 63 w 198"/>
                <a:gd name="T35" fmla="*/ 82 h 172"/>
                <a:gd name="T36" fmla="*/ 48 w 198"/>
                <a:gd name="T37" fmla="*/ 84 h 172"/>
                <a:gd name="T38" fmla="*/ 49 w 198"/>
                <a:gd name="T39" fmla="*/ 102 h 172"/>
                <a:gd name="T40" fmla="*/ 75 w 198"/>
                <a:gd name="T41" fmla="*/ 127 h 172"/>
                <a:gd name="T42" fmla="*/ 101 w 198"/>
                <a:gd name="T43" fmla="*/ 154 h 172"/>
                <a:gd name="T44" fmla="*/ 126 w 198"/>
                <a:gd name="T45" fmla="*/ 154 h 172"/>
                <a:gd name="T46" fmla="*/ 144 w 198"/>
                <a:gd name="T47" fmla="*/ 172 h 172"/>
                <a:gd name="T48" fmla="*/ 198 w 198"/>
                <a:gd name="T49" fmla="*/ 117 h 172"/>
                <a:gd name="T50" fmla="*/ 180 w 198"/>
                <a:gd name="T51" fmla="*/ 99 h 172"/>
                <a:gd name="T52" fmla="*/ 180 w 198"/>
                <a:gd name="T53" fmla="*/ 75 h 172"/>
                <a:gd name="T54" fmla="*/ 144 w 198"/>
                <a:gd name="T55" fmla="*/ 38 h 172"/>
                <a:gd name="T56" fmla="*/ 144 w 198"/>
                <a:gd name="T57" fmla="*/ 38 h 172"/>
                <a:gd name="T58" fmla="*/ 111 w 198"/>
                <a:gd name="T59" fmla="*/ 5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98" h="172">
                  <a:moveTo>
                    <a:pt x="111" y="5"/>
                  </a:moveTo>
                  <a:cubicBezTo>
                    <a:pt x="106" y="1"/>
                    <a:pt x="99" y="0"/>
                    <a:pt x="95" y="5"/>
                  </a:cubicBezTo>
                  <a:cubicBezTo>
                    <a:pt x="92" y="8"/>
                    <a:pt x="91" y="13"/>
                    <a:pt x="93" y="17"/>
                  </a:cubicBezTo>
                  <a:cubicBezTo>
                    <a:pt x="82" y="5"/>
                    <a:pt x="82" y="5"/>
                    <a:pt x="82" y="5"/>
                  </a:cubicBezTo>
                  <a:cubicBezTo>
                    <a:pt x="77" y="1"/>
                    <a:pt x="70" y="0"/>
                    <a:pt x="66" y="5"/>
                  </a:cubicBezTo>
                  <a:cubicBezTo>
                    <a:pt x="61" y="9"/>
                    <a:pt x="62" y="16"/>
                    <a:pt x="66" y="21"/>
                  </a:cubicBezTo>
                  <a:cubicBezTo>
                    <a:pt x="66" y="21"/>
                    <a:pt x="66" y="21"/>
                    <a:pt x="66" y="21"/>
                  </a:cubicBezTo>
                  <a:cubicBezTo>
                    <a:pt x="66" y="21"/>
                    <a:pt x="66" y="21"/>
                    <a:pt x="66" y="21"/>
                  </a:cubicBezTo>
                  <a:cubicBezTo>
                    <a:pt x="66" y="21"/>
                    <a:pt x="66" y="21"/>
                    <a:pt x="66" y="21"/>
                  </a:cubicBezTo>
                  <a:cubicBezTo>
                    <a:pt x="51" y="5"/>
                    <a:pt x="51" y="5"/>
                    <a:pt x="51" y="5"/>
                  </a:cubicBezTo>
                  <a:cubicBezTo>
                    <a:pt x="46" y="1"/>
                    <a:pt x="39" y="0"/>
                    <a:pt x="35" y="5"/>
                  </a:cubicBezTo>
                  <a:cubicBezTo>
                    <a:pt x="31" y="9"/>
                    <a:pt x="31" y="16"/>
                    <a:pt x="36" y="21"/>
                  </a:cubicBezTo>
                  <a:cubicBezTo>
                    <a:pt x="35" y="20"/>
                    <a:pt x="35" y="20"/>
                    <a:pt x="35" y="20"/>
                  </a:cubicBezTo>
                  <a:cubicBezTo>
                    <a:pt x="35" y="20"/>
                    <a:pt x="35" y="20"/>
                    <a:pt x="35" y="20"/>
                  </a:cubicBezTo>
                  <a:cubicBezTo>
                    <a:pt x="23" y="8"/>
                    <a:pt x="23" y="8"/>
                    <a:pt x="23" y="8"/>
                  </a:cubicBezTo>
                  <a:cubicBezTo>
                    <a:pt x="18" y="3"/>
                    <a:pt x="10" y="3"/>
                    <a:pt x="5" y="7"/>
                  </a:cubicBezTo>
                  <a:cubicBezTo>
                    <a:pt x="0" y="12"/>
                    <a:pt x="1" y="20"/>
                    <a:pt x="6" y="25"/>
                  </a:cubicBezTo>
                  <a:cubicBezTo>
                    <a:pt x="63" y="82"/>
                    <a:pt x="63" y="82"/>
                    <a:pt x="63" y="82"/>
                  </a:cubicBezTo>
                  <a:cubicBezTo>
                    <a:pt x="58" y="80"/>
                    <a:pt x="52" y="80"/>
                    <a:pt x="48" y="84"/>
                  </a:cubicBezTo>
                  <a:cubicBezTo>
                    <a:pt x="43" y="89"/>
                    <a:pt x="44" y="97"/>
                    <a:pt x="49" y="102"/>
                  </a:cubicBezTo>
                  <a:cubicBezTo>
                    <a:pt x="75" y="127"/>
                    <a:pt x="75" y="127"/>
                    <a:pt x="75" y="127"/>
                  </a:cubicBezTo>
                  <a:cubicBezTo>
                    <a:pt x="101" y="154"/>
                    <a:pt x="101" y="154"/>
                    <a:pt x="101" y="154"/>
                  </a:cubicBezTo>
                  <a:cubicBezTo>
                    <a:pt x="108" y="161"/>
                    <a:pt x="119" y="161"/>
                    <a:pt x="126" y="154"/>
                  </a:cubicBezTo>
                  <a:cubicBezTo>
                    <a:pt x="144" y="172"/>
                    <a:pt x="144" y="172"/>
                    <a:pt x="144" y="172"/>
                  </a:cubicBezTo>
                  <a:cubicBezTo>
                    <a:pt x="198" y="117"/>
                    <a:pt x="198" y="117"/>
                    <a:pt x="198" y="117"/>
                  </a:cubicBezTo>
                  <a:cubicBezTo>
                    <a:pt x="180" y="99"/>
                    <a:pt x="180" y="99"/>
                    <a:pt x="180" y="99"/>
                  </a:cubicBezTo>
                  <a:cubicBezTo>
                    <a:pt x="187" y="92"/>
                    <a:pt x="187" y="81"/>
                    <a:pt x="180" y="75"/>
                  </a:cubicBezTo>
                  <a:cubicBezTo>
                    <a:pt x="144" y="38"/>
                    <a:pt x="144" y="38"/>
                    <a:pt x="144" y="38"/>
                  </a:cubicBezTo>
                  <a:cubicBezTo>
                    <a:pt x="144" y="38"/>
                    <a:pt x="144" y="38"/>
                    <a:pt x="144" y="38"/>
                  </a:cubicBezTo>
                  <a:lnTo>
                    <a:pt x="111" y="5"/>
                  </a:lnTo>
                  <a:close/>
                </a:path>
              </a:pathLst>
            </a:custGeom>
            <a:solidFill>
              <a:srgbClr val="FF8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316"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5" name="Rounded Rectangle 24"/>
            <p:cNvSpPr/>
            <p:nvPr/>
          </p:nvSpPr>
          <p:spPr bwMode="auto">
            <a:xfrm>
              <a:off x="6107255" y="3524377"/>
              <a:ext cx="1362072" cy="787400"/>
            </a:xfrm>
            <a:prstGeom prst="roundRect">
              <a:avLst>
                <a:gd name="adj" fmla="val 3823"/>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8" name="Rectangle 79"/>
            <p:cNvSpPr/>
            <p:nvPr/>
          </p:nvSpPr>
          <p:spPr>
            <a:xfrm rot="16200000">
              <a:off x="5923463" y="2597135"/>
              <a:ext cx="1418345" cy="2249051"/>
            </a:xfrm>
            <a:custGeom>
              <a:avLst/>
              <a:gdLst/>
              <a:ahLst/>
              <a:cxnLst/>
              <a:rect l="l" t="t" r="r" b="b"/>
              <a:pathLst>
                <a:path w="1407298" h="2385394">
                  <a:moveTo>
                    <a:pt x="703650" y="2179220"/>
                  </a:moveTo>
                  <a:cubicBezTo>
                    <a:pt x="660028" y="2179220"/>
                    <a:pt x="624666" y="2214582"/>
                    <a:pt x="624666" y="2258204"/>
                  </a:cubicBezTo>
                  <a:cubicBezTo>
                    <a:pt x="624666" y="2301826"/>
                    <a:pt x="660028" y="2337188"/>
                    <a:pt x="703650" y="2337188"/>
                  </a:cubicBezTo>
                  <a:cubicBezTo>
                    <a:pt x="747272" y="2337188"/>
                    <a:pt x="782634" y="2301826"/>
                    <a:pt x="782634" y="2258204"/>
                  </a:cubicBezTo>
                  <a:cubicBezTo>
                    <a:pt x="782634" y="2214582"/>
                    <a:pt x="747272" y="2179220"/>
                    <a:pt x="703650" y="2179220"/>
                  </a:cubicBezTo>
                  <a:close/>
                  <a:moveTo>
                    <a:pt x="177553" y="179867"/>
                  </a:moveTo>
                  <a:lnTo>
                    <a:pt x="172551" y="180877"/>
                  </a:lnTo>
                  <a:lnTo>
                    <a:pt x="165667" y="180877"/>
                  </a:lnTo>
                  <a:cubicBezTo>
                    <a:pt x="144630" y="180877"/>
                    <a:pt x="127577" y="197930"/>
                    <a:pt x="127577" y="218967"/>
                  </a:cubicBezTo>
                  <a:lnTo>
                    <a:pt x="127577" y="2097793"/>
                  </a:lnTo>
                  <a:cubicBezTo>
                    <a:pt x="127577" y="2118830"/>
                    <a:pt x="144630" y="2135883"/>
                    <a:pt x="165667" y="2135883"/>
                  </a:cubicBezTo>
                  <a:lnTo>
                    <a:pt x="1241631" y="2135883"/>
                  </a:lnTo>
                  <a:cubicBezTo>
                    <a:pt x="1262668" y="2135883"/>
                    <a:pt x="1279721" y="2118830"/>
                    <a:pt x="1279721" y="2097793"/>
                  </a:cubicBezTo>
                  <a:lnTo>
                    <a:pt x="1279721" y="218967"/>
                  </a:lnTo>
                  <a:cubicBezTo>
                    <a:pt x="1279721" y="197930"/>
                    <a:pt x="1262668" y="180877"/>
                    <a:pt x="1241631" y="180877"/>
                  </a:cubicBezTo>
                  <a:lnTo>
                    <a:pt x="1234749" y="180877"/>
                  </a:lnTo>
                  <a:cubicBezTo>
                    <a:pt x="1233161" y="179963"/>
                    <a:pt x="1231465" y="179867"/>
                    <a:pt x="1229746" y="179867"/>
                  </a:cubicBezTo>
                  <a:close/>
                  <a:moveTo>
                    <a:pt x="602415" y="56498"/>
                  </a:moveTo>
                  <a:cubicBezTo>
                    <a:pt x="588290" y="56498"/>
                    <a:pt x="576839" y="67949"/>
                    <a:pt x="576839" y="82074"/>
                  </a:cubicBezTo>
                  <a:cubicBezTo>
                    <a:pt x="576839" y="96199"/>
                    <a:pt x="588290" y="107650"/>
                    <a:pt x="602415" y="107650"/>
                  </a:cubicBezTo>
                  <a:lnTo>
                    <a:pt x="804884" y="107650"/>
                  </a:lnTo>
                  <a:cubicBezTo>
                    <a:pt x="819009" y="107650"/>
                    <a:pt x="830460" y="96199"/>
                    <a:pt x="830460" y="82074"/>
                  </a:cubicBezTo>
                  <a:cubicBezTo>
                    <a:pt x="830460" y="67949"/>
                    <a:pt x="819009" y="56498"/>
                    <a:pt x="804884" y="56498"/>
                  </a:cubicBezTo>
                  <a:close/>
                  <a:moveTo>
                    <a:pt x="76685" y="0"/>
                  </a:moveTo>
                  <a:lnTo>
                    <a:pt x="1330614" y="0"/>
                  </a:lnTo>
                  <a:cubicBezTo>
                    <a:pt x="1372966" y="0"/>
                    <a:pt x="1407298" y="34333"/>
                    <a:pt x="1407298" y="76684"/>
                  </a:cubicBezTo>
                  <a:lnTo>
                    <a:pt x="1407298" y="1757263"/>
                  </a:lnTo>
                  <a:lnTo>
                    <a:pt x="1407298" y="1766789"/>
                  </a:lnTo>
                  <a:lnTo>
                    <a:pt x="1407298" y="2308710"/>
                  </a:lnTo>
                  <a:cubicBezTo>
                    <a:pt x="1407298" y="2351061"/>
                    <a:pt x="1372966" y="2385394"/>
                    <a:pt x="1330614" y="2385394"/>
                  </a:cubicBezTo>
                  <a:lnTo>
                    <a:pt x="76685" y="2385394"/>
                  </a:lnTo>
                  <a:cubicBezTo>
                    <a:pt x="34333" y="2385394"/>
                    <a:pt x="0" y="2351061"/>
                    <a:pt x="0" y="2308710"/>
                  </a:cubicBezTo>
                  <a:lnTo>
                    <a:pt x="0" y="1766789"/>
                  </a:lnTo>
                  <a:lnTo>
                    <a:pt x="0" y="1757263"/>
                  </a:lnTo>
                  <a:lnTo>
                    <a:pt x="0" y="76684"/>
                  </a:lnTo>
                  <a:cubicBezTo>
                    <a:pt x="0" y="34333"/>
                    <a:pt x="34333" y="0"/>
                    <a:pt x="76685" y="0"/>
                  </a:cubicBezTo>
                  <a:close/>
                </a:path>
              </a:pathLst>
            </a:custGeom>
            <a:solidFill>
              <a:srgbClr val="FF8C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 name="Freeform 26"/>
            <p:cNvSpPr/>
            <p:nvPr/>
          </p:nvSpPr>
          <p:spPr bwMode="auto">
            <a:xfrm>
              <a:off x="10207635" y="3660624"/>
              <a:ext cx="360331" cy="763375"/>
            </a:xfrm>
            <a:custGeom>
              <a:avLst/>
              <a:gdLst>
                <a:gd name="connsiteX0" fmla="*/ 308686 w 523733"/>
                <a:gd name="connsiteY0" fmla="*/ 0 h 773822"/>
                <a:gd name="connsiteX1" fmla="*/ 3886 w 523733"/>
                <a:gd name="connsiteY1" fmla="*/ 381000 h 773822"/>
                <a:gd name="connsiteX2" fmla="*/ 499186 w 523733"/>
                <a:gd name="connsiteY2" fmla="*/ 406400 h 773822"/>
                <a:gd name="connsiteX3" fmla="*/ 448386 w 523733"/>
                <a:gd name="connsiteY3" fmla="*/ 723900 h 773822"/>
                <a:gd name="connsiteX4" fmla="*/ 448386 w 523733"/>
                <a:gd name="connsiteY4" fmla="*/ 736600 h 773822"/>
                <a:gd name="connsiteX0" fmla="*/ 307068 w 479693"/>
                <a:gd name="connsiteY0" fmla="*/ 0 h 768133"/>
                <a:gd name="connsiteX1" fmla="*/ 2268 w 479693"/>
                <a:gd name="connsiteY1" fmla="*/ 381000 h 768133"/>
                <a:gd name="connsiteX2" fmla="*/ 446768 w 479693"/>
                <a:gd name="connsiteY2" fmla="*/ 520700 h 768133"/>
                <a:gd name="connsiteX3" fmla="*/ 446768 w 479693"/>
                <a:gd name="connsiteY3" fmla="*/ 723900 h 768133"/>
                <a:gd name="connsiteX4" fmla="*/ 446768 w 479693"/>
                <a:gd name="connsiteY4" fmla="*/ 736600 h 768133"/>
                <a:gd name="connsiteX0" fmla="*/ 196172 w 360331"/>
                <a:gd name="connsiteY0" fmla="*/ 0 h 768133"/>
                <a:gd name="connsiteX1" fmla="*/ 5672 w 360331"/>
                <a:gd name="connsiteY1" fmla="*/ 266700 h 768133"/>
                <a:gd name="connsiteX2" fmla="*/ 335872 w 360331"/>
                <a:gd name="connsiteY2" fmla="*/ 520700 h 768133"/>
                <a:gd name="connsiteX3" fmla="*/ 335872 w 360331"/>
                <a:gd name="connsiteY3" fmla="*/ 723900 h 768133"/>
                <a:gd name="connsiteX4" fmla="*/ 335872 w 360331"/>
                <a:gd name="connsiteY4" fmla="*/ 736600 h 768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331" h="768133">
                  <a:moveTo>
                    <a:pt x="196172" y="0"/>
                  </a:moveTo>
                  <a:cubicBezTo>
                    <a:pt x="27897" y="156633"/>
                    <a:pt x="-17611" y="179917"/>
                    <a:pt x="5672" y="266700"/>
                  </a:cubicBezTo>
                  <a:cubicBezTo>
                    <a:pt x="28955" y="353483"/>
                    <a:pt x="280839" y="444500"/>
                    <a:pt x="335872" y="520700"/>
                  </a:cubicBezTo>
                  <a:cubicBezTo>
                    <a:pt x="390905" y="596900"/>
                    <a:pt x="335872" y="687917"/>
                    <a:pt x="335872" y="723900"/>
                  </a:cubicBezTo>
                  <a:cubicBezTo>
                    <a:pt x="335872" y="759883"/>
                    <a:pt x="329522" y="795867"/>
                    <a:pt x="335872" y="736600"/>
                  </a:cubicBezTo>
                </a:path>
              </a:pathLst>
            </a:custGeom>
            <a:noFill/>
            <a:ln w="19050" cap="flat" cmpd="sng" algn="ctr">
              <a:solidFill>
                <a:srgbClr val="68217A">
                  <a:lumMod val="60000"/>
                  <a:lumOff val="40000"/>
                </a:srgbClr>
              </a:solidFill>
              <a:prstDash val="solid"/>
              <a:headEnd type="none" w="med" len="med"/>
              <a:tailEnd type="none" w="med" len="med"/>
            </a:ln>
            <a:effectLst/>
          </p:spPr>
          <p:txBody>
            <a:bodyPr rtlCol="0" anchor="ctr"/>
            <a:lstStyle/>
            <a:p>
              <a:pPr marL="0" marR="0" lvl="0" indent="0" algn="ctr" defTabSz="932316"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FFFFFF"/>
                </a:solidFill>
                <a:effectLst/>
                <a:uLnTx/>
                <a:uFillTx/>
                <a:latin typeface="Segoe UI"/>
                <a:ea typeface="+mn-ea"/>
                <a:cs typeface="+mn-cs"/>
              </a:endParaRPr>
            </a:p>
          </p:txBody>
        </p:sp>
        <p:sp>
          <p:nvSpPr>
            <p:cNvPr id="30" name="Freeform 29"/>
            <p:cNvSpPr/>
            <p:nvPr/>
          </p:nvSpPr>
          <p:spPr>
            <a:xfrm rot="17656570">
              <a:off x="9669917" y="907738"/>
              <a:ext cx="875032" cy="907406"/>
            </a:xfrm>
            <a:custGeom>
              <a:avLst/>
              <a:gdLst>
                <a:gd name="connsiteX0" fmla="*/ 147901 w 547492"/>
                <a:gd name="connsiteY0" fmla="*/ 159 h 547027"/>
                <a:gd name="connsiteX1" fmla="*/ 164790 w 547492"/>
                <a:gd name="connsiteY1" fmla="*/ 17385 h 547027"/>
                <a:gd name="connsiteX2" fmla="*/ 257543 w 547492"/>
                <a:gd name="connsiteY2" fmla="*/ 261873 h 547027"/>
                <a:gd name="connsiteX3" fmla="*/ 531263 w 547492"/>
                <a:gd name="connsiteY3" fmla="*/ 383096 h 547027"/>
                <a:gd name="connsiteX4" fmla="*/ 533050 w 547492"/>
                <a:gd name="connsiteY4" fmla="*/ 419093 h 547027"/>
                <a:gd name="connsiteX5" fmla="*/ 234902 w 547492"/>
                <a:gd name="connsiteY5" fmla="*/ 291210 h 547027"/>
                <a:gd name="connsiteX6" fmla="*/ 130118 w 547492"/>
                <a:gd name="connsiteY6" fmla="*/ 16219 h 547027"/>
                <a:gd name="connsiteX7" fmla="*/ 147901 w 547492"/>
                <a:gd name="connsiteY7" fmla="*/ 159 h 547027"/>
                <a:gd name="connsiteX8" fmla="*/ 258593 w 547492"/>
                <a:gd name="connsiteY8" fmla="*/ 83 h 547027"/>
                <a:gd name="connsiteX9" fmla="*/ 276870 w 547492"/>
                <a:gd name="connsiteY9" fmla="*/ 19473 h 547027"/>
                <a:gd name="connsiteX10" fmla="*/ 342477 w 547492"/>
                <a:gd name="connsiteY10" fmla="*/ 185830 h 547027"/>
                <a:gd name="connsiteX11" fmla="*/ 529533 w 547492"/>
                <a:gd name="connsiteY11" fmla="*/ 271534 h 547027"/>
                <a:gd name="connsiteX12" fmla="*/ 529010 w 547492"/>
                <a:gd name="connsiteY12" fmla="*/ 308769 h 547027"/>
                <a:gd name="connsiteX13" fmla="*/ 319908 w 547492"/>
                <a:gd name="connsiteY13" fmla="*/ 218161 h 547027"/>
                <a:gd name="connsiteX14" fmla="*/ 241025 w 547492"/>
                <a:gd name="connsiteY14" fmla="*/ 18615 h 547027"/>
                <a:gd name="connsiteX15" fmla="*/ 258593 w 547492"/>
                <a:gd name="connsiteY15" fmla="*/ 83 h 547027"/>
                <a:gd name="connsiteX16" fmla="*/ 18843 w 547492"/>
                <a:gd name="connsiteY16" fmla="*/ 10 h 547027"/>
                <a:gd name="connsiteX17" fmla="*/ 37685 w 547492"/>
                <a:gd name="connsiteY17" fmla="*/ 16302 h 547027"/>
                <a:gd name="connsiteX18" fmla="*/ 164891 w 547492"/>
                <a:gd name="connsiteY18" fmla="*/ 345340 h 547027"/>
                <a:gd name="connsiteX19" fmla="*/ 531167 w 547492"/>
                <a:gd name="connsiteY19" fmla="*/ 510082 h 547027"/>
                <a:gd name="connsiteX20" fmla="*/ 528039 w 547492"/>
                <a:gd name="connsiteY20" fmla="*/ 547022 h 547027"/>
                <a:gd name="connsiteX21" fmla="*/ 139867 w 547492"/>
                <a:gd name="connsiteY21" fmla="*/ 375130 h 547027"/>
                <a:gd name="connsiteX22" fmla="*/ 0 w 547492"/>
                <a:gd name="connsiteY22" fmla="*/ 15557 h 547027"/>
                <a:gd name="connsiteX23" fmla="*/ 18843 w 547492"/>
                <a:gd name="connsiteY23" fmla="*/ 10 h 547027"/>
                <a:gd name="connsiteX24" fmla="*/ 361357 w 547492"/>
                <a:gd name="connsiteY24" fmla="*/ 3 h 547027"/>
                <a:gd name="connsiteX25" fmla="*/ 379427 w 547492"/>
                <a:gd name="connsiteY25" fmla="*/ 22811 h 547027"/>
                <a:gd name="connsiteX26" fmla="*/ 416799 w 547492"/>
                <a:gd name="connsiteY26" fmla="*/ 121134 h 547027"/>
                <a:gd name="connsiteX27" fmla="*/ 530986 w 547492"/>
                <a:gd name="connsiteY27" fmla="*/ 167238 h 547027"/>
                <a:gd name="connsiteX28" fmla="*/ 528863 w 547492"/>
                <a:gd name="connsiteY28" fmla="*/ 205554 h 547027"/>
                <a:gd name="connsiteX29" fmla="*/ 395749 w 547492"/>
                <a:gd name="connsiteY29" fmla="*/ 150171 h 547027"/>
                <a:gd name="connsiteX30" fmla="*/ 342870 w 547492"/>
                <a:gd name="connsiteY30" fmla="*/ 38961 h 547027"/>
                <a:gd name="connsiteX31" fmla="*/ 343296 w 547492"/>
                <a:gd name="connsiteY31" fmla="*/ 21634 h 547027"/>
                <a:gd name="connsiteX32" fmla="*/ 361357 w 547492"/>
                <a:gd name="connsiteY32" fmla="*/ 3 h 547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547492" h="547027">
                  <a:moveTo>
                    <a:pt x="147901" y="159"/>
                  </a:moveTo>
                  <a:cubicBezTo>
                    <a:pt x="156233" y="1247"/>
                    <a:pt x="164417" y="7883"/>
                    <a:pt x="164790" y="17385"/>
                  </a:cubicBezTo>
                  <a:cubicBezTo>
                    <a:pt x="163504" y="123250"/>
                    <a:pt x="210481" y="208637"/>
                    <a:pt x="257543" y="261873"/>
                  </a:cubicBezTo>
                  <a:cubicBezTo>
                    <a:pt x="329801" y="345790"/>
                    <a:pt x="450493" y="385299"/>
                    <a:pt x="531263" y="383096"/>
                  </a:cubicBezTo>
                  <a:cubicBezTo>
                    <a:pt x="554755" y="384136"/>
                    <a:pt x="550415" y="419245"/>
                    <a:pt x="533050" y="419093"/>
                  </a:cubicBezTo>
                  <a:cubicBezTo>
                    <a:pt x="450691" y="419472"/>
                    <a:pt x="338455" y="398909"/>
                    <a:pt x="234902" y="291210"/>
                  </a:cubicBezTo>
                  <a:cubicBezTo>
                    <a:pt x="193363" y="241274"/>
                    <a:pt x="128927" y="167539"/>
                    <a:pt x="130118" y="16219"/>
                  </a:cubicBezTo>
                  <a:cubicBezTo>
                    <a:pt x="131087" y="3530"/>
                    <a:pt x="139569" y="-930"/>
                    <a:pt x="147901" y="159"/>
                  </a:cubicBezTo>
                  <a:close/>
                  <a:moveTo>
                    <a:pt x="258593" y="83"/>
                  </a:moveTo>
                  <a:cubicBezTo>
                    <a:pt x="267391" y="-753"/>
                    <a:pt x="276308" y="4730"/>
                    <a:pt x="276870" y="19473"/>
                  </a:cubicBezTo>
                  <a:cubicBezTo>
                    <a:pt x="277152" y="95057"/>
                    <a:pt x="309784" y="144239"/>
                    <a:pt x="342477" y="185830"/>
                  </a:cubicBezTo>
                  <a:cubicBezTo>
                    <a:pt x="395970" y="243463"/>
                    <a:pt x="472402" y="273156"/>
                    <a:pt x="529533" y="271534"/>
                  </a:cubicBezTo>
                  <a:cubicBezTo>
                    <a:pt x="554491" y="271108"/>
                    <a:pt x="552612" y="307689"/>
                    <a:pt x="529010" y="308769"/>
                  </a:cubicBezTo>
                  <a:cubicBezTo>
                    <a:pt x="463605" y="309049"/>
                    <a:pt x="394346" y="293904"/>
                    <a:pt x="319908" y="218161"/>
                  </a:cubicBezTo>
                  <a:cubicBezTo>
                    <a:pt x="290526" y="181384"/>
                    <a:pt x="240182" y="130058"/>
                    <a:pt x="241025" y="18615"/>
                  </a:cubicBezTo>
                  <a:cubicBezTo>
                    <a:pt x="241115" y="8077"/>
                    <a:pt x="249795" y="920"/>
                    <a:pt x="258593" y="83"/>
                  </a:cubicBezTo>
                  <a:close/>
                  <a:moveTo>
                    <a:pt x="18843" y="10"/>
                  </a:moveTo>
                  <a:cubicBezTo>
                    <a:pt x="28214" y="265"/>
                    <a:pt x="37586" y="5826"/>
                    <a:pt x="37685" y="16302"/>
                  </a:cubicBezTo>
                  <a:cubicBezTo>
                    <a:pt x="35997" y="154729"/>
                    <a:pt x="103125" y="275729"/>
                    <a:pt x="164891" y="345340"/>
                  </a:cubicBezTo>
                  <a:cubicBezTo>
                    <a:pt x="259725" y="455069"/>
                    <a:pt x="425162" y="512962"/>
                    <a:pt x="531167" y="510082"/>
                  </a:cubicBezTo>
                  <a:cubicBezTo>
                    <a:pt x="555744" y="509883"/>
                    <a:pt x="550829" y="547221"/>
                    <a:pt x="528039" y="547022"/>
                  </a:cubicBezTo>
                  <a:cubicBezTo>
                    <a:pt x="419949" y="547519"/>
                    <a:pt x="273429" y="516735"/>
                    <a:pt x="139867" y="375130"/>
                  </a:cubicBezTo>
                  <a:cubicBezTo>
                    <a:pt x="85350" y="312173"/>
                    <a:pt x="0" y="200955"/>
                    <a:pt x="0" y="15557"/>
                  </a:cubicBezTo>
                  <a:cubicBezTo>
                    <a:pt x="99" y="4808"/>
                    <a:pt x="9471" y="-244"/>
                    <a:pt x="18843" y="10"/>
                  </a:cubicBezTo>
                  <a:close/>
                  <a:moveTo>
                    <a:pt x="361357" y="3"/>
                  </a:moveTo>
                  <a:cubicBezTo>
                    <a:pt x="370360" y="-117"/>
                    <a:pt x="379364" y="7170"/>
                    <a:pt x="379427" y="22811"/>
                  </a:cubicBezTo>
                  <a:cubicBezTo>
                    <a:pt x="379608" y="73981"/>
                    <a:pt x="395801" y="92977"/>
                    <a:pt x="416799" y="121134"/>
                  </a:cubicBezTo>
                  <a:cubicBezTo>
                    <a:pt x="452945" y="158363"/>
                    <a:pt x="498462" y="168336"/>
                    <a:pt x="530986" y="167238"/>
                  </a:cubicBezTo>
                  <a:cubicBezTo>
                    <a:pt x="549400" y="166950"/>
                    <a:pt x="557131" y="203036"/>
                    <a:pt x="528863" y="205554"/>
                  </a:cubicBezTo>
                  <a:cubicBezTo>
                    <a:pt x="486854" y="205743"/>
                    <a:pt x="443561" y="201449"/>
                    <a:pt x="395749" y="150171"/>
                  </a:cubicBezTo>
                  <a:cubicBezTo>
                    <a:pt x="351991" y="102452"/>
                    <a:pt x="343809" y="62263"/>
                    <a:pt x="342870" y="38961"/>
                  </a:cubicBezTo>
                  <a:cubicBezTo>
                    <a:pt x="342557" y="31194"/>
                    <a:pt x="343049" y="25303"/>
                    <a:pt x="343296" y="21634"/>
                  </a:cubicBezTo>
                  <a:cubicBezTo>
                    <a:pt x="343354" y="7649"/>
                    <a:pt x="352355" y="122"/>
                    <a:pt x="361357" y="3"/>
                  </a:cubicBezTo>
                  <a:close/>
                </a:path>
              </a:pathLst>
            </a:custGeom>
            <a:solidFill>
              <a:srgbClr val="00B0F0"/>
            </a:solidFill>
            <a:ln w="25400" cap="flat" cmpd="sng" algn="ctr">
              <a:noFill/>
              <a:prstDash val="solid"/>
            </a:ln>
            <a:effectLst/>
          </p:spPr>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32316"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smtClean="0">
                <a:ln>
                  <a:noFill/>
                </a:ln>
                <a:solidFill>
                  <a:srgbClr val="FFFFFF"/>
                </a:solidFill>
                <a:effectLst/>
                <a:uLnTx/>
                <a:uFillTx/>
                <a:latin typeface="Segoe UI"/>
                <a:ea typeface="+mn-ea"/>
                <a:cs typeface="+mn-cs"/>
              </a:endParaRPr>
            </a:p>
          </p:txBody>
        </p:sp>
        <p:sp>
          <p:nvSpPr>
            <p:cNvPr id="31" name="Freeform 30"/>
            <p:cNvSpPr/>
            <p:nvPr/>
          </p:nvSpPr>
          <p:spPr>
            <a:xfrm>
              <a:off x="5508110" y="35566"/>
              <a:ext cx="2395539" cy="1469241"/>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0072C6"/>
            </a:solidFill>
            <a:ln w="9525"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smtClean="0">
                <a:ln>
                  <a:noFill/>
                </a:ln>
                <a:solidFill>
                  <a:prstClr val="white"/>
                </a:solidFill>
                <a:effectLst/>
                <a:uLnTx/>
                <a:uFillTx/>
                <a:latin typeface="Segoe UI"/>
                <a:ea typeface="+mn-ea"/>
                <a:cs typeface="+mn-cs"/>
              </a:endParaRPr>
            </a:p>
          </p:txBody>
        </p:sp>
        <p:sp>
          <p:nvSpPr>
            <p:cNvPr id="36" name="Freeform 116"/>
            <p:cNvSpPr>
              <a:spLocks/>
            </p:cNvSpPr>
            <p:nvPr/>
          </p:nvSpPr>
          <p:spPr bwMode="auto">
            <a:xfrm>
              <a:off x="5115001" y="761922"/>
              <a:ext cx="655687" cy="430649"/>
            </a:xfrm>
            <a:custGeom>
              <a:avLst/>
              <a:gdLst>
                <a:gd name="T0" fmla="*/ 166 w 198"/>
                <a:gd name="T1" fmla="*/ 57 h 130"/>
                <a:gd name="T2" fmla="*/ 166 w 198"/>
                <a:gd name="T3" fmla="*/ 54 h 130"/>
                <a:gd name="T4" fmla="*/ 111 w 198"/>
                <a:gd name="T5" fmla="*/ 0 h 130"/>
                <a:gd name="T6" fmla="*/ 66 w 198"/>
                <a:gd name="T7" fmla="*/ 24 h 130"/>
                <a:gd name="T8" fmla="*/ 51 w 198"/>
                <a:gd name="T9" fmla="*/ 20 h 130"/>
                <a:gd name="T10" fmla="*/ 33 w 198"/>
                <a:gd name="T11" fmla="*/ 26 h 130"/>
                <a:gd name="T12" fmla="*/ 19 w 198"/>
                <a:gd name="T13" fmla="*/ 51 h 130"/>
                <a:gd name="T14" fmla="*/ 0 w 198"/>
                <a:gd name="T15" fmla="*/ 87 h 130"/>
                <a:gd name="T16" fmla="*/ 38 w 198"/>
                <a:gd name="T17" fmla="*/ 130 h 130"/>
                <a:gd name="T18" fmla="*/ 43 w 198"/>
                <a:gd name="T19" fmla="*/ 130 h 130"/>
                <a:gd name="T20" fmla="*/ 47 w 198"/>
                <a:gd name="T21" fmla="*/ 130 h 130"/>
                <a:gd name="T22" fmla="*/ 136 w 198"/>
                <a:gd name="T23" fmla="*/ 130 h 130"/>
                <a:gd name="T24" fmla="*/ 138 w 198"/>
                <a:gd name="T25" fmla="*/ 130 h 130"/>
                <a:gd name="T26" fmla="*/ 140 w 198"/>
                <a:gd name="T27" fmla="*/ 130 h 130"/>
                <a:gd name="T28" fmla="*/ 147 w 198"/>
                <a:gd name="T29" fmla="*/ 130 h 130"/>
                <a:gd name="T30" fmla="*/ 161 w 198"/>
                <a:gd name="T31" fmla="*/ 130 h 130"/>
                <a:gd name="T32" fmla="*/ 198 w 198"/>
                <a:gd name="T33" fmla="*/ 93 h 130"/>
                <a:gd name="T34" fmla="*/ 166 w 198"/>
                <a:gd name="T35" fmla="*/ 57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8" h="130">
                  <a:moveTo>
                    <a:pt x="166" y="57"/>
                  </a:moveTo>
                  <a:cubicBezTo>
                    <a:pt x="166" y="56"/>
                    <a:pt x="166" y="55"/>
                    <a:pt x="166" y="54"/>
                  </a:cubicBezTo>
                  <a:cubicBezTo>
                    <a:pt x="166" y="24"/>
                    <a:pt x="141" y="0"/>
                    <a:pt x="111" y="0"/>
                  </a:cubicBezTo>
                  <a:cubicBezTo>
                    <a:pt x="92" y="0"/>
                    <a:pt x="76" y="10"/>
                    <a:pt x="66" y="24"/>
                  </a:cubicBezTo>
                  <a:cubicBezTo>
                    <a:pt x="61" y="22"/>
                    <a:pt x="56" y="20"/>
                    <a:pt x="51" y="20"/>
                  </a:cubicBezTo>
                  <a:cubicBezTo>
                    <a:pt x="44" y="20"/>
                    <a:pt x="38" y="22"/>
                    <a:pt x="33" y="26"/>
                  </a:cubicBezTo>
                  <a:cubicBezTo>
                    <a:pt x="25" y="31"/>
                    <a:pt x="19" y="40"/>
                    <a:pt x="19" y="51"/>
                  </a:cubicBezTo>
                  <a:cubicBezTo>
                    <a:pt x="8" y="59"/>
                    <a:pt x="0" y="72"/>
                    <a:pt x="0" y="87"/>
                  </a:cubicBezTo>
                  <a:cubicBezTo>
                    <a:pt x="0" y="109"/>
                    <a:pt x="16" y="127"/>
                    <a:pt x="38" y="130"/>
                  </a:cubicBezTo>
                  <a:cubicBezTo>
                    <a:pt x="39" y="130"/>
                    <a:pt x="41" y="130"/>
                    <a:pt x="43" y="130"/>
                  </a:cubicBezTo>
                  <a:cubicBezTo>
                    <a:pt x="44" y="130"/>
                    <a:pt x="45" y="130"/>
                    <a:pt x="47" y="130"/>
                  </a:cubicBezTo>
                  <a:cubicBezTo>
                    <a:pt x="67" y="130"/>
                    <a:pt x="114" y="130"/>
                    <a:pt x="136" y="130"/>
                  </a:cubicBezTo>
                  <a:cubicBezTo>
                    <a:pt x="137" y="130"/>
                    <a:pt x="137" y="130"/>
                    <a:pt x="138" y="130"/>
                  </a:cubicBezTo>
                  <a:cubicBezTo>
                    <a:pt x="140" y="130"/>
                    <a:pt x="140" y="130"/>
                    <a:pt x="140" y="130"/>
                  </a:cubicBezTo>
                  <a:cubicBezTo>
                    <a:pt x="141" y="130"/>
                    <a:pt x="144" y="130"/>
                    <a:pt x="147" y="130"/>
                  </a:cubicBezTo>
                  <a:cubicBezTo>
                    <a:pt x="161" y="130"/>
                    <a:pt x="161" y="130"/>
                    <a:pt x="161" y="130"/>
                  </a:cubicBezTo>
                  <a:cubicBezTo>
                    <a:pt x="181" y="130"/>
                    <a:pt x="198" y="113"/>
                    <a:pt x="198" y="93"/>
                  </a:cubicBezTo>
                  <a:cubicBezTo>
                    <a:pt x="198" y="75"/>
                    <a:pt x="184" y="59"/>
                    <a:pt x="166" y="57"/>
                  </a:cubicBezTo>
                  <a:close/>
                </a:path>
              </a:pathLst>
            </a:cu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32316"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7" name="Freeform 7"/>
            <p:cNvSpPr>
              <a:spLocks noEditPoints="1"/>
            </p:cNvSpPr>
            <p:nvPr/>
          </p:nvSpPr>
          <p:spPr bwMode="auto">
            <a:xfrm>
              <a:off x="8026202" y="1999519"/>
              <a:ext cx="4019262" cy="2219421"/>
            </a:xfrm>
            <a:custGeom>
              <a:avLst/>
              <a:gdLst>
                <a:gd name="T0" fmla="*/ 412 w 485"/>
                <a:gd name="T1" fmla="*/ 0 h 260"/>
                <a:gd name="T2" fmla="*/ 74 w 485"/>
                <a:gd name="T3" fmla="*/ 0 h 260"/>
                <a:gd name="T4" fmla="*/ 62 w 485"/>
                <a:gd name="T5" fmla="*/ 12 h 260"/>
                <a:gd name="T6" fmla="*/ 62 w 485"/>
                <a:gd name="T7" fmla="*/ 220 h 260"/>
                <a:gd name="T8" fmla="*/ 74 w 485"/>
                <a:gd name="T9" fmla="*/ 232 h 260"/>
                <a:gd name="T10" fmla="*/ 412 w 485"/>
                <a:gd name="T11" fmla="*/ 232 h 260"/>
                <a:gd name="T12" fmla="*/ 424 w 485"/>
                <a:gd name="T13" fmla="*/ 220 h 260"/>
                <a:gd name="T14" fmla="*/ 424 w 485"/>
                <a:gd name="T15" fmla="*/ 12 h 260"/>
                <a:gd name="T16" fmla="*/ 412 w 485"/>
                <a:gd name="T17" fmla="*/ 0 h 260"/>
                <a:gd name="T18" fmla="*/ 408 w 485"/>
                <a:gd name="T19" fmla="*/ 218 h 260"/>
                <a:gd name="T20" fmla="*/ 77 w 485"/>
                <a:gd name="T21" fmla="*/ 218 h 260"/>
                <a:gd name="T22" fmla="*/ 77 w 485"/>
                <a:gd name="T23" fmla="*/ 13 h 260"/>
                <a:gd name="T24" fmla="*/ 408 w 485"/>
                <a:gd name="T25" fmla="*/ 13 h 260"/>
                <a:gd name="T26" fmla="*/ 408 w 485"/>
                <a:gd name="T27" fmla="*/ 218 h 260"/>
                <a:gd name="T28" fmla="*/ 276 w 485"/>
                <a:gd name="T29" fmla="*/ 241 h 260"/>
                <a:gd name="T30" fmla="*/ 276 w 485"/>
                <a:gd name="T31" fmla="*/ 243 h 260"/>
                <a:gd name="T32" fmla="*/ 271 w 485"/>
                <a:gd name="T33" fmla="*/ 247 h 260"/>
                <a:gd name="T34" fmla="*/ 214 w 485"/>
                <a:gd name="T35" fmla="*/ 247 h 260"/>
                <a:gd name="T36" fmla="*/ 210 w 485"/>
                <a:gd name="T37" fmla="*/ 243 h 260"/>
                <a:gd name="T38" fmla="*/ 210 w 485"/>
                <a:gd name="T39" fmla="*/ 241 h 260"/>
                <a:gd name="T40" fmla="*/ 0 w 485"/>
                <a:gd name="T41" fmla="*/ 241 h 260"/>
                <a:gd name="T42" fmla="*/ 0 w 485"/>
                <a:gd name="T43" fmla="*/ 253 h 260"/>
                <a:gd name="T44" fmla="*/ 16 w 485"/>
                <a:gd name="T45" fmla="*/ 260 h 260"/>
                <a:gd name="T46" fmla="*/ 16 w 485"/>
                <a:gd name="T47" fmla="*/ 260 h 260"/>
                <a:gd name="T48" fmla="*/ 469 w 485"/>
                <a:gd name="T49" fmla="*/ 260 h 260"/>
                <a:gd name="T50" fmla="*/ 469 w 485"/>
                <a:gd name="T51" fmla="*/ 260 h 260"/>
                <a:gd name="T52" fmla="*/ 485 w 485"/>
                <a:gd name="T53" fmla="*/ 253 h 260"/>
                <a:gd name="T54" fmla="*/ 485 w 485"/>
                <a:gd name="T55" fmla="*/ 241 h 260"/>
                <a:gd name="T56" fmla="*/ 276 w 485"/>
                <a:gd name="T57" fmla="*/ 241 h 260"/>
                <a:gd name="T58" fmla="*/ 276 w 485"/>
                <a:gd name="T59" fmla="*/ 241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85" h="260">
                  <a:moveTo>
                    <a:pt x="412" y="0"/>
                  </a:moveTo>
                  <a:cubicBezTo>
                    <a:pt x="74" y="0"/>
                    <a:pt x="74" y="0"/>
                    <a:pt x="74" y="0"/>
                  </a:cubicBezTo>
                  <a:cubicBezTo>
                    <a:pt x="68" y="0"/>
                    <a:pt x="62" y="5"/>
                    <a:pt x="62" y="12"/>
                  </a:cubicBezTo>
                  <a:cubicBezTo>
                    <a:pt x="62" y="220"/>
                    <a:pt x="62" y="220"/>
                    <a:pt x="62" y="220"/>
                  </a:cubicBezTo>
                  <a:cubicBezTo>
                    <a:pt x="62" y="227"/>
                    <a:pt x="68" y="232"/>
                    <a:pt x="74" y="232"/>
                  </a:cubicBezTo>
                  <a:cubicBezTo>
                    <a:pt x="412" y="232"/>
                    <a:pt x="412" y="232"/>
                    <a:pt x="412" y="232"/>
                  </a:cubicBezTo>
                  <a:cubicBezTo>
                    <a:pt x="419" y="232"/>
                    <a:pt x="424" y="227"/>
                    <a:pt x="424" y="220"/>
                  </a:cubicBezTo>
                  <a:cubicBezTo>
                    <a:pt x="424" y="12"/>
                    <a:pt x="424" y="12"/>
                    <a:pt x="424" y="12"/>
                  </a:cubicBezTo>
                  <a:cubicBezTo>
                    <a:pt x="424" y="5"/>
                    <a:pt x="419" y="0"/>
                    <a:pt x="412" y="0"/>
                  </a:cubicBezTo>
                  <a:close/>
                  <a:moveTo>
                    <a:pt x="408" y="218"/>
                  </a:moveTo>
                  <a:cubicBezTo>
                    <a:pt x="77" y="218"/>
                    <a:pt x="77" y="218"/>
                    <a:pt x="77" y="218"/>
                  </a:cubicBezTo>
                  <a:cubicBezTo>
                    <a:pt x="77" y="13"/>
                    <a:pt x="77" y="13"/>
                    <a:pt x="77" y="13"/>
                  </a:cubicBezTo>
                  <a:cubicBezTo>
                    <a:pt x="408" y="13"/>
                    <a:pt x="408" y="13"/>
                    <a:pt x="408" y="13"/>
                  </a:cubicBezTo>
                  <a:cubicBezTo>
                    <a:pt x="408" y="218"/>
                    <a:pt x="408" y="218"/>
                    <a:pt x="408" y="218"/>
                  </a:cubicBezTo>
                  <a:close/>
                  <a:moveTo>
                    <a:pt x="276" y="241"/>
                  </a:moveTo>
                  <a:cubicBezTo>
                    <a:pt x="276" y="243"/>
                    <a:pt x="276" y="243"/>
                    <a:pt x="276" y="243"/>
                  </a:cubicBezTo>
                  <a:cubicBezTo>
                    <a:pt x="276" y="246"/>
                    <a:pt x="274" y="247"/>
                    <a:pt x="271" y="247"/>
                  </a:cubicBezTo>
                  <a:cubicBezTo>
                    <a:pt x="214" y="247"/>
                    <a:pt x="214" y="247"/>
                    <a:pt x="214" y="247"/>
                  </a:cubicBezTo>
                  <a:cubicBezTo>
                    <a:pt x="212" y="247"/>
                    <a:pt x="210" y="246"/>
                    <a:pt x="210" y="243"/>
                  </a:cubicBezTo>
                  <a:cubicBezTo>
                    <a:pt x="210" y="241"/>
                    <a:pt x="210" y="241"/>
                    <a:pt x="210" y="241"/>
                  </a:cubicBezTo>
                  <a:cubicBezTo>
                    <a:pt x="0" y="241"/>
                    <a:pt x="0" y="241"/>
                    <a:pt x="0" y="241"/>
                  </a:cubicBezTo>
                  <a:cubicBezTo>
                    <a:pt x="0" y="253"/>
                    <a:pt x="0" y="253"/>
                    <a:pt x="0" y="253"/>
                  </a:cubicBezTo>
                  <a:cubicBezTo>
                    <a:pt x="0" y="253"/>
                    <a:pt x="11" y="260"/>
                    <a:pt x="16" y="260"/>
                  </a:cubicBezTo>
                  <a:cubicBezTo>
                    <a:pt x="16" y="260"/>
                    <a:pt x="16" y="260"/>
                    <a:pt x="16" y="260"/>
                  </a:cubicBezTo>
                  <a:cubicBezTo>
                    <a:pt x="469" y="260"/>
                    <a:pt x="469" y="260"/>
                    <a:pt x="469" y="260"/>
                  </a:cubicBezTo>
                  <a:cubicBezTo>
                    <a:pt x="469" y="260"/>
                    <a:pt x="469" y="260"/>
                    <a:pt x="469" y="260"/>
                  </a:cubicBezTo>
                  <a:cubicBezTo>
                    <a:pt x="474" y="260"/>
                    <a:pt x="485" y="253"/>
                    <a:pt x="485" y="253"/>
                  </a:cubicBezTo>
                  <a:cubicBezTo>
                    <a:pt x="485" y="241"/>
                    <a:pt x="485" y="241"/>
                    <a:pt x="485" y="241"/>
                  </a:cubicBezTo>
                  <a:cubicBezTo>
                    <a:pt x="276" y="241"/>
                    <a:pt x="276" y="241"/>
                    <a:pt x="276" y="241"/>
                  </a:cubicBezTo>
                  <a:cubicBezTo>
                    <a:pt x="276" y="241"/>
                    <a:pt x="276" y="241"/>
                    <a:pt x="276" y="241"/>
                  </a:cubicBezTo>
                  <a:close/>
                </a:path>
              </a:pathLst>
            </a:custGeom>
            <a:solidFill>
              <a:srgbClr val="68217A"/>
            </a:solidFill>
            <a:ln>
              <a:noFill/>
            </a:ln>
          </p:spPr>
          <p:txBody>
            <a:bodyPr vert="horz" wrap="square" lIns="91440" tIns="45720" rIns="91440" bIns="45720" numCol="1" anchor="t" anchorCtr="0" compatLnSpc="1">
              <a:prstTxWarp prst="textNoShape">
                <a:avLst/>
              </a:prstTxWarp>
            </a:bodyPr>
            <a:lstStyle/>
            <a:p>
              <a:pPr marL="0" marR="0" lvl="0" indent="0" defTabSz="932316"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grpSp>
          <p:nvGrpSpPr>
            <p:cNvPr id="39" name="Group 38"/>
            <p:cNvGrpSpPr/>
            <p:nvPr/>
          </p:nvGrpSpPr>
          <p:grpSpPr>
            <a:xfrm>
              <a:off x="5063588" y="5249632"/>
              <a:ext cx="1195252" cy="1422658"/>
              <a:chOff x="-2026503" y="4408542"/>
              <a:chExt cx="1737194" cy="2067707"/>
            </a:xfrm>
          </p:grpSpPr>
          <p:sp>
            <p:nvSpPr>
              <p:cNvPr id="41" name="Freeform 64"/>
              <p:cNvSpPr>
                <a:spLocks/>
              </p:cNvSpPr>
              <p:nvPr/>
            </p:nvSpPr>
            <p:spPr bwMode="auto">
              <a:xfrm>
                <a:off x="-2026503" y="4408542"/>
                <a:ext cx="1737194" cy="2067707"/>
              </a:xfrm>
              <a:custGeom>
                <a:avLst/>
                <a:gdLst>
                  <a:gd name="T0" fmla="*/ 0 w 689"/>
                  <a:gd name="T1" fmla="*/ 0 h 818"/>
                  <a:gd name="T2" fmla="*/ 0 w 689"/>
                  <a:gd name="T3" fmla="*/ 0 h 818"/>
                  <a:gd name="T4" fmla="*/ 0 w 689"/>
                  <a:gd name="T5" fmla="*/ 333 h 818"/>
                  <a:gd name="T6" fmla="*/ 344 w 689"/>
                  <a:gd name="T7" fmla="*/ 818 h 818"/>
                  <a:gd name="T8" fmla="*/ 689 w 689"/>
                  <a:gd name="T9" fmla="*/ 333 h 818"/>
                  <a:gd name="T10" fmla="*/ 689 w 689"/>
                  <a:gd name="T11" fmla="*/ 0 h 818"/>
                  <a:gd name="T12" fmla="*/ 0 w 689"/>
                  <a:gd name="T13" fmla="*/ 0 h 818"/>
                </a:gdLst>
                <a:ahLst/>
                <a:cxnLst>
                  <a:cxn ang="0">
                    <a:pos x="T0" y="T1"/>
                  </a:cxn>
                  <a:cxn ang="0">
                    <a:pos x="T2" y="T3"/>
                  </a:cxn>
                  <a:cxn ang="0">
                    <a:pos x="T4" y="T5"/>
                  </a:cxn>
                  <a:cxn ang="0">
                    <a:pos x="T6" y="T7"/>
                  </a:cxn>
                  <a:cxn ang="0">
                    <a:pos x="T8" y="T9"/>
                  </a:cxn>
                  <a:cxn ang="0">
                    <a:pos x="T10" y="T11"/>
                  </a:cxn>
                  <a:cxn ang="0">
                    <a:pos x="T12" y="T13"/>
                  </a:cxn>
                </a:cxnLst>
                <a:rect l="0" t="0" r="r" b="b"/>
                <a:pathLst>
                  <a:path w="689" h="818">
                    <a:moveTo>
                      <a:pt x="0" y="0"/>
                    </a:moveTo>
                    <a:lnTo>
                      <a:pt x="0" y="0"/>
                    </a:lnTo>
                    <a:lnTo>
                      <a:pt x="0" y="333"/>
                    </a:lnTo>
                    <a:cubicBezTo>
                      <a:pt x="0" y="558"/>
                      <a:pt x="144" y="748"/>
                      <a:pt x="344" y="818"/>
                    </a:cubicBezTo>
                    <a:cubicBezTo>
                      <a:pt x="545" y="748"/>
                      <a:pt x="689" y="558"/>
                      <a:pt x="689" y="333"/>
                    </a:cubicBezTo>
                    <a:lnTo>
                      <a:pt x="689" y="0"/>
                    </a:lnTo>
                    <a:lnTo>
                      <a:pt x="0" y="0"/>
                    </a:lnTo>
                    <a:close/>
                  </a:path>
                </a:pathLst>
              </a:custGeom>
              <a:solidFill>
                <a:srgbClr val="FEA83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sp>
            <p:nvSpPr>
              <p:cNvPr id="42" name="Freeform 65"/>
              <p:cNvSpPr>
                <a:spLocks/>
              </p:cNvSpPr>
              <p:nvPr/>
            </p:nvSpPr>
            <p:spPr bwMode="auto">
              <a:xfrm>
                <a:off x="-1473450" y="4809744"/>
                <a:ext cx="548164" cy="971377"/>
              </a:xfrm>
              <a:custGeom>
                <a:avLst/>
                <a:gdLst>
                  <a:gd name="T0" fmla="*/ 217 w 217"/>
                  <a:gd name="T1" fmla="*/ 108 h 385"/>
                  <a:gd name="T2" fmla="*/ 217 w 217"/>
                  <a:gd name="T3" fmla="*/ 108 h 385"/>
                  <a:gd name="T4" fmla="*/ 108 w 217"/>
                  <a:gd name="T5" fmla="*/ 0 h 385"/>
                  <a:gd name="T6" fmla="*/ 0 w 217"/>
                  <a:gd name="T7" fmla="*/ 108 h 385"/>
                  <a:gd name="T8" fmla="*/ 47 w 217"/>
                  <a:gd name="T9" fmla="*/ 198 h 385"/>
                  <a:gd name="T10" fmla="*/ 0 w 217"/>
                  <a:gd name="T11" fmla="*/ 385 h 385"/>
                  <a:gd name="T12" fmla="*/ 216 w 217"/>
                  <a:gd name="T13" fmla="*/ 385 h 385"/>
                  <a:gd name="T14" fmla="*/ 169 w 217"/>
                  <a:gd name="T15" fmla="*/ 198 h 385"/>
                  <a:gd name="T16" fmla="*/ 217 w 217"/>
                  <a:gd name="T17" fmla="*/ 108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7" h="385">
                    <a:moveTo>
                      <a:pt x="217" y="108"/>
                    </a:moveTo>
                    <a:lnTo>
                      <a:pt x="217" y="108"/>
                    </a:lnTo>
                    <a:cubicBezTo>
                      <a:pt x="217" y="48"/>
                      <a:pt x="168" y="0"/>
                      <a:pt x="108" y="0"/>
                    </a:cubicBezTo>
                    <a:cubicBezTo>
                      <a:pt x="48" y="0"/>
                      <a:pt x="0" y="48"/>
                      <a:pt x="0" y="108"/>
                    </a:cubicBezTo>
                    <a:cubicBezTo>
                      <a:pt x="0" y="146"/>
                      <a:pt x="18" y="179"/>
                      <a:pt x="47" y="198"/>
                    </a:cubicBezTo>
                    <a:lnTo>
                      <a:pt x="0" y="385"/>
                    </a:lnTo>
                    <a:lnTo>
                      <a:pt x="216" y="385"/>
                    </a:lnTo>
                    <a:lnTo>
                      <a:pt x="169" y="198"/>
                    </a:lnTo>
                    <a:cubicBezTo>
                      <a:pt x="198" y="179"/>
                      <a:pt x="217" y="146"/>
                      <a:pt x="217" y="108"/>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0000"/>
                  </a:solidFill>
                  <a:effectLst/>
                  <a:uLnTx/>
                  <a:uFillTx/>
                </a:endParaRPr>
              </a:p>
            </p:txBody>
          </p:sp>
        </p:grpSp>
        <p:sp>
          <p:nvSpPr>
            <p:cNvPr id="40" name="Freeform 39"/>
            <p:cNvSpPr/>
            <p:nvPr/>
          </p:nvSpPr>
          <p:spPr>
            <a:xfrm rot="8601709">
              <a:off x="7109263" y="2083655"/>
              <a:ext cx="818195" cy="789022"/>
            </a:xfrm>
            <a:custGeom>
              <a:avLst/>
              <a:gdLst>
                <a:gd name="connsiteX0" fmla="*/ 147901 w 547492"/>
                <a:gd name="connsiteY0" fmla="*/ 159 h 547027"/>
                <a:gd name="connsiteX1" fmla="*/ 164790 w 547492"/>
                <a:gd name="connsiteY1" fmla="*/ 17385 h 547027"/>
                <a:gd name="connsiteX2" fmla="*/ 257543 w 547492"/>
                <a:gd name="connsiteY2" fmla="*/ 261873 h 547027"/>
                <a:gd name="connsiteX3" fmla="*/ 531263 w 547492"/>
                <a:gd name="connsiteY3" fmla="*/ 383096 h 547027"/>
                <a:gd name="connsiteX4" fmla="*/ 533050 w 547492"/>
                <a:gd name="connsiteY4" fmla="*/ 419093 h 547027"/>
                <a:gd name="connsiteX5" fmla="*/ 234902 w 547492"/>
                <a:gd name="connsiteY5" fmla="*/ 291210 h 547027"/>
                <a:gd name="connsiteX6" fmla="*/ 130118 w 547492"/>
                <a:gd name="connsiteY6" fmla="*/ 16219 h 547027"/>
                <a:gd name="connsiteX7" fmla="*/ 147901 w 547492"/>
                <a:gd name="connsiteY7" fmla="*/ 159 h 547027"/>
                <a:gd name="connsiteX8" fmla="*/ 258593 w 547492"/>
                <a:gd name="connsiteY8" fmla="*/ 83 h 547027"/>
                <a:gd name="connsiteX9" fmla="*/ 276870 w 547492"/>
                <a:gd name="connsiteY9" fmla="*/ 19473 h 547027"/>
                <a:gd name="connsiteX10" fmla="*/ 342477 w 547492"/>
                <a:gd name="connsiteY10" fmla="*/ 185830 h 547027"/>
                <a:gd name="connsiteX11" fmla="*/ 529533 w 547492"/>
                <a:gd name="connsiteY11" fmla="*/ 271534 h 547027"/>
                <a:gd name="connsiteX12" fmla="*/ 529010 w 547492"/>
                <a:gd name="connsiteY12" fmla="*/ 308769 h 547027"/>
                <a:gd name="connsiteX13" fmla="*/ 319908 w 547492"/>
                <a:gd name="connsiteY13" fmla="*/ 218161 h 547027"/>
                <a:gd name="connsiteX14" fmla="*/ 241025 w 547492"/>
                <a:gd name="connsiteY14" fmla="*/ 18615 h 547027"/>
                <a:gd name="connsiteX15" fmla="*/ 258593 w 547492"/>
                <a:gd name="connsiteY15" fmla="*/ 83 h 547027"/>
                <a:gd name="connsiteX16" fmla="*/ 18843 w 547492"/>
                <a:gd name="connsiteY16" fmla="*/ 10 h 547027"/>
                <a:gd name="connsiteX17" fmla="*/ 37685 w 547492"/>
                <a:gd name="connsiteY17" fmla="*/ 16302 h 547027"/>
                <a:gd name="connsiteX18" fmla="*/ 164891 w 547492"/>
                <a:gd name="connsiteY18" fmla="*/ 345340 h 547027"/>
                <a:gd name="connsiteX19" fmla="*/ 531167 w 547492"/>
                <a:gd name="connsiteY19" fmla="*/ 510082 h 547027"/>
                <a:gd name="connsiteX20" fmla="*/ 528039 w 547492"/>
                <a:gd name="connsiteY20" fmla="*/ 547022 h 547027"/>
                <a:gd name="connsiteX21" fmla="*/ 139867 w 547492"/>
                <a:gd name="connsiteY21" fmla="*/ 375130 h 547027"/>
                <a:gd name="connsiteX22" fmla="*/ 0 w 547492"/>
                <a:gd name="connsiteY22" fmla="*/ 15557 h 547027"/>
                <a:gd name="connsiteX23" fmla="*/ 18843 w 547492"/>
                <a:gd name="connsiteY23" fmla="*/ 10 h 547027"/>
                <a:gd name="connsiteX24" fmla="*/ 361357 w 547492"/>
                <a:gd name="connsiteY24" fmla="*/ 3 h 547027"/>
                <a:gd name="connsiteX25" fmla="*/ 379427 w 547492"/>
                <a:gd name="connsiteY25" fmla="*/ 22811 h 547027"/>
                <a:gd name="connsiteX26" fmla="*/ 416799 w 547492"/>
                <a:gd name="connsiteY26" fmla="*/ 121134 h 547027"/>
                <a:gd name="connsiteX27" fmla="*/ 530986 w 547492"/>
                <a:gd name="connsiteY27" fmla="*/ 167238 h 547027"/>
                <a:gd name="connsiteX28" fmla="*/ 528863 w 547492"/>
                <a:gd name="connsiteY28" fmla="*/ 205554 h 547027"/>
                <a:gd name="connsiteX29" fmla="*/ 395749 w 547492"/>
                <a:gd name="connsiteY29" fmla="*/ 150171 h 547027"/>
                <a:gd name="connsiteX30" fmla="*/ 342870 w 547492"/>
                <a:gd name="connsiteY30" fmla="*/ 38961 h 547027"/>
                <a:gd name="connsiteX31" fmla="*/ 343296 w 547492"/>
                <a:gd name="connsiteY31" fmla="*/ 21634 h 547027"/>
                <a:gd name="connsiteX32" fmla="*/ 361357 w 547492"/>
                <a:gd name="connsiteY32" fmla="*/ 3 h 547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547492" h="547027">
                  <a:moveTo>
                    <a:pt x="147901" y="159"/>
                  </a:moveTo>
                  <a:cubicBezTo>
                    <a:pt x="156233" y="1247"/>
                    <a:pt x="164417" y="7883"/>
                    <a:pt x="164790" y="17385"/>
                  </a:cubicBezTo>
                  <a:cubicBezTo>
                    <a:pt x="163504" y="123250"/>
                    <a:pt x="210481" y="208637"/>
                    <a:pt x="257543" y="261873"/>
                  </a:cubicBezTo>
                  <a:cubicBezTo>
                    <a:pt x="329801" y="345790"/>
                    <a:pt x="450493" y="385299"/>
                    <a:pt x="531263" y="383096"/>
                  </a:cubicBezTo>
                  <a:cubicBezTo>
                    <a:pt x="554755" y="384136"/>
                    <a:pt x="550415" y="419245"/>
                    <a:pt x="533050" y="419093"/>
                  </a:cubicBezTo>
                  <a:cubicBezTo>
                    <a:pt x="450691" y="419472"/>
                    <a:pt x="338455" y="398909"/>
                    <a:pt x="234902" y="291210"/>
                  </a:cubicBezTo>
                  <a:cubicBezTo>
                    <a:pt x="193363" y="241274"/>
                    <a:pt x="128927" y="167539"/>
                    <a:pt x="130118" y="16219"/>
                  </a:cubicBezTo>
                  <a:cubicBezTo>
                    <a:pt x="131087" y="3530"/>
                    <a:pt x="139569" y="-930"/>
                    <a:pt x="147901" y="159"/>
                  </a:cubicBezTo>
                  <a:close/>
                  <a:moveTo>
                    <a:pt x="258593" y="83"/>
                  </a:moveTo>
                  <a:cubicBezTo>
                    <a:pt x="267391" y="-753"/>
                    <a:pt x="276308" y="4730"/>
                    <a:pt x="276870" y="19473"/>
                  </a:cubicBezTo>
                  <a:cubicBezTo>
                    <a:pt x="277152" y="95057"/>
                    <a:pt x="309784" y="144239"/>
                    <a:pt x="342477" y="185830"/>
                  </a:cubicBezTo>
                  <a:cubicBezTo>
                    <a:pt x="395970" y="243463"/>
                    <a:pt x="472402" y="273156"/>
                    <a:pt x="529533" y="271534"/>
                  </a:cubicBezTo>
                  <a:cubicBezTo>
                    <a:pt x="554491" y="271108"/>
                    <a:pt x="552612" y="307689"/>
                    <a:pt x="529010" y="308769"/>
                  </a:cubicBezTo>
                  <a:cubicBezTo>
                    <a:pt x="463605" y="309049"/>
                    <a:pt x="394346" y="293904"/>
                    <a:pt x="319908" y="218161"/>
                  </a:cubicBezTo>
                  <a:cubicBezTo>
                    <a:pt x="290526" y="181384"/>
                    <a:pt x="240182" y="130058"/>
                    <a:pt x="241025" y="18615"/>
                  </a:cubicBezTo>
                  <a:cubicBezTo>
                    <a:pt x="241115" y="8077"/>
                    <a:pt x="249795" y="920"/>
                    <a:pt x="258593" y="83"/>
                  </a:cubicBezTo>
                  <a:close/>
                  <a:moveTo>
                    <a:pt x="18843" y="10"/>
                  </a:moveTo>
                  <a:cubicBezTo>
                    <a:pt x="28214" y="265"/>
                    <a:pt x="37586" y="5826"/>
                    <a:pt x="37685" y="16302"/>
                  </a:cubicBezTo>
                  <a:cubicBezTo>
                    <a:pt x="35997" y="154729"/>
                    <a:pt x="103125" y="275729"/>
                    <a:pt x="164891" y="345340"/>
                  </a:cubicBezTo>
                  <a:cubicBezTo>
                    <a:pt x="259725" y="455069"/>
                    <a:pt x="425162" y="512962"/>
                    <a:pt x="531167" y="510082"/>
                  </a:cubicBezTo>
                  <a:cubicBezTo>
                    <a:pt x="555744" y="509883"/>
                    <a:pt x="550829" y="547221"/>
                    <a:pt x="528039" y="547022"/>
                  </a:cubicBezTo>
                  <a:cubicBezTo>
                    <a:pt x="419949" y="547519"/>
                    <a:pt x="273429" y="516735"/>
                    <a:pt x="139867" y="375130"/>
                  </a:cubicBezTo>
                  <a:cubicBezTo>
                    <a:pt x="85350" y="312173"/>
                    <a:pt x="0" y="200955"/>
                    <a:pt x="0" y="15557"/>
                  </a:cubicBezTo>
                  <a:cubicBezTo>
                    <a:pt x="99" y="4808"/>
                    <a:pt x="9471" y="-244"/>
                    <a:pt x="18843" y="10"/>
                  </a:cubicBezTo>
                  <a:close/>
                  <a:moveTo>
                    <a:pt x="361357" y="3"/>
                  </a:moveTo>
                  <a:cubicBezTo>
                    <a:pt x="370360" y="-117"/>
                    <a:pt x="379364" y="7170"/>
                    <a:pt x="379427" y="22811"/>
                  </a:cubicBezTo>
                  <a:cubicBezTo>
                    <a:pt x="379608" y="73981"/>
                    <a:pt x="395801" y="92977"/>
                    <a:pt x="416799" y="121134"/>
                  </a:cubicBezTo>
                  <a:cubicBezTo>
                    <a:pt x="452945" y="158363"/>
                    <a:pt x="498462" y="168336"/>
                    <a:pt x="530986" y="167238"/>
                  </a:cubicBezTo>
                  <a:cubicBezTo>
                    <a:pt x="549400" y="166950"/>
                    <a:pt x="557131" y="203036"/>
                    <a:pt x="528863" y="205554"/>
                  </a:cubicBezTo>
                  <a:cubicBezTo>
                    <a:pt x="486854" y="205743"/>
                    <a:pt x="443561" y="201449"/>
                    <a:pt x="395749" y="150171"/>
                  </a:cubicBezTo>
                  <a:cubicBezTo>
                    <a:pt x="351991" y="102452"/>
                    <a:pt x="343809" y="62263"/>
                    <a:pt x="342870" y="38961"/>
                  </a:cubicBezTo>
                  <a:cubicBezTo>
                    <a:pt x="342557" y="31194"/>
                    <a:pt x="343049" y="25303"/>
                    <a:pt x="343296" y="21634"/>
                  </a:cubicBezTo>
                  <a:cubicBezTo>
                    <a:pt x="343354" y="7649"/>
                    <a:pt x="352355" y="122"/>
                    <a:pt x="361357" y="3"/>
                  </a:cubicBezTo>
                  <a:close/>
                </a:path>
              </a:pathLst>
            </a:custGeom>
            <a:solidFill>
              <a:srgbClr val="0072C6"/>
            </a:solidFill>
            <a:ln w="25400" cap="flat" cmpd="sng" algn="ctr">
              <a:noFill/>
              <a:prstDash val="solid"/>
            </a:ln>
            <a:effectLst/>
          </p:spPr>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32316"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smtClean="0">
                <a:ln>
                  <a:noFill/>
                </a:ln>
                <a:solidFill>
                  <a:srgbClr val="FFFFFF"/>
                </a:solidFill>
                <a:effectLst/>
                <a:uLnTx/>
                <a:uFillTx/>
                <a:latin typeface="Segoe UI"/>
                <a:ea typeface="+mn-ea"/>
                <a:cs typeface="+mn-cs"/>
              </a:endParaRPr>
            </a:p>
          </p:txBody>
        </p:sp>
        <p:sp>
          <p:nvSpPr>
            <p:cNvPr id="21" name="Freeform 9"/>
            <p:cNvSpPr>
              <a:spLocks/>
            </p:cNvSpPr>
            <p:nvPr/>
          </p:nvSpPr>
          <p:spPr bwMode="auto">
            <a:xfrm>
              <a:off x="11050966" y="4921038"/>
              <a:ext cx="560388" cy="557213"/>
            </a:xfrm>
            <a:custGeom>
              <a:avLst/>
              <a:gdLst>
                <a:gd name="T0" fmla="*/ 353 w 353"/>
                <a:gd name="T1" fmla="*/ 163 h 351"/>
                <a:gd name="T2" fmla="*/ 163 w 353"/>
                <a:gd name="T3" fmla="*/ 351 h 351"/>
                <a:gd name="T4" fmla="*/ 0 w 353"/>
                <a:gd name="T5" fmla="*/ 190 h 351"/>
                <a:gd name="T6" fmla="*/ 189 w 353"/>
                <a:gd name="T7" fmla="*/ 0 h 351"/>
                <a:gd name="T8" fmla="*/ 353 w 353"/>
                <a:gd name="T9" fmla="*/ 163 h 351"/>
              </a:gdLst>
              <a:ahLst/>
              <a:cxnLst>
                <a:cxn ang="0">
                  <a:pos x="T0" y="T1"/>
                </a:cxn>
                <a:cxn ang="0">
                  <a:pos x="T2" y="T3"/>
                </a:cxn>
                <a:cxn ang="0">
                  <a:pos x="T4" y="T5"/>
                </a:cxn>
                <a:cxn ang="0">
                  <a:pos x="T6" y="T7"/>
                </a:cxn>
                <a:cxn ang="0">
                  <a:pos x="T8" y="T9"/>
                </a:cxn>
              </a:cxnLst>
              <a:rect l="0" t="0" r="r" b="b"/>
              <a:pathLst>
                <a:path w="353" h="351">
                  <a:moveTo>
                    <a:pt x="353" y="163"/>
                  </a:moveTo>
                  <a:lnTo>
                    <a:pt x="163" y="351"/>
                  </a:lnTo>
                  <a:lnTo>
                    <a:pt x="0" y="190"/>
                  </a:lnTo>
                  <a:lnTo>
                    <a:pt x="189" y="0"/>
                  </a:lnTo>
                  <a:lnTo>
                    <a:pt x="353" y="163"/>
                  </a:lnTo>
                  <a:close/>
                </a:path>
              </a:pathLst>
            </a:custGeom>
            <a:solidFill>
              <a:srgbClr val="AD008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316"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35" name="Freeform 117"/>
            <p:cNvSpPr>
              <a:spLocks/>
            </p:cNvSpPr>
            <p:nvPr/>
          </p:nvSpPr>
          <p:spPr bwMode="auto">
            <a:xfrm>
              <a:off x="7297923" y="130232"/>
              <a:ext cx="1658414" cy="1034920"/>
            </a:xfrm>
            <a:custGeom>
              <a:avLst/>
              <a:gdLst>
                <a:gd name="T0" fmla="*/ 63 w 75"/>
                <a:gd name="T1" fmla="*/ 21 h 49"/>
                <a:gd name="T2" fmla="*/ 63 w 75"/>
                <a:gd name="T3" fmla="*/ 20 h 49"/>
                <a:gd name="T4" fmla="*/ 42 w 75"/>
                <a:gd name="T5" fmla="*/ 0 h 49"/>
                <a:gd name="T6" fmla="*/ 25 w 75"/>
                <a:gd name="T7" fmla="*/ 9 h 49"/>
                <a:gd name="T8" fmla="*/ 19 w 75"/>
                <a:gd name="T9" fmla="*/ 7 h 49"/>
                <a:gd name="T10" fmla="*/ 13 w 75"/>
                <a:gd name="T11" fmla="*/ 9 h 49"/>
                <a:gd name="T12" fmla="*/ 7 w 75"/>
                <a:gd name="T13" fmla="*/ 19 h 49"/>
                <a:gd name="T14" fmla="*/ 0 w 75"/>
                <a:gd name="T15" fmla="*/ 33 h 49"/>
                <a:gd name="T16" fmla="*/ 14 w 75"/>
                <a:gd name="T17" fmla="*/ 49 h 49"/>
                <a:gd name="T18" fmla="*/ 16 w 75"/>
                <a:gd name="T19" fmla="*/ 49 h 49"/>
                <a:gd name="T20" fmla="*/ 18 w 75"/>
                <a:gd name="T21" fmla="*/ 49 h 49"/>
                <a:gd name="T22" fmla="*/ 51 w 75"/>
                <a:gd name="T23" fmla="*/ 49 h 49"/>
                <a:gd name="T24" fmla="*/ 52 w 75"/>
                <a:gd name="T25" fmla="*/ 49 h 49"/>
                <a:gd name="T26" fmla="*/ 53 w 75"/>
                <a:gd name="T27" fmla="*/ 49 h 49"/>
                <a:gd name="T28" fmla="*/ 55 w 75"/>
                <a:gd name="T29" fmla="*/ 49 h 49"/>
                <a:gd name="T30" fmla="*/ 61 w 75"/>
                <a:gd name="T31" fmla="*/ 49 h 49"/>
                <a:gd name="T32" fmla="*/ 75 w 75"/>
                <a:gd name="T33" fmla="*/ 35 h 49"/>
                <a:gd name="T34" fmla="*/ 63 w 75"/>
                <a:gd name="T35" fmla="*/ 2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 h="49">
                  <a:moveTo>
                    <a:pt x="63" y="21"/>
                  </a:moveTo>
                  <a:cubicBezTo>
                    <a:pt x="63" y="21"/>
                    <a:pt x="63" y="21"/>
                    <a:pt x="63" y="20"/>
                  </a:cubicBezTo>
                  <a:cubicBezTo>
                    <a:pt x="63" y="9"/>
                    <a:pt x="54" y="0"/>
                    <a:pt x="42" y="0"/>
                  </a:cubicBezTo>
                  <a:cubicBezTo>
                    <a:pt x="35" y="0"/>
                    <a:pt x="29" y="3"/>
                    <a:pt x="25" y="9"/>
                  </a:cubicBezTo>
                  <a:cubicBezTo>
                    <a:pt x="23" y="8"/>
                    <a:pt x="21" y="7"/>
                    <a:pt x="19" y="7"/>
                  </a:cubicBezTo>
                  <a:cubicBezTo>
                    <a:pt x="17" y="7"/>
                    <a:pt x="15" y="8"/>
                    <a:pt x="13" y="9"/>
                  </a:cubicBezTo>
                  <a:cubicBezTo>
                    <a:pt x="9" y="12"/>
                    <a:pt x="7" y="15"/>
                    <a:pt x="7" y="19"/>
                  </a:cubicBezTo>
                  <a:cubicBezTo>
                    <a:pt x="3" y="22"/>
                    <a:pt x="0" y="27"/>
                    <a:pt x="0" y="33"/>
                  </a:cubicBezTo>
                  <a:cubicBezTo>
                    <a:pt x="0" y="41"/>
                    <a:pt x="6" y="48"/>
                    <a:pt x="14" y="49"/>
                  </a:cubicBezTo>
                  <a:cubicBezTo>
                    <a:pt x="15" y="49"/>
                    <a:pt x="16" y="49"/>
                    <a:pt x="16" y="49"/>
                  </a:cubicBezTo>
                  <a:cubicBezTo>
                    <a:pt x="17" y="49"/>
                    <a:pt x="17" y="49"/>
                    <a:pt x="18" y="49"/>
                  </a:cubicBezTo>
                  <a:cubicBezTo>
                    <a:pt x="25" y="49"/>
                    <a:pt x="43" y="49"/>
                    <a:pt x="51" y="49"/>
                  </a:cubicBezTo>
                  <a:cubicBezTo>
                    <a:pt x="52" y="49"/>
                    <a:pt x="52" y="49"/>
                    <a:pt x="52" y="49"/>
                  </a:cubicBezTo>
                  <a:cubicBezTo>
                    <a:pt x="53" y="49"/>
                    <a:pt x="53" y="49"/>
                    <a:pt x="53" y="49"/>
                  </a:cubicBezTo>
                  <a:cubicBezTo>
                    <a:pt x="53" y="49"/>
                    <a:pt x="55" y="49"/>
                    <a:pt x="55" y="49"/>
                  </a:cubicBezTo>
                  <a:cubicBezTo>
                    <a:pt x="61" y="49"/>
                    <a:pt x="61" y="49"/>
                    <a:pt x="61" y="49"/>
                  </a:cubicBezTo>
                  <a:cubicBezTo>
                    <a:pt x="69" y="49"/>
                    <a:pt x="75" y="43"/>
                    <a:pt x="75" y="35"/>
                  </a:cubicBezTo>
                  <a:cubicBezTo>
                    <a:pt x="75" y="28"/>
                    <a:pt x="69" y="22"/>
                    <a:pt x="63" y="21"/>
                  </a:cubicBezTo>
                  <a:close/>
                </a:path>
              </a:pathLst>
            </a:custGeom>
            <a:solidFill>
              <a:srgbClr val="FFFFFF">
                <a:lumMod val="85000"/>
                <a:alpha val="79000"/>
              </a:srgbClr>
            </a:solidFill>
            <a:ln>
              <a:noFill/>
            </a:ln>
            <a:extLst/>
          </p:spPr>
          <p:txBody>
            <a:bodyPr vert="horz" wrap="square" lIns="91440" tIns="45720" rIns="91440" bIns="45720" numCol="1" anchor="t" anchorCtr="0" compatLnSpc="1">
              <a:prstTxWarp prst="textNoShape">
                <a:avLst/>
              </a:prstTxWarp>
            </a:bodyPr>
            <a:lstStyle/>
            <a:p>
              <a:pPr marL="0" marR="0" lvl="0" indent="0" defTabSz="932316"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pic>
          <p:nvPicPr>
            <p:cNvPr id="32" name="Picture 31"/>
            <p:cNvPicPr>
              <a:picLocks noChangeAspect="1"/>
            </p:cNvPicPr>
            <p:nvPr/>
          </p:nvPicPr>
          <p:blipFill>
            <a:blip r:embed="rId3"/>
            <a:stretch>
              <a:fillRect/>
            </a:stretch>
          </p:blipFill>
          <p:spPr>
            <a:xfrm>
              <a:off x="6142958" y="32616"/>
              <a:ext cx="2455627" cy="2455627"/>
            </a:xfrm>
            <a:prstGeom prst="rect">
              <a:avLst/>
            </a:prstGeom>
          </p:spPr>
        </p:pic>
      </p:grpSp>
      <p:sp>
        <p:nvSpPr>
          <p:cNvPr id="2" name="Rectangle 1"/>
          <p:cNvSpPr/>
          <p:nvPr/>
        </p:nvSpPr>
        <p:spPr bwMode="auto">
          <a:xfrm>
            <a:off x="8642948" y="2423843"/>
            <a:ext cx="2914106" cy="1544058"/>
          </a:xfrm>
          <a:prstGeom prst="rect">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50" name="Picture 49"/>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8732244" y="2133996"/>
            <a:ext cx="2828455" cy="1650424"/>
          </a:xfrm>
          <a:prstGeom prst="rect">
            <a:avLst/>
          </a:prstGeom>
          <a:effectLst/>
        </p:spPr>
      </p:pic>
      <p:pic>
        <p:nvPicPr>
          <p:cNvPr id="51" name="Picture 50"/>
          <p:cNvPicPr>
            <a:picLocks noChangeAspect="1"/>
          </p:cNvPicPr>
          <p:nvPr/>
        </p:nvPicPr>
        <p:blipFill rotWithShape="1">
          <a:blip r:embed="rId5" cstate="screen">
            <a:extLst>
              <a:ext uri="{28A0092B-C50C-407E-A947-70E740481C1C}">
                <a14:useLocalDpi xmlns:a14="http://schemas.microsoft.com/office/drawing/2010/main" val="0"/>
              </a:ext>
            </a:extLst>
          </a:blip>
          <a:srcRect/>
          <a:stretch/>
        </p:blipFill>
        <p:spPr>
          <a:xfrm>
            <a:off x="5720739" y="3143689"/>
            <a:ext cx="2006904" cy="1211312"/>
          </a:xfrm>
          <a:prstGeom prst="rect">
            <a:avLst/>
          </a:prstGeom>
          <a:ln>
            <a:noFill/>
          </a:ln>
          <a:effectLst/>
        </p:spPr>
      </p:pic>
    </p:spTree>
    <p:extLst>
      <p:ext uri="{BB962C8B-B14F-4D97-AF65-F5344CB8AC3E}">
        <p14:creationId xmlns:p14="http://schemas.microsoft.com/office/powerpoint/2010/main" val="2222320292"/>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4" name="Rectangle 3"/>
          <p:cNvSpPr/>
          <p:nvPr/>
        </p:nvSpPr>
        <p:spPr bwMode="auto">
          <a:xfrm>
            <a:off x="-14068" y="3266437"/>
            <a:ext cx="12221943" cy="3607536"/>
          </a:xfrm>
          <a:prstGeom prst="rect">
            <a:avLst/>
          </a:prstGeom>
          <a:gradFill>
            <a:gsLst>
              <a:gs pos="0">
                <a:srgbClr val="000000">
                  <a:alpha val="0"/>
                </a:srgbClr>
              </a:gs>
              <a:gs pos="100000">
                <a:srgbClr val="000000">
                  <a:alpha val="66667"/>
                </a:srgbClr>
              </a:gs>
            </a:gsLst>
            <a:lin ang="5400000" scaled="0"/>
          </a:gra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Title 4"/>
          <p:cNvSpPr txBox="1">
            <a:spLocks/>
          </p:cNvSpPr>
          <p:nvPr/>
        </p:nvSpPr>
        <p:spPr>
          <a:xfrm>
            <a:off x="476641" y="5445383"/>
            <a:ext cx="11149013" cy="1218795"/>
          </a:xfrm>
          <a:prstGeom prst="rect">
            <a:avLst/>
          </a:prstGeom>
        </p:spPr>
        <p:txBody>
          <a:bodyPr vert="horz" wrap="square" lIns="0" tIns="0" rIns="0" bIns="0" rtlCol="0" anchor="b" anchorCtr="0">
            <a:noAutofit/>
          </a:bodyPr>
          <a:lstStyle>
            <a:lvl1pPr algn="l" defTabSz="912078" rtl="0" eaLnBrk="1" latinLnBrk="0" hangingPunct="1">
              <a:lnSpc>
                <a:spcPct val="90000"/>
              </a:lnSpc>
              <a:spcBef>
                <a:spcPct val="0"/>
              </a:spcBef>
              <a:buNone/>
              <a:defRPr lang="en-US" sz="7200" b="0" kern="1200" cap="none" spc="-299" baseline="0">
                <a:ln w="3175">
                  <a:noFill/>
                </a:ln>
                <a:gradFill>
                  <a:gsLst>
                    <a:gs pos="100000">
                      <a:schemeClr val="bg1"/>
                    </a:gs>
                    <a:gs pos="0">
                      <a:schemeClr val="bg1"/>
                    </a:gs>
                  </a:gsLst>
                  <a:lin ang="5400000" scaled="0"/>
                </a:gradFill>
                <a:effectLst/>
                <a:latin typeface="+mj-lt"/>
                <a:ea typeface="+mn-ea"/>
                <a:cs typeface="Arial" charset="0"/>
              </a:defRPr>
            </a:lvl1pPr>
          </a:lstStyle>
          <a:p>
            <a:r>
              <a:rPr lang="en-US" smtClean="0"/>
              <a:t>Demo</a:t>
            </a:r>
            <a:endParaRPr lang="en-US" dirty="0"/>
          </a:p>
        </p:txBody>
      </p:sp>
      <p:sp>
        <p:nvSpPr>
          <p:cNvPr id="6" name="Rectangle 5"/>
          <p:cNvSpPr/>
          <p:nvPr/>
        </p:nvSpPr>
        <p:spPr>
          <a:xfrm>
            <a:off x="-14068" y="0"/>
            <a:ext cx="12202893" cy="6994525"/>
          </a:xfrm>
          <a:prstGeom prst="rect">
            <a:avLst/>
          </a:prstGeom>
          <a:solidFill>
            <a:srgbClr val="45ACC8"/>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nvGrpSpPr>
          <p:cNvPr id="7" name="Group 93"/>
          <p:cNvGrpSpPr>
            <a:grpSpLocks noChangeAspect="1"/>
          </p:cNvGrpSpPr>
          <p:nvPr/>
        </p:nvGrpSpPr>
        <p:grpSpPr bwMode="auto">
          <a:xfrm>
            <a:off x="2979565" y="1504950"/>
            <a:ext cx="8831263" cy="5498240"/>
            <a:chOff x="-170" y="844"/>
            <a:chExt cx="5563" cy="3564"/>
          </a:xfrm>
        </p:grpSpPr>
        <p:sp>
          <p:nvSpPr>
            <p:cNvPr id="8" name="AutoShape 92"/>
            <p:cNvSpPr>
              <a:spLocks noChangeAspect="1" noChangeArrowheads="1" noTextEdit="1"/>
            </p:cNvSpPr>
            <p:nvPr/>
          </p:nvSpPr>
          <p:spPr bwMode="auto">
            <a:xfrm>
              <a:off x="-6" y="844"/>
              <a:ext cx="5208" cy="355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94"/>
            <p:cNvSpPr>
              <a:spLocks/>
            </p:cNvSpPr>
            <p:nvPr/>
          </p:nvSpPr>
          <p:spPr bwMode="auto">
            <a:xfrm>
              <a:off x="3911" y="2450"/>
              <a:ext cx="1482" cy="1958"/>
            </a:xfrm>
            <a:custGeom>
              <a:avLst/>
              <a:gdLst>
                <a:gd name="T0" fmla="*/ 2284 w 2284"/>
                <a:gd name="T1" fmla="*/ 3017 h 3017"/>
                <a:gd name="T2" fmla="*/ 2284 w 2284"/>
                <a:gd name="T3" fmla="*/ 3017 h 3017"/>
                <a:gd name="T4" fmla="*/ 1719 w 2284"/>
                <a:gd name="T5" fmla="*/ 1894 h 3017"/>
                <a:gd name="T6" fmla="*/ 1793 w 2284"/>
                <a:gd name="T7" fmla="*/ 1469 h 3017"/>
                <a:gd name="T8" fmla="*/ 1793 w 2284"/>
                <a:gd name="T9" fmla="*/ 960 h 3017"/>
                <a:gd name="T10" fmla="*/ 961 w 2284"/>
                <a:gd name="T11" fmla="*/ 0 h 3017"/>
                <a:gd name="T12" fmla="*/ 0 w 2284"/>
                <a:gd name="T13" fmla="*/ 960 h 3017"/>
                <a:gd name="T14" fmla="*/ 0 w 2284"/>
                <a:gd name="T15" fmla="*/ 1469 h 3017"/>
                <a:gd name="T16" fmla="*/ 540 w 2284"/>
                <a:gd name="T17" fmla="*/ 2332 h 3017"/>
                <a:gd name="T18" fmla="*/ 735 w 2284"/>
                <a:gd name="T19" fmla="*/ 3017 h 3017"/>
                <a:gd name="T20" fmla="*/ 2284 w 2284"/>
                <a:gd name="T21" fmla="*/ 3017 h 3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84" h="3017">
                  <a:moveTo>
                    <a:pt x="2284" y="3017"/>
                  </a:moveTo>
                  <a:lnTo>
                    <a:pt x="2284" y="3017"/>
                  </a:lnTo>
                  <a:lnTo>
                    <a:pt x="1719" y="1894"/>
                  </a:lnTo>
                  <a:cubicBezTo>
                    <a:pt x="1767" y="1766"/>
                    <a:pt x="1793" y="1622"/>
                    <a:pt x="1793" y="1469"/>
                  </a:cubicBezTo>
                  <a:lnTo>
                    <a:pt x="1793" y="960"/>
                  </a:lnTo>
                  <a:cubicBezTo>
                    <a:pt x="1793" y="429"/>
                    <a:pt x="1491" y="0"/>
                    <a:pt x="961" y="0"/>
                  </a:cubicBezTo>
                  <a:cubicBezTo>
                    <a:pt x="430" y="0"/>
                    <a:pt x="0" y="429"/>
                    <a:pt x="0" y="960"/>
                  </a:cubicBezTo>
                  <a:lnTo>
                    <a:pt x="0" y="1469"/>
                  </a:lnTo>
                  <a:cubicBezTo>
                    <a:pt x="0" y="1849"/>
                    <a:pt x="220" y="2176"/>
                    <a:pt x="540" y="2332"/>
                  </a:cubicBezTo>
                  <a:lnTo>
                    <a:pt x="735" y="3017"/>
                  </a:lnTo>
                  <a:lnTo>
                    <a:pt x="2284" y="3017"/>
                  </a:lnTo>
                  <a:close/>
                </a:path>
              </a:pathLst>
            </a:custGeom>
            <a:solidFill>
              <a:srgbClr val="E5B5A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 name="Freeform 95"/>
            <p:cNvSpPr>
              <a:spLocks/>
            </p:cNvSpPr>
            <p:nvPr/>
          </p:nvSpPr>
          <p:spPr bwMode="auto">
            <a:xfrm>
              <a:off x="3931" y="3560"/>
              <a:ext cx="431" cy="276"/>
            </a:xfrm>
            <a:custGeom>
              <a:avLst/>
              <a:gdLst>
                <a:gd name="T0" fmla="*/ 239 w 664"/>
                <a:gd name="T1" fmla="*/ 425 h 425"/>
                <a:gd name="T2" fmla="*/ 239 w 664"/>
                <a:gd name="T3" fmla="*/ 425 h 425"/>
                <a:gd name="T4" fmla="*/ 664 w 664"/>
                <a:gd name="T5" fmla="*/ 0 h 425"/>
                <a:gd name="T6" fmla="*/ 0 w 664"/>
                <a:gd name="T7" fmla="*/ 0 h 425"/>
                <a:gd name="T8" fmla="*/ 239 w 664"/>
                <a:gd name="T9" fmla="*/ 425 h 425"/>
              </a:gdLst>
              <a:ahLst/>
              <a:cxnLst>
                <a:cxn ang="0">
                  <a:pos x="T0" y="T1"/>
                </a:cxn>
                <a:cxn ang="0">
                  <a:pos x="T2" y="T3"/>
                </a:cxn>
                <a:cxn ang="0">
                  <a:pos x="T4" y="T5"/>
                </a:cxn>
                <a:cxn ang="0">
                  <a:pos x="T6" y="T7"/>
                </a:cxn>
                <a:cxn ang="0">
                  <a:pos x="T8" y="T9"/>
                </a:cxn>
              </a:cxnLst>
              <a:rect l="0" t="0" r="r" b="b"/>
              <a:pathLst>
                <a:path w="664" h="425">
                  <a:moveTo>
                    <a:pt x="239" y="425"/>
                  </a:moveTo>
                  <a:lnTo>
                    <a:pt x="239" y="425"/>
                  </a:lnTo>
                  <a:lnTo>
                    <a:pt x="664" y="0"/>
                  </a:lnTo>
                  <a:lnTo>
                    <a:pt x="0" y="0"/>
                  </a:lnTo>
                  <a:cubicBezTo>
                    <a:pt x="42" y="162"/>
                    <a:pt x="126" y="308"/>
                    <a:pt x="239" y="425"/>
                  </a:cubicBezTo>
                  <a:close/>
                </a:path>
              </a:pathLst>
            </a:custGeom>
            <a:solidFill>
              <a:srgbClr val="CC867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Freeform 96"/>
            <p:cNvSpPr>
              <a:spLocks/>
            </p:cNvSpPr>
            <p:nvPr/>
          </p:nvSpPr>
          <p:spPr bwMode="auto">
            <a:xfrm>
              <a:off x="-170" y="2450"/>
              <a:ext cx="1481" cy="1958"/>
            </a:xfrm>
            <a:custGeom>
              <a:avLst/>
              <a:gdLst>
                <a:gd name="T0" fmla="*/ 0 w 2283"/>
                <a:gd name="T1" fmla="*/ 3017 h 3017"/>
                <a:gd name="T2" fmla="*/ 0 w 2283"/>
                <a:gd name="T3" fmla="*/ 3017 h 3017"/>
                <a:gd name="T4" fmla="*/ 564 w 2283"/>
                <a:gd name="T5" fmla="*/ 1894 h 3017"/>
                <a:gd name="T6" fmla="*/ 491 w 2283"/>
                <a:gd name="T7" fmla="*/ 1469 h 3017"/>
                <a:gd name="T8" fmla="*/ 491 w 2283"/>
                <a:gd name="T9" fmla="*/ 960 h 3017"/>
                <a:gd name="T10" fmla="*/ 1323 w 2283"/>
                <a:gd name="T11" fmla="*/ 0 h 3017"/>
                <a:gd name="T12" fmla="*/ 2283 w 2283"/>
                <a:gd name="T13" fmla="*/ 960 h 3017"/>
                <a:gd name="T14" fmla="*/ 2283 w 2283"/>
                <a:gd name="T15" fmla="*/ 1469 h 3017"/>
                <a:gd name="T16" fmla="*/ 1744 w 2283"/>
                <a:gd name="T17" fmla="*/ 2332 h 3017"/>
                <a:gd name="T18" fmla="*/ 1548 w 2283"/>
                <a:gd name="T19" fmla="*/ 3017 h 3017"/>
                <a:gd name="T20" fmla="*/ 0 w 2283"/>
                <a:gd name="T21" fmla="*/ 3017 h 3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83" h="3017">
                  <a:moveTo>
                    <a:pt x="0" y="3017"/>
                  </a:moveTo>
                  <a:lnTo>
                    <a:pt x="0" y="3017"/>
                  </a:lnTo>
                  <a:lnTo>
                    <a:pt x="564" y="1894"/>
                  </a:lnTo>
                  <a:cubicBezTo>
                    <a:pt x="516" y="1766"/>
                    <a:pt x="491" y="1622"/>
                    <a:pt x="491" y="1469"/>
                  </a:cubicBezTo>
                  <a:lnTo>
                    <a:pt x="491" y="960"/>
                  </a:lnTo>
                  <a:cubicBezTo>
                    <a:pt x="491" y="429"/>
                    <a:pt x="792" y="0"/>
                    <a:pt x="1323" y="0"/>
                  </a:cubicBezTo>
                  <a:cubicBezTo>
                    <a:pt x="1853" y="0"/>
                    <a:pt x="2283" y="429"/>
                    <a:pt x="2283" y="960"/>
                  </a:cubicBezTo>
                  <a:lnTo>
                    <a:pt x="2283" y="1469"/>
                  </a:lnTo>
                  <a:cubicBezTo>
                    <a:pt x="2283" y="1849"/>
                    <a:pt x="2063" y="2176"/>
                    <a:pt x="1744" y="2332"/>
                  </a:cubicBezTo>
                  <a:lnTo>
                    <a:pt x="1548" y="3017"/>
                  </a:lnTo>
                  <a:lnTo>
                    <a:pt x="0" y="3017"/>
                  </a:lnTo>
                  <a:close/>
                </a:path>
              </a:pathLst>
            </a:custGeom>
            <a:solidFill>
              <a:srgbClr val="E5B5A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Freeform 97"/>
            <p:cNvSpPr>
              <a:spLocks/>
            </p:cNvSpPr>
            <p:nvPr/>
          </p:nvSpPr>
          <p:spPr bwMode="auto">
            <a:xfrm>
              <a:off x="381" y="853"/>
              <a:ext cx="4368" cy="2712"/>
            </a:xfrm>
            <a:custGeom>
              <a:avLst/>
              <a:gdLst>
                <a:gd name="T0" fmla="*/ 6734 w 6734"/>
                <a:gd name="T1" fmla="*/ 4079 h 4176"/>
                <a:gd name="T2" fmla="*/ 6734 w 6734"/>
                <a:gd name="T3" fmla="*/ 4079 h 4176"/>
                <a:gd name="T4" fmla="*/ 6638 w 6734"/>
                <a:gd name="T5" fmla="*/ 4176 h 4176"/>
                <a:gd name="T6" fmla="*/ 97 w 6734"/>
                <a:gd name="T7" fmla="*/ 4176 h 4176"/>
                <a:gd name="T8" fmla="*/ 0 w 6734"/>
                <a:gd name="T9" fmla="*/ 4079 h 4176"/>
                <a:gd name="T10" fmla="*/ 0 w 6734"/>
                <a:gd name="T11" fmla="*/ 95 h 4176"/>
                <a:gd name="T12" fmla="*/ 97 w 6734"/>
                <a:gd name="T13" fmla="*/ 0 h 4176"/>
                <a:gd name="T14" fmla="*/ 6638 w 6734"/>
                <a:gd name="T15" fmla="*/ 0 h 4176"/>
                <a:gd name="T16" fmla="*/ 6734 w 6734"/>
                <a:gd name="T17" fmla="*/ 95 h 4176"/>
                <a:gd name="T18" fmla="*/ 6734 w 6734"/>
                <a:gd name="T19" fmla="*/ 4079 h 4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34" h="4176">
                  <a:moveTo>
                    <a:pt x="6734" y="4079"/>
                  </a:moveTo>
                  <a:lnTo>
                    <a:pt x="6734" y="4079"/>
                  </a:lnTo>
                  <a:cubicBezTo>
                    <a:pt x="6734" y="4132"/>
                    <a:pt x="6691" y="4176"/>
                    <a:pt x="6638" y="4176"/>
                  </a:cubicBezTo>
                  <a:lnTo>
                    <a:pt x="97" y="4176"/>
                  </a:lnTo>
                  <a:cubicBezTo>
                    <a:pt x="43" y="4176"/>
                    <a:pt x="0" y="4132"/>
                    <a:pt x="0" y="4079"/>
                  </a:cubicBezTo>
                  <a:lnTo>
                    <a:pt x="0" y="95"/>
                  </a:lnTo>
                  <a:cubicBezTo>
                    <a:pt x="0" y="42"/>
                    <a:pt x="43" y="0"/>
                    <a:pt x="97" y="0"/>
                  </a:cubicBezTo>
                  <a:lnTo>
                    <a:pt x="6638" y="0"/>
                  </a:lnTo>
                  <a:cubicBezTo>
                    <a:pt x="6691" y="0"/>
                    <a:pt x="6734" y="42"/>
                    <a:pt x="6734" y="95"/>
                  </a:cubicBezTo>
                  <a:lnTo>
                    <a:pt x="6734" y="4079"/>
                  </a:lnTo>
                  <a:close/>
                </a:path>
              </a:pathLst>
            </a:custGeom>
            <a:solidFill>
              <a:srgbClr val="63636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98"/>
            <p:cNvSpPr>
              <a:spLocks/>
            </p:cNvSpPr>
            <p:nvPr/>
          </p:nvSpPr>
          <p:spPr bwMode="auto">
            <a:xfrm>
              <a:off x="720" y="1166"/>
              <a:ext cx="3691" cy="2038"/>
            </a:xfrm>
            <a:custGeom>
              <a:avLst/>
              <a:gdLst>
                <a:gd name="T0" fmla="*/ 5691 w 5691"/>
                <a:gd name="T1" fmla="*/ 3057 h 3139"/>
                <a:gd name="T2" fmla="*/ 5691 w 5691"/>
                <a:gd name="T3" fmla="*/ 3057 h 3139"/>
                <a:gd name="T4" fmla="*/ 5609 w 5691"/>
                <a:gd name="T5" fmla="*/ 3139 h 3139"/>
                <a:gd name="T6" fmla="*/ 81 w 5691"/>
                <a:gd name="T7" fmla="*/ 3139 h 3139"/>
                <a:gd name="T8" fmla="*/ 0 w 5691"/>
                <a:gd name="T9" fmla="*/ 3057 h 3139"/>
                <a:gd name="T10" fmla="*/ 0 w 5691"/>
                <a:gd name="T11" fmla="*/ 82 h 3139"/>
                <a:gd name="T12" fmla="*/ 81 w 5691"/>
                <a:gd name="T13" fmla="*/ 0 h 3139"/>
                <a:gd name="T14" fmla="*/ 5609 w 5691"/>
                <a:gd name="T15" fmla="*/ 0 h 3139"/>
                <a:gd name="T16" fmla="*/ 5691 w 5691"/>
                <a:gd name="T17" fmla="*/ 82 h 3139"/>
                <a:gd name="T18" fmla="*/ 5691 w 5691"/>
                <a:gd name="T19" fmla="*/ 3057 h 3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91" h="3139">
                  <a:moveTo>
                    <a:pt x="5691" y="3057"/>
                  </a:moveTo>
                  <a:lnTo>
                    <a:pt x="5691" y="3057"/>
                  </a:lnTo>
                  <a:cubicBezTo>
                    <a:pt x="5691" y="3102"/>
                    <a:pt x="5654" y="3139"/>
                    <a:pt x="5609" y="3139"/>
                  </a:cubicBezTo>
                  <a:lnTo>
                    <a:pt x="81" y="3139"/>
                  </a:lnTo>
                  <a:cubicBezTo>
                    <a:pt x="36" y="3139"/>
                    <a:pt x="0" y="3102"/>
                    <a:pt x="0" y="3057"/>
                  </a:cubicBezTo>
                  <a:lnTo>
                    <a:pt x="0" y="82"/>
                  </a:lnTo>
                  <a:cubicBezTo>
                    <a:pt x="0" y="37"/>
                    <a:pt x="36" y="0"/>
                    <a:pt x="81" y="0"/>
                  </a:cubicBezTo>
                  <a:lnTo>
                    <a:pt x="5609" y="0"/>
                  </a:lnTo>
                  <a:cubicBezTo>
                    <a:pt x="5654" y="0"/>
                    <a:pt x="5691" y="37"/>
                    <a:pt x="5691" y="82"/>
                  </a:cubicBezTo>
                  <a:lnTo>
                    <a:pt x="5691" y="3057"/>
                  </a:lnTo>
                  <a:close/>
                </a:path>
              </a:pathLst>
            </a:custGeom>
            <a:solidFill>
              <a:srgbClr val="D2D2D2"/>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118"/>
            <p:cNvSpPr>
              <a:spLocks/>
            </p:cNvSpPr>
            <p:nvPr/>
          </p:nvSpPr>
          <p:spPr bwMode="auto">
            <a:xfrm>
              <a:off x="148" y="2415"/>
              <a:ext cx="315" cy="783"/>
            </a:xfrm>
            <a:custGeom>
              <a:avLst/>
              <a:gdLst>
                <a:gd name="T0" fmla="*/ 0 w 485"/>
                <a:gd name="T1" fmla="*/ 911 h 1207"/>
                <a:gd name="T2" fmla="*/ 0 w 485"/>
                <a:gd name="T3" fmla="*/ 911 h 1207"/>
                <a:gd name="T4" fmla="*/ 243 w 485"/>
                <a:gd name="T5" fmla="*/ 1153 h 1207"/>
                <a:gd name="T6" fmla="*/ 485 w 485"/>
                <a:gd name="T7" fmla="*/ 1073 h 1207"/>
                <a:gd name="T8" fmla="*/ 485 w 485"/>
                <a:gd name="T9" fmla="*/ 134 h 1207"/>
                <a:gd name="T10" fmla="*/ 243 w 485"/>
                <a:gd name="T11" fmla="*/ 54 h 1207"/>
                <a:gd name="T12" fmla="*/ 0 w 485"/>
                <a:gd name="T13" fmla="*/ 296 h 1207"/>
                <a:gd name="T14" fmla="*/ 0 w 485"/>
                <a:gd name="T15" fmla="*/ 911 h 120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5" h="1207">
                  <a:moveTo>
                    <a:pt x="0" y="911"/>
                  </a:moveTo>
                  <a:lnTo>
                    <a:pt x="0" y="911"/>
                  </a:lnTo>
                  <a:cubicBezTo>
                    <a:pt x="0" y="1045"/>
                    <a:pt x="108" y="1153"/>
                    <a:pt x="243" y="1153"/>
                  </a:cubicBezTo>
                  <a:cubicBezTo>
                    <a:pt x="377" y="1153"/>
                    <a:pt x="485" y="1207"/>
                    <a:pt x="485" y="1073"/>
                  </a:cubicBezTo>
                  <a:lnTo>
                    <a:pt x="485" y="134"/>
                  </a:lnTo>
                  <a:cubicBezTo>
                    <a:pt x="485" y="0"/>
                    <a:pt x="377" y="54"/>
                    <a:pt x="243" y="54"/>
                  </a:cubicBezTo>
                  <a:cubicBezTo>
                    <a:pt x="108" y="54"/>
                    <a:pt x="0" y="162"/>
                    <a:pt x="0" y="296"/>
                  </a:cubicBezTo>
                  <a:lnTo>
                    <a:pt x="0" y="911"/>
                  </a:lnTo>
                  <a:close/>
                </a:path>
              </a:pathLst>
            </a:custGeom>
            <a:solidFill>
              <a:srgbClr val="E5B5A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121"/>
            <p:cNvSpPr>
              <a:spLocks/>
            </p:cNvSpPr>
            <p:nvPr/>
          </p:nvSpPr>
          <p:spPr bwMode="auto">
            <a:xfrm>
              <a:off x="861" y="3560"/>
              <a:ext cx="430" cy="276"/>
            </a:xfrm>
            <a:custGeom>
              <a:avLst/>
              <a:gdLst>
                <a:gd name="T0" fmla="*/ 425 w 663"/>
                <a:gd name="T1" fmla="*/ 425 h 425"/>
                <a:gd name="T2" fmla="*/ 425 w 663"/>
                <a:gd name="T3" fmla="*/ 425 h 425"/>
                <a:gd name="T4" fmla="*/ 0 w 663"/>
                <a:gd name="T5" fmla="*/ 0 h 425"/>
                <a:gd name="T6" fmla="*/ 663 w 663"/>
                <a:gd name="T7" fmla="*/ 0 h 425"/>
                <a:gd name="T8" fmla="*/ 425 w 663"/>
                <a:gd name="T9" fmla="*/ 425 h 425"/>
              </a:gdLst>
              <a:ahLst/>
              <a:cxnLst>
                <a:cxn ang="0">
                  <a:pos x="T0" y="T1"/>
                </a:cxn>
                <a:cxn ang="0">
                  <a:pos x="T2" y="T3"/>
                </a:cxn>
                <a:cxn ang="0">
                  <a:pos x="T4" y="T5"/>
                </a:cxn>
                <a:cxn ang="0">
                  <a:pos x="T6" y="T7"/>
                </a:cxn>
                <a:cxn ang="0">
                  <a:pos x="T8" y="T9"/>
                </a:cxn>
              </a:cxnLst>
              <a:rect l="0" t="0" r="r" b="b"/>
              <a:pathLst>
                <a:path w="663" h="425">
                  <a:moveTo>
                    <a:pt x="425" y="425"/>
                  </a:moveTo>
                  <a:lnTo>
                    <a:pt x="425" y="425"/>
                  </a:lnTo>
                  <a:lnTo>
                    <a:pt x="0" y="0"/>
                  </a:lnTo>
                  <a:lnTo>
                    <a:pt x="663" y="0"/>
                  </a:lnTo>
                  <a:cubicBezTo>
                    <a:pt x="621" y="162"/>
                    <a:pt x="538" y="308"/>
                    <a:pt x="425" y="425"/>
                  </a:cubicBezTo>
                  <a:close/>
                </a:path>
              </a:pathLst>
            </a:custGeom>
            <a:solidFill>
              <a:srgbClr val="CC867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123"/>
            <p:cNvSpPr>
              <a:spLocks/>
            </p:cNvSpPr>
            <p:nvPr/>
          </p:nvSpPr>
          <p:spPr bwMode="auto">
            <a:xfrm>
              <a:off x="4759" y="2415"/>
              <a:ext cx="315" cy="783"/>
            </a:xfrm>
            <a:custGeom>
              <a:avLst/>
              <a:gdLst>
                <a:gd name="T0" fmla="*/ 486 w 486"/>
                <a:gd name="T1" fmla="*/ 911 h 1207"/>
                <a:gd name="T2" fmla="*/ 486 w 486"/>
                <a:gd name="T3" fmla="*/ 911 h 1207"/>
                <a:gd name="T4" fmla="*/ 243 w 486"/>
                <a:gd name="T5" fmla="*/ 1153 h 1207"/>
                <a:gd name="T6" fmla="*/ 0 w 486"/>
                <a:gd name="T7" fmla="*/ 1073 h 1207"/>
                <a:gd name="T8" fmla="*/ 0 w 486"/>
                <a:gd name="T9" fmla="*/ 134 h 1207"/>
                <a:gd name="T10" fmla="*/ 243 w 486"/>
                <a:gd name="T11" fmla="*/ 54 h 1207"/>
                <a:gd name="T12" fmla="*/ 486 w 486"/>
                <a:gd name="T13" fmla="*/ 296 h 1207"/>
                <a:gd name="T14" fmla="*/ 486 w 486"/>
                <a:gd name="T15" fmla="*/ 911 h 120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6" h="1207">
                  <a:moveTo>
                    <a:pt x="486" y="911"/>
                  </a:moveTo>
                  <a:lnTo>
                    <a:pt x="486" y="911"/>
                  </a:lnTo>
                  <a:cubicBezTo>
                    <a:pt x="486" y="1045"/>
                    <a:pt x="377" y="1153"/>
                    <a:pt x="243" y="1153"/>
                  </a:cubicBezTo>
                  <a:cubicBezTo>
                    <a:pt x="109" y="1153"/>
                    <a:pt x="0" y="1207"/>
                    <a:pt x="0" y="1073"/>
                  </a:cubicBezTo>
                  <a:lnTo>
                    <a:pt x="0" y="134"/>
                  </a:lnTo>
                  <a:cubicBezTo>
                    <a:pt x="0" y="0"/>
                    <a:pt x="109" y="54"/>
                    <a:pt x="243" y="54"/>
                  </a:cubicBezTo>
                  <a:cubicBezTo>
                    <a:pt x="377" y="54"/>
                    <a:pt x="486" y="162"/>
                    <a:pt x="486" y="296"/>
                  </a:cubicBezTo>
                  <a:lnTo>
                    <a:pt x="486" y="911"/>
                  </a:lnTo>
                  <a:close/>
                </a:path>
              </a:pathLst>
            </a:custGeom>
            <a:solidFill>
              <a:srgbClr val="E5B5A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2" name="Group 21"/>
          <p:cNvGrpSpPr/>
          <p:nvPr/>
        </p:nvGrpSpPr>
        <p:grpSpPr>
          <a:xfrm>
            <a:off x="10174115" y="3608388"/>
            <a:ext cx="1125538" cy="3373437"/>
            <a:chOff x="6924675" y="3443288"/>
            <a:chExt cx="1125538" cy="3373437"/>
          </a:xfrm>
        </p:grpSpPr>
        <p:grpSp>
          <p:nvGrpSpPr>
            <p:cNvPr id="23" name="Group 22"/>
            <p:cNvGrpSpPr/>
            <p:nvPr/>
          </p:nvGrpSpPr>
          <p:grpSpPr>
            <a:xfrm>
              <a:off x="7246938" y="3443288"/>
              <a:ext cx="803275" cy="868363"/>
              <a:chOff x="7246938" y="3443288"/>
              <a:chExt cx="803275" cy="868363"/>
            </a:xfrm>
          </p:grpSpPr>
          <p:sp>
            <p:nvSpPr>
              <p:cNvPr id="25" name="Freeform 122"/>
              <p:cNvSpPr>
                <a:spLocks/>
              </p:cNvSpPr>
              <p:nvPr/>
            </p:nvSpPr>
            <p:spPr bwMode="auto">
              <a:xfrm>
                <a:off x="7246938" y="3443288"/>
                <a:ext cx="803275" cy="868363"/>
              </a:xfrm>
              <a:custGeom>
                <a:avLst/>
                <a:gdLst>
                  <a:gd name="T0" fmla="*/ 77 w 780"/>
                  <a:gd name="T1" fmla="*/ 139 h 842"/>
                  <a:gd name="T2" fmla="*/ 77 w 780"/>
                  <a:gd name="T3" fmla="*/ 139 h 842"/>
                  <a:gd name="T4" fmla="*/ 77 w 780"/>
                  <a:gd name="T5" fmla="*/ 416 h 842"/>
                  <a:gd name="T6" fmla="*/ 427 w 780"/>
                  <a:gd name="T7" fmla="*/ 766 h 842"/>
                  <a:gd name="T8" fmla="*/ 704 w 780"/>
                  <a:gd name="T9" fmla="*/ 766 h 842"/>
                  <a:gd name="T10" fmla="*/ 704 w 780"/>
                  <a:gd name="T11" fmla="*/ 489 h 842"/>
                  <a:gd name="T12" fmla="*/ 215 w 780"/>
                  <a:gd name="T13" fmla="*/ 0 h 842"/>
                  <a:gd name="T14" fmla="*/ 77 w 780"/>
                  <a:gd name="T15" fmla="*/ 139 h 8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80" h="842">
                    <a:moveTo>
                      <a:pt x="77" y="139"/>
                    </a:moveTo>
                    <a:lnTo>
                      <a:pt x="77" y="139"/>
                    </a:lnTo>
                    <a:cubicBezTo>
                      <a:pt x="0" y="215"/>
                      <a:pt x="0" y="339"/>
                      <a:pt x="77" y="416"/>
                    </a:cubicBezTo>
                    <a:lnTo>
                      <a:pt x="427" y="766"/>
                    </a:lnTo>
                    <a:cubicBezTo>
                      <a:pt x="504" y="842"/>
                      <a:pt x="628" y="842"/>
                      <a:pt x="704" y="766"/>
                    </a:cubicBezTo>
                    <a:cubicBezTo>
                      <a:pt x="780" y="689"/>
                      <a:pt x="780" y="565"/>
                      <a:pt x="704" y="489"/>
                    </a:cubicBezTo>
                    <a:lnTo>
                      <a:pt x="215" y="0"/>
                    </a:lnTo>
                    <a:lnTo>
                      <a:pt x="77" y="139"/>
                    </a:lnTo>
                    <a:close/>
                  </a:path>
                </a:pathLst>
              </a:custGeom>
              <a:solidFill>
                <a:srgbClr val="E5B5A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 name="Freeform 124"/>
              <p:cNvSpPr>
                <a:spLocks/>
              </p:cNvSpPr>
              <p:nvPr/>
            </p:nvSpPr>
            <p:spPr bwMode="auto">
              <a:xfrm>
                <a:off x="7418388" y="3443288"/>
                <a:ext cx="234950" cy="190500"/>
              </a:xfrm>
              <a:custGeom>
                <a:avLst/>
                <a:gdLst>
                  <a:gd name="T0" fmla="*/ 49 w 228"/>
                  <a:gd name="T1" fmla="*/ 0 h 184"/>
                  <a:gd name="T2" fmla="*/ 49 w 228"/>
                  <a:gd name="T3" fmla="*/ 0 h 184"/>
                  <a:gd name="T4" fmla="*/ 0 w 228"/>
                  <a:gd name="T5" fmla="*/ 50 h 184"/>
                  <a:gd name="T6" fmla="*/ 73 w 228"/>
                  <a:gd name="T7" fmla="*/ 124 h 184"/>
                  <a:gd name="T8" fmla="*/ 228 w 228"/>
                  <a:gd name="T9" fmla="*/ 179 h 184"/>
                  <a:gd name="T10" fmla="*/ 49 w 228"/>
                  <a:gd name="T11" fmla="*/ 0 h 184"/>
                </a:gdLst>
                <a:ahLst/>
                <a:cxnLst>
                  <a:cxn ang="0">
                    <a:pos x="T0" y="T1"/>
                  </a:cxn>
                  <a:cxn ang="0">
                    <a:pos x="T2" y="T3"/>
                  </a:cxn>
                  <a:cxn ang="0">
                    <a:pos x="T4" y="T5"/>
                  </a:cxn>
                  <a:cxn ang="0">
                    <a:pos x="T6" y="T7"/>
                  </a:cxn>
                  <a:cxn ang="0">
                    <a:pos x="T8" y="T9"/>
                  </a:cxn>
                  <a:cxn ang="0">
                    <a:pos x="T10" y="T11"/>
                  </a:cxn>
                </a:cxnLst>
                <a:rect l="0" t="0" r="r" b="b"/>
                <a:pathLst>
                  <a:path w="228" h="184">
                    <a:moveTo>
                      <a:pt x="49" y="0"/>
                    </a:moveTo>
                    <a:lnTo>
                      <a:pt x="49" y="0"/>
                    </a:lnTo>
                    <a:lnTo>
                      <a:pt x="0" y="50"/>
                    </a:lnTo>
                    <a:lnTo>
                      <a:pt x="73" y="124"/>
                    </a:lnTo>
                    <a:cubicBezTo>
                      <a:pt x="116" y="166"/>
                      <a:pt x="173" y="184"/>
                      <a:pt x="228" y="179"/>
                    </a:cubicBezTo>
                    <a:lnTo>
                      <a:pt x="49" y="0"/>
                    </a:lnTo>
                    <a:close/>
                  </a:path>
                </a:pathLst>
              </a:custGeom>
              <a:solidFill>
                <a:srgbClr val="EFD9C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4" name="Freeform 125"/>
            <p:cNvSpPr>
              <a:spLocks/>
            </p:cNvSpPr>
            <p:nvPr/>
          </p:nvSpPr>
          <p:spPr bwMode="auto">
            <a:xfrm>
              <a:off x="6924675" y="4683125"/>
              <a:ext cx="809625" cy="2133600"/>
            </a:xfrm>
            <a:custGeom>
              <a:avLst/>
              <a:gdLst>
                <a:gd name="T0" fmla="*/ 786 w 786"/>
                <a:gd name="T1" fmla="*/ 0 h 2070"/>
                <a:gd name="T2" fmla="*/ 786 w 786"/>
                <a:gd name="T3" fmla="*/ 0 h 2070"/>
                <a:gd name="T4" fmla="*/ 0 w 786"/>
                <a:gd name="T5" fmla="*/ 1035 h 2070"/>
                <a:gd name="T6" fmla="*/ 786 w 786"/>
                <a:gd name="T7" fmla="*/ 2070 h 2070"/>
                <a:gd name="T8" fmla="*/ 786 w 786"/>
                <a:gd name="T9" fmla="*/ 0 h 2070"/>
              </a:gdLst>
              <a:ahLst/>
              <a:cxnLst>
                <a:cxn ang="0">
                  <a:pos x="T0" y="T1"/>
                </a:cxn>
                <a:cxn ang="0">
                  <a:pos x="T2" y="T3"/>
                </a:cxn>
                <a:cxn ang="0">
                  <a:pos x="T4" y="T5"/>
                </a:cxn>
                <a:cxn ang="0">
                  <a:pos x="T6" y="T7"/>
                </a:cxn>
                <a:cxn ang="0">
                  <a:pos x="T8" y="T9"/>
                </a:cxn>
              </a:cxnLst>
              <a:rect l="0" t="0" r="r" b="b"/>
              <a:pathLst>
                <a:path w="786" h="2070">
                  <a:moveTo>
                    <a:pt x="786" y="0"/>
                  </a:moveTo>
                  <a:lnTo>
                    <a:pt x="786" y="0"/>
                  </a:lnTo>
                  <a:cubicBezTo>
                    <a:pt x="333" y="126"/>
                    <a:pt x="0" y="542"/>
                    <a:pt x="0" y="1035"/>
                  </a:cubicBezTo>
                  <a:cubicBezTo>
                    <a:pt x="0" y="1529"/>
                    <a:pt x="333" y="1944"/>
                    <a:pt x="786" y="2070"/>
                  </a:cubicBezTo>
                  <a:lnTo>
                    <a:pt x="786" y="0"/>
                  </a:lnTo>
                  <a:close/>
                </a:path>
              </a:pathLst>
            </a:custGeom>
            <a:solidFill>
              <a:srgbClr val="E5B5A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7" name="Title 4"/>
          <p:cNvSpPr txBox="1">
            <a:spLocks/>
          </p:cNvSpPr>
          <p:nvPr/>
        </p:nvSpPr>
        <p:spPr>
          <a:xfrm>
            <a:off x="559534" y="244029"/>
            <a:ext cx="3818806" cy="1389190"/>
          </a:xfrm>
          <a:prstGeom prst="rect">
            <a:avLst/>
          </a:prstGeom>
        </p:spPr>
        <p:txBody>
          <a:bodyPr vert="horz" wrap="square" lIns="0" tIns="0" rIns="0" bIns="0" rtlCol="0" anchor="b" anchorCtr="0">
            <a:noAutofit/>
          </a:bodyPr>
          <a:lstStyle>
            <a:lvl1pPr algn="l" defTabSz="912078" rtl="0" eaLnBrk="1" latinLnBrk="0" hangingPunct="1">
              <a:lnSpc>
                <a:spcPct val="90000"/>
              </a:lnSpc>
              <a:spcBef>
                <a:spcPct val="0"/>
              </a:spcBef>
              <a:buNone/>
              <a:defRPr lang="en-US" sz="7200" b="0" kern="1200" cap="none" spc="-299" baseline="0">
                <a:ln w="3175">
                  <a:noFill/>
                </a:ln>
                <a:gradFill>
                  <a:gsLst>
                    <a:gs pos="100000">
                      <a:schemeClr val="bg1"/>
                    </a:gs>
                    <a:gs pos="0">
                      <a:schemeClr val="bg1"/>
                    </a:gs>
                  </a:gsLst>
                  <a:lin ang="5400000" scaled="0"/>
                </a:gradFill>
                <a:effectLst/>
                <a:latin typeface="+mj-lt"/>
                <a:ea typeface="+mn-ea"/>
                <a:cs typeface="Arial" charset="0"/>
              </a:defRPr>
            </a:lvl1pPr>
          </a:lstStyle>
          <a:p>
            <a:r>
              <a:rPr lang="en-US" sz="9600" dirty="0" smtClean="0">
                <a:latin typeface="Segoe UI Bold" panose="020B0802040204020203" pitchFamily="34" charset="0"/>
                <a:ea typeface="Segoe UI Bold" panose="020B0802040204020203" pitchFamily="34" charset="0"/>
                <a:cs typeface="Segoe UI Bold" panose="020B0802040204020203" pitchFamily="34" charset="0"/>
              </a:rPr>
              <a:t>DEMO</a:t>
            </a:r>
            <a:endParaRPr lang="en-US" sz="9600" dirty="0">
              <a:latin typeface="Segoe UI Bold" panose="020B0802040204020203" pitchFamily="34" charset="0"/>
              <a:ea typeface="Segoe UI Bold" panose="020B0802040204020203" pitchFamily="34" charset="0"/>
              <a:cs typeface="Segoe UI Bold" panose="020B0802040204020203" pitchFamily="34" charset="0"/>
            </a:endParaRPr>
          </a:p>
        </p:txBody>
      </p:sp>
      <p:pic>
        <p:nvPicPr>
          <p:cNvPr id="29" name="Picture 2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25766" y="1811034"/>
            <a:ext cx="6102897" cy="3393147"/>
          </a:xfrm>
          <a:prstGeom prst="rect">
            <a:avLst/>
          </a:prstGeom>
        </p:spPr>
      </p:pic>
      <p:grpSp>
        <p:nvGrpSpPr>
          <p:cNvPr id="17" name="Group 16"/>
          <p:cNvGrpSpPr/>
          <p:nvPr/>
        </p:nvGrpSpPr>
        <p:grpSpPr>
          <a:xfrm>
            <a:off x="3489153" y="3608388"/>
            <a:ext cx="1127125" cy="3373437"/>
            <a:chOff x="239713" y="3443288"/>
            <a:chExt cx="1127125" cy="3373437"/>
          </a:xfrm>
        </p:grpSpPr>
        <p:grpSp>
          <p:nvGrpSpPr>
            <p:cNvPr id="18" name="Group 17"/>
            <p:cNvGrpSpPr/>
            <p:nvPr/>
          </p:nvGrpSpPr>
          <p:grpSpPr>
            <a:xfrm>
              <a:off x="239713" y="3443288"/>
              <a:ext cx="803275" cy="868363"/>
              <a:chOff x="239713" y="3443288"/>
              <a:chExt cx="803275" cy="868363"/>
            </a:xfrm>
          </p:grpSpPr>
          <p:sp>
            <p:nvSpPr>
              <p:cNvPr id="20" name="Freeform 117"/>
              <p:cNvSpPr>
                <a:spLocks/>
              </p:cNvSpPr>
              <p:nvPr/>
            </p:nvSpPr>
            <p:spPr bwMode="auto">
              <a:xfrm>
                <a:off x="239713" y="3443288"/>
                <a:ext cx="803275" cy="868363"/>
              </a:xfrm>
              <a:custGeom>
                <a:avLst/>
                <a:gdLst>
                  <a:gd name="T0" fmla="*/ 704 w 780"/>
                  <a:gd name="T1" fmla="*/ 139 h 842"/>
                  <a:gd name="T2" fmla="*/ 704 w 780"/>
                  <a:gd name="T3" fmla="*/ 139 h 842"/>
                  <a:gd name="T4" fmla="*/ 704 w 780"/>
                  <a:gd name="T5" fmla="*/ 416 h 842"/>
                  <a:gd name="T6" fmla="*/ 353 w 780"/>
                  <a:gd name="T7" fmla="*/ 766 h 842"/>
                  <a:gd name="T8" fmla="*/ 76 w 780"/>
                  <a:gd name="T9" fmla="*/ 766 h 842"/>
                  <a:gd name="T10" fmla="*/ 76 w 780"/>
                  <a:gd name="T11" fmla="*/ 489 h 842"/>
                  <a:gd name="T12" fmla="*/ 565 w 780"/>
                  <a:gd name="T13" fmla="*/ 0 h 842"/>
                  <a:gd name="T14" fmla="*/ 704 w 780"/>
                  <a:gd name="T15" fmla="*/ 139 h 8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80" h="842">
                    <a:moveTo>
                      <a:pt x="704" y="139"/>
                    </a:moveTo>
                    <a:lnTo>
                      <a:pt x="704" y="139"/>
                    </a:lnTo>
                    <a:cubicBezTo>
                      <a:pt x="780" y="215"/>
                      <a:pt x="780" y="339"/>
                      <a:pt x="704" y="416"/>
                    </a:cubicBezTo>
                    <a:lnTo>
                      <a:pt x="353" y="766"/>
                    </a:lnTo>
                    <a:cubicBezTo>
                      <a:pt x="277" y="842"/>
                      <a:pt x="153" y="842"/>
                      <a:pt x="76" y="766"/>
                    </a:cubicBezTo>
                    <a:cubicBezTo>
                      <a:pt x="0" y="689"/>
                      <a:pt x="0" y="565"/>
                      <a:pt x="76" y="489"/>
                    </a:cubicBezTo>
                    <a:lnTo>
                      <a:pt x="565" y="0"/>
                    </a:lnTo>
                    <a:lnTo>
                      <a:pt x="704" y="139"/>
                    </a:lnTo>
                    <a:close/>
                  </a:path>
                </a:pathLst>
              </a:custGeom>
              <a:solidFill>
                <a:srgbClr val="E5B5A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 name="Freeform 119"/>
              <p:cNvSpPr>
                <a:spLocks/>
              </p:cNvSpPr>
              <p:nvPr/>
            </p:nvSpPr>
            <p:spPr bwMode="auto">
              <a:xfrm>
                <a:off x="636588" y="3443288"/>
                <a:ext cx="236538" cy="190500"/>
              </a:xfrm>
              <a:custGeom>
                <a:avLst/>
                <a:gdLst>
                  <a:gd name="T0" fmla="*/ 179 w 229"/>
                  <a:gd name="T1" fmla="*/ 0 h 184"/>
                  <a:gd name="T2" fmla="*/ 179 w 229"/>
                  <a:gd name="T3" fmla="*/ 0 h 184"/>
                  <a:gd name="T4" fmla="*/ 229 w 229"/>
                  <a:gd name="T5" fmla="*/ 50 h 184"/>
                  <a:gd name="T6" fmla="*/ 155 w 229"/>
                  <a:gd name="T7" fmla="*/ 124 h 184"/>
                  <a:gd name="T8" fmla="*/ 0 w 229"/>
                  <a:gd name="T9" fmla="*/ 179 h 184"/>
                  <a:gd name="T10" fmla="*/ 179 w 229"/>
                  <a:gd name="T11" fmla="*/ 0 h 184"/>
                </a:gdLst>
                <a:ahLst/>
                <a:cxnLst>
                  <a:cxn ang="0">
                    <a:pos x="T0" y="T1"/>
                  </a:cxn>
                  <a:cxn ang="0">
                    <a:pos x="T2" y="T3"/>
                  </a:cxn>
                  <a:cxn ang="0">
                    <a:pos x="T4" y="T5"/>
                  </a:cxn>
                  <a:cxn ang="0">
                    <a:pos x="T6" y="T7"/>
                  </a:cxn>
                  <a:cxn ang="0">
                    <a:pos x="T8" y="T9"/>
                  </a:cxn>
                  <a:cxn ang="0">
                    <a:pos x="T10" y="T11"/>
                  </a:cxn>
                </a:cxnLst>
                <a:rect l="0" t="0" r="r" b="b"/>
                <a:pathLst>
                  <a:path w="229" h="184">
                    <a:moveTo>
                      <a:pt x="179" y="0"/>
                    </a:moveTo>
                    <a:lnTo>
                      <a:pt x="179" y="0"/>
                    </a:lnTo>
                    <a:lnTo>
                      <a:pt x="229" y="50"/>
                    </a:lnTo>
                    <a:lnTo>
                      <a:pt x="155" y="124"/>
                    </a:lnTo>
                    <a:cubicBezTo>
                      <a:pt x="113" y="166"/>
                      <a:pt x="56" y="184"/>
                      <a:pt x="0" y="179"/>
                    </a:cubicBezTo>
                    <a:lnTo>
                      <a:pt x="179" y="0"/>
                    </a:lnTo>
                    <a:close/>
                  </a:path>
                </a:pathLst>
              </a:custGeom>
              <a:solidFill>
                <a:srgbClr val="EFD9C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9" name="Freeform 120"/>
            <p:cNvSpPr>
              <a:spLocks/>
            </p:cNvSpPr>
            <p:nvPr/>
          </p:nvSpPr>
          <p:spPr bwMode="auto">
            <a:xfrm>
              <a:off x="555625" y="4683125"/>
              <a:ext cx="811213" cy="2133600"/>
            </a:xfrm>
            <a:custGeom>
              <a:avLst/>
              <a:gdLst>
                <a:gd name="T0" fmla="*/ 0 w 787"/>
                <a:gd name="T1" fmla="*/ 0 h 2070"/>
                <a:gd name="T2" fmla="*/ 0 w 787"/>
                <a:gd name="T3" fmla="*/ 0 h 2070"/>
                <a:gd name="T4" fmla="*/ 787 w 787"/>
                <a:gd name="T5" fmla="*/ 1035 h 2070"/>
                <a:gd name="T6" fmla="*/ 0 w 787"/>
                <a:gd name="T7" fmla="*/ 2070 h 2070"/>
                <a:gd name="T8" fmla="*/ 0 w 787"/>
                <a:gd name="T9" fmla="*/ 0 h 2070"/>
              </a:gdLst>
              <a:ahLst/>
              <a:cxnLst>
                <a:cxn ang="0">
                  <a:pos x="T0" y="T1"/>
                </a:cxn>
                <a:cxn ang="0">
                  <a:pos x="T2" y="T3"/>
                </a:cxn>
                <a:cxn ang="0">
                  <a:pos x="T4" y="T5"/>
                </a:cxn>
                <a:cxn ang="0">
                  <a:pos x="T6" y="T7"/>
                </a:cxn>
                <a:cxn ang="0">
                  <a:pos x="T8" y="T9"/>
                </a:cxn>
              </a:cxnLst>
              <a:rect l="0" t="0" r="r" b="b"/>
              <a:pathLst>
                <a:path w="787" h="2070">
                  <a:moveTo>
                    <a:pt x="0" y="0"/>
                  </a:moveTo>
                  <a:lnTo>
                    <a:pt x="0" y="0"/>
                  </a:lnTo>
                  <a:cubicBezTo>
                    <a:pt x="454" y="126"/>
                    <a:pt x="787" y="542"/>
                    <a:pt x="787" y="1035"/>
                  </a:cubicBezTo>
                  <a:cubicBezTo>
                    <a:pt x="787" y="1529"/>
                    <a:pt x="454" y="1944"/>
                    <a:pt x="0" y="2070"/>
                  </a:cubicBezTo>
                  <a:lnTo>
                    <a:pt x="0" y="0"/>
                  </a:lnTo>
                  <a:close/>
                </a:path>
              </a:pathLst>
            </a:custGeom>
            <a:solidFill>
              <a:srgbClr val="E5B5A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788022065"/>
      </p:ext>
    </p:extLst>
  </p:cSld>
  <p:clrMapOvr>
    <a:masterClrMapping/>
  </p:clrMapOvr>
  <mc:AlternateContent xmlns:mc="http://schemas.openxmlformats.org/markup-compatibility/2006">
    <mc:Choice xmlns:p14="http://schemas.microsoft.com/office/powerpoint/2010/main" Requires="p14">
      <p:transition spd="slow" p14:dur="1250">
        <p14:switch dir="r"/>
      </p:transition>
    </mc:Choice>
    <mc:Fallback>
      <p:transition spd="slow">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p:cNvGrpSpPr/>
          <p:nvPr/>
        </p:nvGrpSpPr>
        <p:grpSpPr>
          <a:xfrm>
            <a:off x="6860405" y="1160285"/>
            <a:ext cx="4554094" cy="4398802"/>
            <a:chOff x="7120036" y="1371680"/>
            <a:chExt cx="4554094" cy="4398802"/>
          </a:xfrm>
          <a:solidFill>
            <a:schemeClr val="accent6">
              <a:lumMod val="75000"/>
            </a:schemeClr>
          </a:solidFill>
        </p:grpSpPr>
        <p:sp>
          <p:nvSpPr>
            <p:cNvPr id="6" name="Rectangle 5"/>
            <p:cNvSpPr/>
            <p:nvPr/>
          </p:nvSpPr>
          <p:spPr bwMode="auto">
            <a:xfrm>
              <a:off x="7120036" y="1371680"/>
              <a:ext cx="4547998" cy="10489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r>
                <a:rPr lang="en-US" sz="2000" dirty="0"/>
                <a:t>Full, </a:t>
              </a:r>
              <a:r>
                <a:rPr lang="en-US" sz="2000" dirty="0" smtClean="0"/>
                <a:t>installed </a:t>
              </a:r>
              <a:r>
                <a:rPr lang="en-US" sz="2000" dirty="0"/>
                <a:t>Office applications on up to 5 PCs or Macs </a:t>
              </a:r>
              <a:endParaRPr lang="en-US" sz="20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5" name="Rectangle 54"/>
            <p:cNvSpPr/>
            <p:nvPr/>
          </p:nvSpPr>
          <p:spPr bwMode="auto">
            <a:xfrm>
              <a:off x="7120036" y="3592756"/>
              <a:ext cx="4547998" cy="10489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a typeface="Segoe UI" pitchFamily="34" charset="0"/>
                <a:cs typeface="Segoe UI" pitchFamily="34" charset="0"/>
              </a:endParaRPr>
            </a:p>
            <a:p>
              <a:pPr algn="ctr" defTabSz="914099" fontAlgn="base">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Online </a:t>
              </a:r>
              <a:r>
                <a:rPr lang="en-US" sz="2000" dirty="0">
                  <a:gradFill>
                    <a:gsLst>
                      <a:gs pos="0">
                        <a:srgbClr val="FFFFFF"/>
                      </a:gs>
                      <a:gs pos="100000">
                        <a:srgbClr val="FFFFFF"/>
                      </a:gs>
                    </a:gsLst>
                    <a:lin ang="5400000" scaled="0"/>
                  </a:gradFill>
                  <a:ea typeface="Segoe UI" pitchFamily="34" charset="0"/>
                  <a:cs typeface="Segoe UI" pitchFamily="34" charset="0"/>
                </a:rPr>
                <a:t>versions </a:t>
              </a:r>
              <a:r>
                <a:rPr lang="en-US" sz="2000" dirty="0" smtClean="0">
                  <a:gradFill>
                    <a:gsLst>
                      <a:gs pos="0">
                        <a:srgbClr val="FFFFFF"/>
                      </a:gs>
                      <a:gs pos="100000">
                        <a:srgbClr val="FFFFFF"/>
                      </a:gs>
                    </a:gsLst>
                    <a:lin ang="5400000" scaled="0"/>
                  </a:gradFill>
                  <a:ea typeface="Segoe UI" pitchFamily="34" charset="0"/>
                  <a:cs typeface="Segoe UI" pitchFamily="34" charset="0"/>
                </a:rPr>
                <a:t>of Office—Word, Excel, OneNote and more </a:t>
              </a:r>
            </a:p>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6" name="Rectangle 55"/>
            <p:cNvSpPr/>
            <p:nvPr/>
          </p:nvSpPr>
          <p:spPr bwMode="auto">
            <a:xfrm>
              <a:off x="7120036" y="4721582"/>
              <a:ext cx="4547998" cy="10489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1TB of OneDrive for Business storage</a:t>
              </a:r>
            </a:p>
          </p:txBody>
        </p:sp>
        <p:sp>
          <p:nvSpPr>
            <p:cNvPr id="57" name="Rectangle 56"/>
            <p:cNvSpPr/>
            <p:nvPr/>
          </p:nvSpPr>
          <p:spPr bwMode="auto">
            <a:xfrm>
              <a:off x="7126132" y="2482218"/>
              <a:ext cx="4547998" cy="10489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r>
                <a:rPr lang="en-US" sz="2000" dirty="0" smtClean="0"/>
                <a:t>Office for smartphones and Windows tablets and iPads®</a:t>
              </a:r>
              <a:endParaRPr lang="en-US" sz="2000" dirty="0" smtClean="0">
                <a:gradFill>
                  <a:gsLst>
                    <a:gs pos="0">
                      <a:srgbClr val="FFFFFF"/>
                    </a:gs>
                    <a:gs pos="100000">
                      <a:srgbClr val="FFFFFF"/>
                    </a:gs>
                  </a:gsLst>
                  <a:lin ang="5400000" scaled="0"/>
                </a:gradFill>
                <a:ea typeface="Segoe UI" pitchFamily="34" charset="0"/>
                <a:cs typeface="Segoe UI" pitchFamily="34" charset="0"/>
              </a:endParaRPr>
            </a:p>
          </p:txBody>
        </p:sp>
      </p:grpSp>
      <p:sp>
        <p:nvSpPr>
          <p:cNvPr id="52" name="Rounded Rectangle 114700"/>
          <p:cNvSpPr/>
          <p:nvPr/>
        </p:nvSpPr>
        <p:spPr>
          <a:xfrm>
            <a:off x="3020287" y="5206055"/>
            <a:ext cx="278106" cy="266602"/>
          </a:xfrm>
          <a:custGeom>
            <a:avLst/>
            <a:gdLst/>
            <a:ahLst/>
            <a:cxnLst/>
            <a:rect l="l" t="t" r="r" b="b"/>
            <a:pathLst>
              <a:path w="2838919" h="2721500">
                <a:moveTo>
                  <a:pt x="755934" y="1066300"/>
                </a:moveTo>
                <a:lnTo>
                  <a:pt x="828528" y="1066300"/>
                </a:lnTo>
                <a:cubicBezTo>
                  <a:pt x="888487" y="1066300"/>
                  <a:pt x="937094" y="1113745"/>
                  <a:pt x="937094" y="1172271"/>
                </a:cubicBezTo>
                <a:lnTo>
                  <a:pt x="937094" y="1247635"/>
                </a:lnTo>
                <a:cubicBezTo>
                  <a:pt x="937094" y="1306161"/>
                  <a:pt x="888487" y="1353606"/>
                  <a:pt x="828528" y="1353606"/>
                </a:cubicBezTo>
                <a:lnTo>
                  <a:pt x="755934" y="1353606"/>
                </a:lnTo>
                <a:lnTo>
                  <a:pt x="746066" y="1351662"/>
                </a:lnTo>
                <a:lnTo>
                  <a:pt x="746066" y="1068244"/>
                </a:lnTo>
                <a:cubicBezTo>
                  <a:pt x="749221" y="1066450"/>
                  <a:pt x="752560" y="1066300"/>
                  <a:pt x="755934" y="1066300"/>
                </a:cubicBezTo>
                <a:close/>
                <a:moveTo>
                  <a:pt x="879785" y="894374"/>
                </a:moveTo>
                <a:lnTo>
                  <a:pt x="586874" y="907109"/>
                </a:lnTo>
                <a:lnTo>
                  <a:pt x="586874" y="1830413"/>
                </a:lnTo>
                <a:lnTo>
                  <a:pt x="749249" y="1836781"/>
                </a:lnTo>
                <a:cubicBezTo>
                  <a:pt x="747127" y="1729593"/>
                  <a:pt x="748187" y="1625589"/>
                  <a:pt x="749249" y="1521584"/>
                </a:cubicBezTo>
                <a:lnTo>
                  <a:pt x="876601" y="1524769"/>
                </a:lnTo>
                <a:cubicBezTo>
                  <a:pt x="963624" y="1512033"/>
                  <a:pt x="1117509" y="1422887"/>
                  <a:pt x="1128122" y="1225491"/>
                </a:cubicBezTo>
                <a:cubicBezTo>
                  <a:pt x="1130245" y="916661"/>
                  <a:pt x="954074" y="893843"/>
                  <a:pt x="879785" y="894374"/>
                </a:cubicBezTo>
                <a:close/>
                <a:moveTo>
                  <a:pt x="1701763" y="726839"/>
                </a:moveTo>
                <a:lnTo>
                  <a:pt x="2482813" y="726839"/>
                </a:lnTo>
                <a:lnTo>
                  <a:pt x="2482813" y="2365139"/>
                </a:lnTo>
                <a:cubicBezTo>
                  <a:pt x="2482813" y="2396702"/>
                  <a:pt x="2457226" y="2422289"/>
                  <a:pt x="2425663" y="2422289"/>
                </a:cubicBezTo>
                <a:lnTo>
                  <a:pt x="1701763" y="2422289"/>
                </a:lnTo>
                <a:lnTo>
                  <a:pt x="1701763" y="2233377"/>
                </a:lnTo>
                <a:lnTo>
                  <a:pt x="2292701" y="2233377"/>
                </a:lnTo>
                <a:cubicBezTo>
                  <a:pt x="2297747" y="2233377"/>
                  <a:pt x="2301838" y="2229286"/>
                  <a:pt x="2301838" y="2224240"/>
                </a:cubicBezTo>
                <a:lnTo>
                  <a:pt x="2301838" y="2109164"/>
                </a:lnTo>
                <a:lnTo>
                  <a:pt x="2292701" y="2100027"/>
                </a:lnTo>
                <a:lnTo>
                  <a:pt x="1701763" y="2100027"/>
                </a:lnTo>
                <a:lnTo>
                  <a:pt x="1701763" y="1940483"/>
                </a:lnTo>
                <a:lnTo>
                  <a:pt x="2292701" y="1940483"/>
                </a:lnTo>
                <a:cubicBezTo>
                  <a:pt x="2297747" y="1940483"/>
                  <a:pt x="2301838" y="1936392"/>
                  <a:pt x="2301838" y="1931346"/>
                </a:cubicBezTo>
                <a:lnTo>
                  <a:pt x="2301838" y="1816270"/>
                </a:lnTo>
                <a:lnTo>
                  <a:pt x="2292701" y="1807133"/>
                </a:lnTo>
                <a:lnTo>
                  <a:pt x="1701763" y="1807133"/>
                </a:lnTo>
                <a:lnTo>
                  <a:pt x="1701763" y="1649970"/>
                </a:lnTo>
                <a:lnTo>
                  <a:pt x="2292701" y="1649970"/>
                </a:lnTo>
                <a:cubicBezTo>
                  <a:pt x="2297747" y="1649970"/>
                  <a:pt x="2301838" y="1645879"/>
                  <a:pt x="2301838" y="1640833"/>
                </a:cubicBezTo>
                <a:lnTo>
                  <a:pt x="2301838" y="1525757"/>
                </a:lnTo>
                <a:lnTo>
                  <a:pt x="2292701" y="1516620"/>
                </a:lnTo>
                <a:lnTo>
                  <a:pt x="1701763" y="1516620"/>
                </a:lnTo>
                <a:lnTo>
                  <a:pt x="1701763" y="1351405"/>
                </a:lnTo>
                <a:lnTo>
                  <a:pt x="2271764" y="1351405"/>
                </a:lnTo>
                <a:cubicBezTo>
                  <a:pt x="2288373" y="1351405"/>
                  <a:pt x="2301838" y="1337940"/>
                  <a:pt x="2301838" y="1321331"/>
                </a:cubicBezTo>
                <a:lnTo>
                  <a:pt x="2301838" y="942567"/>
                </a:lnTo>
                <a:cubicBezTo>
                  <a:pt x="2301838" y="925958"/>
                  <a:pt x="2288373" y="912493"/>
                  <a:pt x="2271764" y="912493"/>
                </a:cubicBezTo>
                <a:lnTo>
                  <a:pt x="1701763" y="912493"/>
                </a:lnTo>
                <a:close/>
                <a:moveTo>
                  <a:pt x="2148867" y="340282"/>
                </a:moveTo>
                <a:lnTo>
                  <a:pt x="2782339" y="340282"/>
                </a:lnTo>
                <a:cubicBezTo>
                  <a:pt x="2813587" y="340282"/>
                  <a:pt x="2838919" y="365614"/>
                  <a:pt x="2838919" y="396862"/>
                </a:cubicBezTo>
                <a:lnTo>
                  <a:pt x="2838919" y="1746742"/>
                </a:lnTo>
                <a:cubicBezTo>
                  <a:pt x="2838919" y="1777990"/>
                  <a:pt x="2813587" y="1803322"/>
                  <a:pt x="2782339" y="1803322"/>
                </a:cubicBezTo>
                <a:lnTo>
                  <a:pt x="2549487" y="1803322"/>
                </a:lnTo>
                <a:lnTo>
                  <a:pt x="2549487" y="676566"/>
                </a:lnTo>
                <a:lnTo>
                  <a:pt x="2092287" y="411727"/>
                </a:lnTo>
                <a:lnTo>
                  <a:pt x="2092287" y="396862"/>
                </a:lnTo>
                <a:cubicBezTo>
                  <a:pt x="2092287" y="365614"/>
                  <a:pt x="2117619" y="340282"/>
                  <a:pt x="2148867" y="340282"/>
                </a:cubicBezTo>
                <a:close/>
                <a:moveTo>
                  <a:pt x="1640484" y="0"/>
                </a:moveTo>
                <a:lnTo>
                  <a:pt x="1640484" y="2721500"/>
                </a:lnTo>
                <a:lnTo>
                  <a:pt x="0" y="2441635"/>
                </a:lnTo>
                <a:lnTo>
                  <a:pt x="0" y="282219"/>
                </a:lnTo>
                <a:close/>
              </a:path>
            </a:pathLst>
          </a:custGeom>
          <a:solidFill>
            <a:schemeClr val="bg1"/>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endParaRPr>
          </a:p>
        </p:txBody>
      </p:sp>
      <p:sp>
        <p:nvSpPr>
          <p:cNvPr id="59" name="TextBox 58"/>
          <p:cNvSpPr txBox="1"/>
          <p:nvPr/>
        </p:nvSpPr>
        <p:spPr>
          <a:xfrm>
            <a:off x="476802" y="311561"/>
            <a:ext cx="6383603" cy="2394502"/>
          </a:xfrm>
          <a:prstGeom prst="rect">
            <a:avLst/>
          </a:prstGeom>
          <a:noFill/>
        </p:spPr>
        <p:txBody>
          <a:bodyPr wrap="square" rtlCol="0">
            <a:spAutoFit/>
          </a:bodyPr>
          <a:lstStyle/>
          <a:p>
            <a:pPr>
              <a:lnSpc>
                <a:spcPct val="85000"/>
              </a:lnSpc>
            </a:pPr>
            <a:r>
              <a:rPr lang="en-US" sz="4400" spc="-100" dirty="0" smtClean="0">
                <a:solidFill>
                  <a:srgbClr val="0070C0"/>
                </a:solidFill>
                <a:latin typeface="Segoe UI Bold" panose="020B0802040204020203" pitchFamily="34" charset="0"/>
                <a:ea typeface="Segoe UI Bold" panose="020B0802040204020203" pitchFamily="34" charset="0"/>
                <a:cs typeface="Segoe UI Bold" panose="020B0802040204020203" pitchFamily="34" charset="0"/>
              </a:rPr>
              <a:t>Get your familiar Office with the power of the cloud today for only $8.25</a:t>
            </a:r>
          </a:p>
        </p:txBody>
      </p:sp>
      <p:grpSp>
        <p:nvGrpSpPr>
          <p:cNvPr id="4" name="Group 3"/>
          <p:cNvGrpSpPr/>
          <p:nvPr/>
        </p:nvGrpSpPr>
        <p:grpSpPr>
          <a:xfrm>
            <a:off x="1040457" y="2652762"/>
            <a:ext cx="3516600" cy="3600945"/>
            <a:chOff x="655129" y="2092713"/>
            <a:chExt cx="4466209" cy="4573330"/>
          </a:xfrm>
        </p:grpSpPr>
        <p:grpSp>
          <p:nvGrpSpPr>
            <p:cNvPr id="23" name="Group 22"/>
            <p:cNvGrpSpPr/>
            <p:nvPr/>
          </p:nvGrpSpPr>
          <p:grpSpPr>
            <a:xfrm>
              <a:off x="655129" y="2092713"/>
              <a:ext cx="4466209" cy="4573330"/>
              <a:chOff x="5271651" y="948728"/>
              <a:chExt cx="5912030" cy="5879109"/>
            </a:xfrm>
          </p:grpSpPr>
          <p:sp>
            <p:nvSpPr>
              <p:cNvPr id="26" name="Rectangle 25"/>
              <p:cNvSpPr/>
              <p:nvPr/>
            </p:nvSpPr>
            <p:spPr>
              <a:xfrm>
                <a:off x="10083044" y="4473972"/>
                <a:ext cx="1042732" cy="188078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nvGrpSpPr>
              <p:cNvPr id="27" name="Group 26"/>
              <p:cNvGrpSpPr/>
              <p:nvPr/>
            </p:nvGrpSpPr>
            <p:grpSpPr>
              <a:xfrm>
                <a:off x="5271651" y="948728"/>
                <a:ext cx="5912030" cy="5879109"/>
                <a:chOff x="5794214" y="895702"/>
                <a:chExt cx="5083262" cy="5054962"/>
              </a:xfrm>
            </p:grpSpPr>
            <p:sp>
              <p:nvSpPr>
                <p:cNvPr id="28" name="Freeform 27"/>
                <p:cNvSpPr/>
                <p:nvPr/>
              </p:nvSpPr>
              <p:spPr>
                <a:xfrm rot="20277289">
                  <a:off x="6798552" y="3225680"/>
                  <a:ext cx="549546" cy="529952"/>
                </a:xfrm>
                <a:custGeom>
                  <a:avLst/>
                  <a:gdLst>
                    <a:gd name="connsiteX0" fmla="*/ 147901 w 547492"/>
                    <a:gd name="connsiteY0" fmla="*/ 159 h 547027"/>
                    <a:gd name="connsiteX1" fmla="*/ 164790 w 547492"/>
                    <a:gd name="connsiteY1" fmla="*/ 17385 h 547027"/>
                    <a:gd name="connsiteX2" fmla="*/ 257543 w 547492"/>
                    <a:gd name="connsiteY2" fmla="*/ 261873 h 547027"/>
                    <a:gd name="connsiteX3" fmla="*/ 531263 w 547492"/>
                    <a:gd name="connsiteY3" fmla="*/ 383096 h 547027"/>
                    <a:gd name="connsiteX4" fmla="*/ 533050 w 547492"/>
                    <a:gd name="connsiteY4" fmla="*/ 419093 h 547027"/>
                    <a:gd name="connsiteX5" fmla="*/ 234902 w 547492"/>
                    <a:gd name="connsiteY5" fmla="*/ 291210 h 547027"/>
                    <a:gd name="connsiteX6" fmla="*/ 130118 w 547492"/>
                    <a:gd name="connsiteY6" fmla="*/ 16219 h 547027"/>
                    <a:gd name="connsiteX7" fmla="*/ 147901 w 547492"/>
                    <a:gd name="connsiteY7" fmla="*/ 159 h 547027"/>
                    <a:gd name="connsiteX8" fmla="*/ 258593 w 547492"/>
                    <a:gd name="connsiteY8" fmla="*/ 83 h 547027"/>
                    <a:gd name="connsiteX9" fmla="*/ 276870 w 547492"/>
                    <a:gd name="connsiteY9" fmla="*/ 19473 h 547027"/>
                    <a:gd name="connsiteX10" fmla="*/ 342477 w 547492"/>
                    <a:gd name="connsiteY10" fmla="*/ 185830 h 547027"/>
                    <a:gd name="connsiteX11" fmla="*/ 529533 w 547492"/>
                    <a:gd name="connsiteY11" fmla="*/ 271534 h 547027"/>
                    <a:gd name="connsiteX12" fmla="*/ 529010 w 547492"/>
                    <a:gd name="connsiteY12" fmla="*/ 308769 h 547027"/>
                    <a:gd name="connsiteX13" fmla="*/ 319908 w 547492"/>
                    <a:gd name="connsiteY13" fmla="*/ 218161 h 547027"/>
                    <a:gd name="connsiteX14" fmla="*/ 241025 w 547492"/>
                    <a:gd name="connsiteY14" fmla="*/ 18615 h 547027"/>
                    <a:gd name="connsiteX15" fmla="*/ 258593 w 547492"/>
                    <a:gd name="connsiteY15" fmla="*/ 83 h 547027"/>
                    <a:gd name="connsiteX16" fmla="*/ 18843 w 547492"/>
                    <a:gd name="connsiteY16" fmla="*/ 10 h 547027"/>
                    <a:gd name="connsiteX17" fmla="*/ 37685 w 547492"/>
                    <a:gd name="connsiteY17" fmla="*/ 16302 h 547027"/>
                    <a:gd name="connsiteX18" fmla="*/ 164891 w 547492"/>
                    <a:gd name="connsiteY18" fmla="*/ 345340 h 547027"/>
                    <a:gd name="connsiteX19" fmla="*/ 531167 w 547492"/>
                    <a:gd name="connsiteY19" fmla="*/ 510082 h 547027"/>
                    <a:gd name="connsiteX20" fmla="*/ 528039 w 547492"/>
                    <a:gd name="connsiteY20" fmla="*/ 547022 h 547027"/>
                    <a:gd name="connsiteX21" fmla="*/ 139867 w 547492"/>
                    <a:gd name="connsiteY21" fmla="*/ 375130 h 547027"/>
                    <a:gd name="connsiteX22" fmla="*/ 0 w 547492"/>
                    <a:gd name="connsiteY22" fmla="*/ 15557 h 547027"/>
                    <a:gd name="connsiteX23" fmla="*/ 18843 w 547492"/>
                    <a:gd name="connsiteY23" fmla="*/ 10 h 547027"/>
                    <a:gd name="connsiteX24" fmla="*/ 361357 w 547492"/>
                    <a:gd name="connsiteY24" fmla="*/ 3 h 547027"/>
                    <a:gd name="connsiteX25" fmla="*/ 379427 w 547492"/>
                    <a:gd name="connsiteY25" fmla="*/ 22811 h 547027"/>
                    <a:gd name="connsiteX26" fmla="*/ 416799 w 547492"/>
                    <a:gd name="connsiteY26" fmla="*/ 121134 h 547027"/>
                    <a:gd name="connsiteX27" fmla="*/ 530986 w 547492"/>
                    <a:gd name="connsiteY27" fmla="*/ 167238 h 547027"/>
                    <a:gd name="connsiteX28" fmla="*/ 528863 w 547492"/>
                    <a:gd name="connsiteY28" fmla="*/ 205554 h 547027"/>
                    <a:gd name="connsiteX29" fmla="*/ 395749 w 547492"/>
                    <a:gd name="connsiteY29" fmla="*/ 150171 h 547027"/>
                    <a:gd name="connsiteX30" fmla="*/ 342870 w 547492"/>
                    <a:gd name="connsiteY30" fmla="*/ 38961 h 547027"/>
                    <a:gd name="connsiteX31" fmla="*/ 343296 w 547492"/>
                    <a:gd name="connsiteY31" fmla="*/ 21634 h 547027"/>
                    <a:gd name="connsiteX32" fmla="*/ 361357 w 547492"/>
                    <a:gd name="connsiteY32" fmla="*/ 3 h 547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547492" h="547027">
                      <a:moveTo>
                        <a:pt x="147901" y="159"/>
                      </a:moveTo>
                      <a:cubicBezTo>
                        <a:pt x="156233" y="1247"/>
                        <a:pt x="164417" y="7883"/>
                        <a:pt x="164790" y="17385"/>
                      </a:cubicBezTo>
                      <a:cubicBezTo>
                        <a:pt x="163504" y="123250"/>
                        <a:pt x="210481" y="208637"/>
                        <a:pt x="257543" y="261873"/>
                      </a:cubicBezTo>
                      <a:cubicBezTo>
                        <a:pt x="329801" y="345790"/>
                        <a:pt x="450493" y="385299"/>
                        <a:pt x="531263" y="383096"/>
                      </a:cubicBezTo>
                      <a:cubicBezTo>
                        <a:pt x="554755" y="384136"/>
                        <a:pt x="550415" y="419245"/>
                        <a:pt x="533050" y="419093"/>
                      </a:cubicBezTo>
                      <a:cubicBezTo>
                        <a:pt x="450691" y="419472"/>
                        <a:pt x="338455" y="398909"/>
                        <a:pt x="234902" y="291210"/>
                      </a:cubicBezTo>
                      <a:cubicBezTo>
                        <a:pt x="193363" y="241274"/>
                        <a:pt x="128927" y="167539"/>
                        <a:pt x="130118" y="16219"/>
                      </a:cubicBezTo>
                      <a:cubicBezTo>
                        <a:pt x="131087" y="3530"/>
                        <a:pt x="139569" y="-930"/>
                        <a:pt x="147901" y="159"/>
                      </a:cubicBezTo>
                      <a:close/>
                      <a:moveTo>
                        <a:pt x="258593" y="83"/>
                      </a:moveTo>
                      <a:cubicBezTo>
                        <a:pt x="267391" y="-753"/>
                        <a:pt x="276308" y="4730"/>
                        <a:pt x="276870" y="19473"/>
                      </a:cubicBezTo>
                      <a:cubicBezTo>
                        <a:pt x="277152" y="95057"/>
                        <a:pt x="309784" y="144239"/>
                        <a:pt x="342477" y="185830"/>
                      </a:cubicBezTo>
                      <a:cubicBezTo>
                        <a:pt x="395970" y="243463"/>
                        <a:pt x="472402" y="273156"/>
                        <a:pt x="529533" y="271534"/>
                      </a:cubicBezTo>
                      <a:cubicBezTo>
                        <a:pt x="554491" y="271108"/>
                        <a:pt x="552612" y="307689"/>
                        <a:pt x="529010" y="308769"/>
                      </a:cubicBezTo>
                      <a:cubicBezTo>
                        <a:pt x="463605" y="309049"/>
                        <a:pt x="394346" y="293904"/>
                        <a:pt x="319908" y="218161"/>
                      </a:cubicBezTo>
                      <a:cubicBezTo>
                        <a:pt x="290526" y="181384"/>
                        <a:pt x="240182" y="130058"/>
                        <a:pt x="241025" y="18615"/>
                      </a:cubicBezTo>
                      <a:cubicBezTo>
                        <a:pt x="241115" y="8077"/>
                        <a:pt x="249795" y="920"/>
                        <a:pt x="258593" y="83"/>
                      </a:cubicBezTo>
                      <a:close/>
                      <a:moveTo>
                        <a:pt x="18843" y="10"/>
                      </a:moveTo>
                      <a:cubicBezTo>
                        <a:pt x="28214" y="265"/>
                        <a:pt x="37586" y="5826"/>
                        <a:pt x="37685" y="16302"/>
                      </a:cubicBezTo>
                      <a:cubicBezTo>
                        <a:pt x="35997" y="154729"/>
                        <a:pt x="103125" y="275729"/>
                        <a:pt x="164891" y="345340"/>
                      </a:cubicBezTo>
                      <a:cubicBezTo>
                        <a:pt x="259725" y="455069"/>
                        <a:pt x="425162" y="512962"/>
                        <a:pt x="531167" y="510082"/>
                      </a:cubicBezTo>
                      <a:cubicBezTo>
                        <a:pt x="555744" y="509883"/>
                        <a:pt x="550829" y="547221"/>
                        <a:pt x="528039" y="547022"/>
                      </a:cubicBezTo>
                      <a:cubicBezTo>
                        <a:pt x="419949" y="547519"/>
                        <a:pt x="273429" y="516735"/>
                        <a:pt x="139867" y="375130"/>
                      </a:cubicBezTo>
                      <a:cubicBezTo>
                        <a:pt x="85350" y="312173"/>
                        <a:pt x="0" y="200955"/>
                        <a:pt x="0" y="15557"/>
                      </a:cubicBezTo>
                      <a:cubicBezTo>
                        <a:pt x="99" y="4808"/>
                        <a:pt x="9471" y="-244"/>
                        <a:pt x="18843" y="10"/>
                      </a:cubicBezTo>
                      <a:close/>
                      <a:moveTo>
                        <a:pt x="361357" y="3"/>
                      </a:moveTo>
                      <a:cubicBezTo>
                        <a:pt x="370360" y="-117"/>
                        <a:pt x="379364" y="7170"/>
                        <a:pt x="379427" y="22811"/>
                      </a:cubicBezTo>
                      <a:cubicBezTo>
                        <a:pt x="379608" y="73981"/>
                        <a:pt x="395801" y="92977"/>
                        <a:pt x="416799" y="121134"/>
                      </a:cubicBezTo>
                      <a:cubicBezTo>
                        <a:pt x="452945" y="158363"/>
                        <a:pt x="498462" y="168336"/>
                        <a:pt x="530986" y="167238"/>
                      </a:cubicBezTo>
                      <a:cubicBezTo>
                        <a:pt x="549400" y="166950"/>
                        <a:pt x="557131" y="203036"/>
                        <a:pt x="528863" y="205554"/>
                      </a:cubicBezTo>
                      <a:cubicBezTo>
                        <a:pt x="486854" y="205743"/>
                        <a:pt x="443561" y="201449"/>
                        <a:pt x="395749" y="150171"/>
                      </a:cubicBezTo>
                      <a:cubicBezTo>
                        <a:pt x="351991" y="102452"/>
                        <a:pt x="343809" y="62263"/>
                        <a:pt x="342870" y="38961"/>
                      </a:cubicBezTo>
                      <a:cubicBezTo>
                        <a:pt x="342557" y="31194"/>
                        <a:pt x="343049" y="25303"/>
                        <a:pt x="343296" y="21634"/>
                      </a:cubicBezTo>
                      <a:cubicBezTo>
                        <a:pt x="343354" y="7649"/>
                        <a:pt x="352355" y="122"/>
                        <a:pt x="361357" y="3"/>
                      </a:cubicBezTo>
                      <a:close/>
                    </a:path>
                  </a:pathLst>
                </a:custGeom>
                <a:solidFill>
                  <a:srgbClr val="0072C6"/>
                </a:solidFill>
                <a:ln w="25400" cap="flat" cmpd="sng" algn="ctr">
                  <a:noFill/>
                  <a:prstDash val="solid"/>
                </a:ln>
                <a:effectLst/>
              </p:spPr>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32316"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smtClean="0">
                    <a:ln>
                      <a:noFill/>
                    </a:ln>
                    <a:solidFill>
                      <a:srgbClr val="FFFFFF"/>
                    </a:solidFill>
                    <a:effectLst/>
                    <a:uLnTx/>
                    <a:uFillTx/>
                    <a:latin typeface="Segoe UI"/>
                    <a:ea typeface="+mn-ea"/>
                    <a:cs typeface="+mn-cs"/>
                  </a:endParaRPr>
                </a:p>
              </p:txBody>
            </p:sp>
            <p:sp>
              <p:nvSpPr>
                <p:cNvPr id="30" name="Freeform 29"/>
                <p:cNvSpPr/>
                <p:nvPr/>
              </p:nvSpPr>
              <p:spPr>
                <a:xfrm>
                  <a:off x="6850743" y="1262092"/>
                  <a:ext cx="3098307" cy="1816880"/>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0072C6"/>
                </a:solidFill>
                <a:ln w="9525"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smtClean="0">
                    <a:ln>
                      <a:noFill/>
                    </a:ln>
                    <a:solidFill>
                      <a:prstClr val="white"/>
                    </a:solidFill>
                    <a:effectLst/>
                    <a:uLnTx/>
                    <a:uFillTx/>
                    <a:latin typeface="Segoe UI"/>
                    <a:ea typeface="+mn-ea"/>
                    <a:cs typeface="+mn-cs"/>
                  </a:endParaRPr>
                </a:p>
              </p:txBody>
            </p:sp>
            <p:sp>
              <p:nvSpPr>
                <p:cNvPr id="32" name="Rectangle 79"/>
                <p:cNvSpPr/>
                <p:nvPr/>
              </p:nvSpPr>
              <p:spPr>
                <a:xfrm>
                  <a:off x="6247152" y="3884733"/>
                  <a:ext cx="1001630" cy="1697777"/>
                </a:xfrm>
                <a:custGeom>
                  <a:avLst/>
                  <a:gdLst/>
                  <a:ahLst/>
                  <a:cxnLst/>
                  <a:rect l="l" t="t" r="r" b="b"/>
                  <a:pathLst>
                    <a:path w="1407298" h="2385394">
                      <a:moveTo>
                        <a:pt x="703650" y="2179220"/>
                      </a:moveTo>
                      <a:cubicBezTo>
                        <a:pt x="660028" y="2179220"/>
                        <a:pt x="624666" y="2214582"/>
                        <a:pt x="624666" y="2258204"/>
                      </a:cubicBezTo>
                      <a:cubicBezTo>
                        <a:pt x="624666" y="2301826"/>
                        <a:pt x="660028" y="2337188"/>
                        <a:pt x="703650" y="2337188"/>
                      </a:cubicBezTo>
                      <a:cubicBezTo>
                        <a:pt x="747272" y="2337188"/>
                        <a:pt x="782634" y="2301826"/>
                        <a:pt x="782634" y="2258204"/>
                      </a:cubicBezTo>
                      <a:cubicBezTo>
                        <a:pt x="782634" y="2214582"/>
                        <a:pt x="747272" y="2179220"/>
                        <a:pt x="703650" y="2179220"/>
                      </a:cubicBezTo>
                      <a:close/>
                      <a:moveTo>
                        <a:pt x="177553" y="179867"/>
                      </a:moveTo>
                      <a:lnTo>
                        <a:pt x="172551" y="180877"/>
                      </a:lnTo>
                      <a:lnTo>
                        <a:pt x="165667" y="180877"/>
                      </a:lnTo>
                      <a:cubicBezTo>
                        <a:pt x="144630" y="180877"/>
                        <a:pt x="127577" y="197930"/>
                        <a:pt x="127577" y="218967"/>
                      </a:cubicBezTo>
                      <a:lnTo>
                        <a:pt x="127577" y="2097793"/>
                      </a:lnTo>
                      <a:cubicBezTo>
                        <a:pt x="127577" y="2118830"/>
                        <a:pt x="144630" y="2135883"/>
                        <a:pt x="165667" y="2135883"/>
                      </a:cubicBezTo>
                      <a:lnTo>
                        <a:pt x="1241631" y="2135883"/>
                      </a:lnTo>
                      <a:cubicBezTo>
                        <a:pt x="1262668" y="2135883"/>
                        <a:pt x="1279721" y="2118830"/>
                        <a:pt x="1279721" y="2097793"/>
                      </a:cubicBezTo>
                      <a:lnTo>
                        <a:pt x="1279721" y="218967"/>
                      </a:lnTo>
                      <a:cubicBezTo>
                        <a:pt x="1279721" y="197930"/>
                        <a:pt x="1262668" y="180877"/>
                        <a:pt x="1241631" y="180877"/>
                      </a:cubicBezTo>
                      <a:lnTo>
                        <a:pt x="1234749" y="180877"/>
                      </a:lnTo>
                      <a:cubicBezTo>
                        <a:pt x="1233161" y="179963"/>
                        <a:pt x="1231465" y="179867"/>
                        <a:pt x="1229746" y="179867"/>
                      </a:cubicBezTo>
                      <a:close/>
                      <a:moveTo>
                        <a:pt x="602415" y="56498"/>
                      </a:moveTo>
                      <a:cubicBezTo>
                        <a:pt x="588290" y="56498"/>
                        <a:pt x="576839" y="67949"/>
                        <a:pt x="576839" y="82074"/>
                      </a:cubicBezTo>
                      <a:cubicBezTo>
                        <a:pt x="576839" y="96199"/>
                        <a:pt x="588290" y="107650"/>
                        <a:pt x="602415" y="107650"/>
                      </a:cubicBezTo>
                      <a:lnTo>
                        <a:pt x="804884" y="107650"/>
                      </a:lnTo>
                      <a:cubicBezTo>
                        <a:pt x="819009" y="107650"/>
                        <a:pt x="830460" y="96199"/>
                        <a:pt x="830460" y="82074"/>
                      </a:cubicBezTo>
                      <a:cubicBezTo>
                        <a:pt x="830460" y="67949"/>
                        <a:pt x="819009" y="56498"/>
                        <a:pt x="804884" y="56498"/>
                      </a:cubicBezTo>
                      <a:close/>
                      <a:moveTo>
                        <a:pt x="76685" y="0"/>
                      </a:moveTo>
                      <a:lnTo>
                        <a:pt x="1330614" y="0"/>
                      </a:lnTo>
                      <a:cubicBezTo>
                        <a:pt x="1372966" y="0"/>
                        <a:pt x="1407298" y="34333"/>
                        <a:pt x="1407298" y="76684"/>
                      </a:cubicBezTo>
                      <a:lnTo>
                        <a:pt x="1407298" y="1757263"/>
                      </a:lnTo>
                      <a:lnTo>
                        <a:pt x="1407298" y="1766789"/>
                      </a:lnTo>
                      <a:lnTo>
                        <a:pt x="1407298" y="2308710"/>
                      </a:lnTo>
                      <a:cubicBezTo>
                        <a:pt x="1407298" y="2351061"/>
                        <a:pt x="1372966" y="2385394"/>
                        <a:pt x="1330614" y="2385394"/>
                      </a:cubicBezTo>
                      <a:lnTo>
                        <a:pt x="76685" y="2385394"/>
                      </a:lnTo>
                      <a:cubicBezTo>
                        <a:pt x="34333" y="2385394"/>
                        <a:pt x="0" y="2351061"/>
                        <a:pt x="0" y="2308710"/>
                      </a:cubicBezTo>
                      <a:lnTo>
                        <a:pt x="0" y="1766789"/>
                      </a:lnTo>
                      <a:lnTo>
                        <a:pt x="0" y="1757263"/>
                      </a:lnTo>
                      <a:lnTo>
                        <a:pt x="0" y="76684"/>
                      </a:lnTo>
                      <a:cubicBezTo>
                        <a:pt x="0" y="34333"/>
                        <a:pt x="34333" y="0"/>
                        <a:pt x="76685" y="0"/>
                      </a:cubicBezTo>
                      <a:close/>
                    </a:path>
                  </a:pathLst>
                </a:custGeom>
                <a:solidFill>
                  <a:srgbClr val="0072C6"/>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316"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dirty="0" smtClean="0">
                    <a:ln>
                      <a:noFill/>
                    </a:ln>
                    <a:solidFill>
                      <a:srgbClr val="FFFFFF"/>
                    </a:solidFill>
                    <a:effectLst/>
                    <a:uLnTx/>
                    <a:uFillTx/>
                    <a:latin typeface="Segoe UI"/>
                    <a:ea typeface="+mn-ea"/>
                    <a:cs typeface="+mn-cs"/>
                  </a:endParaRPr>
                </a:p>
              </p:txBody>
            </p:sp>
            <p:sp>
              <p:nvSpPr>
                <p:cNvPr id="35" name="Rectangle 79"/>
                <p:cNvSpPr/>
                <p:nvPr/>
              </p:nvSpPr>
              <p:spPr>
                <a:xfrm>
                  <a:off x="9895654" y="3879680"/>
                  <a:ext cx="981822" cy="1664208"/>
                </a:xfrm>
                <a:custGeom>
                  <a:avLst/>
                  <a:gdLst/>
                  <a:ahLst/>
                  <a:cxnLst/>
                  <a:rect l="l" t="t" r="r" b="b"/>
                  <a:pathLst>
                    <a:path w="1407298" h="2385394">
                      <a:moveTo>
                        <a:pt x="703650" y="2179220"/>
                      </a:moveTo>
                      <a:cubicBezTo>
                        <a:pt x="660028" y="2179220"/>
                        <a:pt x="624666" y="2214582"/>
                        <a:pt x="624666" y="2258204"/>
                      </a:cubicBezTo>
                      <a:cubicBezTo>
                        <a:pt x="624666" y="2301826"/>
                        <a:pt x="660028" y="2337188"/>
                        <a:pt x="703650" y="2337188"/>
                      </a:cubicBezTo>
                      <a:cubicBezTo>
                        <a:pt x="747272" y="2337188"/>
                        <a:pt x="782634" y="2301826"/>
                        <a:pt x="782634" y="2258204"/>
                      </a:cubicBezTo>
                      <a:cubicBezTo>
                        <a:pt x="782634" y="2214582"/>
                        <a:pt x="747272" y="2179220"/>
                        <a:pt x="703650" y="2179220"/>
                      </a:cubicBezTo>
                      <a:close/>
                      <a:moveTo>
                        <a:pt x="177553" y="179867"/>
                      </a:moveTo>
                      <a:lnTo>
                        <a:pt x="172551" y="180877"/>
                      </a:lnTo>
                      <a:lnTo>
                        <a:pt x="165667" y="180877"/>
                      </a:lnTo>
                      <a:cubicBezTo>
                        <a:pt x="144630" y="180877"/>
                        <a:pt x="127577" y="197930"/>
                        <a:pt x="127577" y="218967"/>
                      </a:cubicBezTo>
                      <a:lnTo>
                        <a:pt x="127577" y="2097793"/>
                      </a:lnTo>
                      <a:cubicBezTo>
                        <a:pt x="127577" y="2118830"/>
                        <a:pt x="144630" y="2135883"/>
                        <a:pt x="165667" y="2135883"/>
                      </a:cubicBezTo>
                      <a:lnTo>
                        <a:pt x="1241631" y="2135883"/>
                      </a:lnTo>
                      <a:cubicBezTo>
                        <a:pt x="1262668" y="2135883"/>
                        <a:pt x="1279721" y="2118830"/>
                        <a:pt x="1279721" y="2097793"/>
                      </a:cubicBezTo>
                      <a:lnTo>
                        <a:pt x="1279721" y="218967"/>
                      </a:lnTo>
                      <a:cubicBezTo>
                        <a:pt x="1279721" y="197930"/>
                        <a:pt x="1262668" y="180877"/>
                        <a:pt x="1241631" y="180877"/>
                      </a:cubicBezTo>
                      <a:lnTo>
                        <a:pt x="1234749" y="180877"/>
                      </a:lnTo>
                      <a:cubicBezTo>
                        <a:pt x="1233161" y="179963"/>
                        <a:pt x="1231465" y="179867"/>
                        <a:pt x="1229746" y="179867"/>
                      </a:cubicBezTo>
                      <a:close/>
                      <a:moveTo>
                        <a:pt x="602415" y="56498"/>
                      </a:moveTo>
                      <a:cubicBezTo>
                        <a:pt x="588290" y="56498"/>
                        <a:pt x="576839" y="67949"/>
                        <a:pt x="576839" y="82074"/>
                      </a:cubicBezTo>
                      <a:cubicBezTo>
                        <a:pt x="576839" y="96199"/>
                        <a:pt x="588290" y="107650"/>
                        <a:pt x="602415" y="107650"/>
                      </a:cubicBezTo>
                      <a:lnTo>
                        <a:pt x="804884" y="107650"/>
                      </a:lnTo>
                      <a:cubicBezTo>
                        <a:pt x="819009" y="107650"/>
                        <a:pt x="830460" y="96199"/>
                        <a:pt x="830460" y="82074"/>
                      </a:cubicBezTo>
                      <a:cubicBezTo>
                        <a:pt x="830460" y="67949"/>
                        <a:pt x="819009" y="56498"/>
                        <a:pt x="804884" y="56498"/>
                      </a:cubicBezTo>
                      <a:close/>
                      <a:moveTo>
                        <a:pt x="76685" y="0"/>
                      </a:moveTo>
                      <a:lnTo>
                        <a:pt x="1330614" y="0"/>
                      </a:lnTo>
                      <a:cubicBezTo>
                        <a:pt x="1372966" y="0"/>
                        <a:pt x="1407298" y="34333"/>
                        <a:pt x="1407298" y="76684"/>
                      </a:cubicBezTo>
                      <a:lnTo>
                        <a:pt x="1407298" y="1757263"/>
                      </a:lnTo>
                      <a:lnTo>
                        <a:pt x="1407298" y="1766789"/>
                      </a:lnTo>
                      <a:lnTo>
                        <a:pt x="1407298" y="2308710"/>
                      </a:lnTo>
                      <a:cubicBezTo>
                        <a:pt x="1407298" y="2351061"/>
                        <a:pt x="1372966" y="2385394"/>
                        <a:pt x="1330614" y="2385394"/>
                      </a:cubicBezTo>
                      <a:lnTo>
                        <a:pt x="76685" y="2385394"/>
                      </a:lnTo>
                      <a:cubicBezTo>
                        <a:pt x="34333" y="2385394"/>
                        <a:pt x="0" y="2351061"/>
                        <a:pt x="0" y="2308710"/>
                      </a:cubicBezTo>
                      <a:lnTo>
                        <a:pt x="0" y="1766789"/>
                      </a:lnTo>
                      <a:lnTo>
                        <a:pt x="0" y="1757263"/>
                      </a:lnTo>
                      <a:lnTo>
                        <a:pt x="0" y="76684"/>
                      </a:lnTo>
                      <a:cubicBezTo>
                        <a:pt x="0" y="34333"/>
                        <a:pt x="34333" y="0"/>
                        <a:pt x="76685" y="0"/>
                      </a:cubicBezTo>
                      <a:close/>
                    </a:path>
                  </a:pathLst>
                </a:custGeom>
                <a:solidFill>
                  <a:srgbClr val="68217A"/>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7" name="Group 36"/>
                <p:cNvGrpSpPr/>
                <p:nvPr/>
              </p:nvGrpSpPr>
              <p:grpSpPr>
                <a:xfrm rot="17515943">
                  <a:off x="6424305" y="5026760"/>
                  <a:ext cx="1001773" cy="846036"/>
                  <a:chOff x="5449638" y="4347825"/>
                  <a:chExt cx="581309" cy="490938"/>
                </a:xfrm>
              </p:grpSpPr>
              <p:sp>
                <p:nvSpPr>
                  <p:cNvPr id="47" name="Freeform 7"/>
                  <p:cNvSpPr>
                    <a:spLocks/>
                  </p:cNvSpPr>
                  <p:nvPr/>
                </p:nvSpPr>
                <p:spPr bwMode="auto">
                  <a:xfrm rot="350675" flipH="1">
                    <a:off x="5449638" y="4533307"/>
                    <a:ext cx="300336" cy="305456"/>
                  </a:xfrm>
                  <a:custGeom>
                    <a:avLst/>
                    <a:gdLst>
                      <a:gd name="T0" fmla="*/ 176 w 176"/>
                      <a:gd name="T1" fmla="*/ 84 h 179"/>
                      <a:gd name="T2" fmla="*/ 81 w 176"/>
                      <a:gd name="T3" fmla="*/ 179 h 179"/>
                      <a:gd name="T4" fmla="*/ 0 w 176"/>
                      <a:gd name="T5" fmla="*/ 95 h 179"/>
                      <a:gd name="T6" fmla="*/ 94 w 176"/>
                      <a:gd name="T7" fmla="*/ 0 h 179"/>
                      <a:gd name="T8" fmla="*/ 176 w 176"/>
                      <a:gd name="T9" fmla="*/ 84 h 179"/>
                    </a:gdLst>
                    <a:ahLst/>
                    <a:cxnLst>
                      <a:cxn ang="0">
                        <a:pos x="T0" y="T1"/>
                      </a:cxn>
                      <a:cxn ang="0">
                        <a:pos x="T2" y="T3"/>
                      </a:cxn>
                      <a:cxn ang="0">
                        <a:pos x="T4" y="T5"/>
                      </a:cxn>
                      <a:cxn ang="0">
                        <a:pos x="T6" y="T7"/>
                      </a:cxn>
                      <a:cxn ang="0">
                        <a:pos x="T8" y="T9"/>
                      </a:cxn>
                    </a:cxnLst>
                    <a:rect l="0" t="0" r="r" b="b"/>
                    <a:pathLst>
                      <a:path w="176" h="179">
                        <a:moveTo>
                          <a:pt x="176" y="84"/>
                        </a:moveTo>
                        <a:lnTo>
                          <a:pt x="81" y="179"/>
                        </a:lnTo>
                        <a:lnTo>
                          <a:pt x="0" y="95"/>
                        </a:lnTo>
                        <a:lnTo>
                          <a:pt x="94" y="0"/>
                        </a:lnTo>
                        <a:lnTo>
                          <a:pt x="176" y="84"/>
                        </a:lnTo>
                        <a:close/>
                      </a:path>
                    </a:pathLst>
                  </a:custGeom>
                  <a:solidFill>
                    <a:srgbClr val="44235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316"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dirty="0" smtClean="0">
                      <a:ln>
                        <a:noFill/>
                      </a:ln>
                      <a:solidFill>
                        <a:srgbClr val="000000"/>
                      </a:solidFill>
                      <a:effectLst/>
                      <a:uLnTx/>
                      <a:uFillTx/>
                    </a:endParaRPr>
                  </a:p>
                </p:txBody>
              </p:sp>
              <p:sp>
                <p:nvSpPr>
                  <p:cNvPr id="48" name="Freeform 8"/>
                  <p:cNvSpPr>
                    <a:spLocks/>
                  </p:cNvSpPr>
                  <p:nvPr/>
                </p:nvSpPr>
                <p:spPr bwMode="auto">
                  <a:xfrm rot="350675" flipH="1">
                    <a:off x="5631637" y="4347825"/>
                    <a:ext cx="399310" cy="342998"/>
                  </a:xfrm>
                  <a:custGeom>
                    <a:avLst/>
                    <a:gdLst>
                      <a:gd name="T0" fmla="*/ 137 w 198"/>
                      <a:gd name="T1" fmla="*/ 30 h 170"/>
                      <a:gd name="T2" fmla="*/ 91 w 198"/>
                      <a:gd name="T3" fmla="*/ 23 h 170"/>
                      <a:gd name="T4" fmla="*/ 91 w 198"/>
                      <a:gd name="T5" fmla="*/ 23 h 170"/>
                      <a:gd name="T6" fmla="*/ 90 w 198"/>
                      <a:gd name="T7" fmla="*/ 23 h 170"/>
                      <a:gd name="T8" fmla="*/ 87 w 198"/>
                      <a:gd name="T9" fmla="*/ 26 h 170"/>
                      <a:gd name="T10" fmla="*/ 60 w 198"/>
                      <a:gd name="T11" fmla="*/ 43 h 170"/>
                      <a:gd name="T12" fmla="*/ 23 w 198"/>
                      <a:gd name="T13" fmla="*/ 6 h 170"/>
                      <a:gd name="T14" fmla="*/ 5 w 198"/>
                      <a:gd name="T15" fmla="*/ 5 h 170"/>
                      <a:gd name="T16" fmla="*/ 6 w 198"/>
                      <a:gd name="T17" fmla="*/ 23 h 170"/>
                      <a:gd name="T18" fmla="*/ 62 w 198"/>
                      <a:gd name="T19" fmla="*/ 80 h 170"/>
                      <a:gd name="T20" fmla="*/ 63 w 198"/>
                      <a:gd name="T21" fmla="*/ 114 h 170"/>
                      <a:gd name="T22" fmla="*/ 101 w 198"/>
                      <a:gd name="T23" fmla="*/ 152 h 170"/>
                      <a:gd name="T24" fmla="*/ 125 w 198"/>
                      <a:gd name="T25" fmla="*/ 152 h 170"/>
                      <a:gd name="T26" fmla="*/ 143 w 198"/>
                      <a:gd name="T27" fmla="*/ 170 h 170"/>
                      <a:gd name="T28" fmla="*/ 198 w 198"/>
                      <a:gd name="T29" fmla="*/ 115 h 170"/>
                      <a:gd name="T30" fmla="*/ 180 w 198"/>
                      <a:gd name="T31" fmla="*/ 97 h 170"/>
                      <a:gd name="T32" fmla="*/ 180 w 198"/>
                      <a:gd name="T33" fmla="*/ 72 h 170"/>
                      <a:gd name="T34" fmla="*/ 138 w 198"/>
                      <a:gd name="T35" fmla="*/ 31 h 170"/>
                      <a:gd name="T36" fmla="*/ 138 w 198"/>
                      <a:gd name="T37" fmla="*/ 31 h 170"/>
                      <a:gd name="T38" fmla="*/ 137 w 198"/>
                      <a:gd name="T39" fmla="*/ 3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8" h="170">
                        <a:moveTo>
                          <a:pt x="137" y="30"/>
                        </a:moveTo>
                        <a:cubicBezTo>
                          <a:pt x="125" y="17"/>
                          <a:pt x="106" y="15"/>
                          <a:pt x="91" y="23"/>
                        </a:cubicBezTo>
                        <a:cubicBezTo>
                          <a:pt x="91" y="23"/>
                          <a:pt x="91" y="23"/>
                          <a:pt x="91" y="23"/>
                        </a:cubicBezTo>
                        <a:cubicBezTo>
                          <a:pt x="90" y="23"/>
                          <a:pt x="90" y="23"/>
                          <a:pt x="90" y="23"/>
                        </a:cubicBezTo>
                        <a:cubicBezTo>
                          <a:pt x="89" y="24"/>
                          <a:pt x="88" y="25"/>
                          <a:pt x="87" y="26"/>
                        </a:cubicBezTo>
                        <a:cubicBezTo>
                          <a:pt x="60" y="43"/>
                          <a:pt x="60" y="43"/>
                          <a:pt x="60" y="43"/>
                        </a:cubicBezTo>
                        <a:cubicBezTo>
                          <a:pt x="23" y="6"/>
                          <a:pt x="23" y="6"/>
                          <a:pt x="23" y="6"/>
                        </a:cubicBezTo>
                        <a:cubicBezTo>
                          <a:pt x="18" y="1"/>
                          <a:pt x="10" y="0"/>
                          <a:pt x="5" y="5"/>
                        </a:cubicBezTo>
                        <a:cubicBezTo>
                          <a:pt x="0" y="10"/>
                          <a:pt x="0" y="18"/>
                          <a:pt x="6" y="23"/>
                        </a:cubicBezTo>
                        <a:cubicBezTo>
                          <a:pt x="62" y="80"/>
                          <a:pt x="62" y="80"/>
                          <a:pt x="62" y="80"/>
                        </a:cubicBezTo>
                        <a:cubicBezTo>
                          <a:pt x="53" y="89"/>
                          <a:pt x="54" y="104"/>
                          <a:pt x="63" y="114"/>
                        </a:cubicBezTo>
                        <a:cubicBezTo>
                          <a:pt x="101" y="152"/>
                          <a:pt x="101" y="152"/>
                          <a:pt x="101" y="152"/>
                        </a:cubicBezTo>
                        <a:cubicBezTo>
                          <a:pt x="108" y="158"/>
                          <a:pt x="119" y="158"/>
                          <a:pt x="125" y="152"/>
                        </a:cubicBezTo>
                        <a:cubicBezTo>
                          <a:pt x="143" y="170"/>
                          <a:pt x="143" y="170"/>
                          <a:pt x="143" y="170"/>
                        </a:cubicBezTo>
                        <a:cubicBezTo>
                          <a:pt x="198" y="115"/>
                          <a:pt x="198" y="115"/>
                          <a:pt x="198" y="115"/>
                        </a:cubicBezTo>
                        <a:cubicBezTo>
                          <a:pt x="180" y="97"/>
                          <a:pt x="180" y="97"/>
                          <a:pt x="180" y="97"/>
                        </a:cubicBezTo>
                        <a:cubicBezTo>
                          <a:pt x="187" y="90"/>
                          <a:pt x="187" y="79"/>
                          <a:pt x="180" y="72"/>
                        </a:cubicBezTo>
                        <a:cubicBezTo>
                          <a:pt x="138" y="31"/>
                          <a:pt x="138" y="31"/>
                          <a:pt x="138" y="31"/>
                        </a:cubicBezTo>
                        <a:cubicBezTo>
                          <a:pt x="138" y="31"/>
                          <a:pt x="138" y="31"/>
                          <a:pt x="138" y="31"/>
                        </a:cubicBezTo>
                        <a:cubicBezTo>
                          <a:pt x="138" y="30"/>
                          <a:pt x="137" y="30"/>
                          <a:pt x="137" y="30"/>
                        </a:cubicBezTo>
                        <a:close/>
                      </a:path>
                    </a:pathLst>
                  </a:custGeom>
                  <a:solidFill>
                    <a:srgbClr val="FF8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316"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dirty="0" smtClean="0">
                      <a:ln>
                        <a:noFill/>
                      </a:ln>
                      <a:solidFill>
                        <a:srgbClr val="000000"/>
                      </a:solidFill>
                      <a:effectLst/>
                      <a:uLnTx/>
                      <a:uFillTx/>
                    </a:endParaRPr>
                  </a:p>
                </p:txBody>
              </p:sp>
            </p:grpSp>
            <p:sp>
              <p:nvSpPr>
                <p:cNvPr id="38" name="Freeform 37"/>
                <p:cNvSpPr/>
                <p:nvPr/>
              </p:nvSpPr>
              <p:spPr>
                <a:xfrm rot="18850785">
                  <a:off x="8280114" y="3261407"/>
                  <a:ext cx="549546" cy="529951"/>
                </a:xfrm>
                <a:custGeom>
                  <a:avLst/>
                  <a:gdLst>
                    <a:gd name="connsiteX0" fmla="*/ 147901 w 547492"/>
                    <a:gd name="connsiteY0" fmla="*/ 159 h 547027"/>
                    <a:gd name="connsiteX1" fmla="*/ 164790 w 547492"/>
                    <a:gd name="connsiteY1" fmla="*/ 17385 h 547027"/>
                    <a:gd name="connsiteX2" fmla="*/ 257543 w 547492"/>
                    <a:gd name="connsiteY2" fmla="*/ 261873 h 547027"/>
                    <a:gd name="connsiteX3" fmla="*/ 531263 w 547492"/>
                    <a:gd name="connsiteY3" fmla="*/ 383096 h 547027"/>
                    <a:gd name="connsiteX4" fmla="*/ 533050 w 547492"/>
                    <a:gd name="connsiteY4" fmla="*/ 419093 h 547027"/>
                    <a:gd name="connsiteX5" fmla="*/ 234902 w 547492"/>
                    <a:gd name="connsiteY5" fmla="*/ 291210 h 547027"/>
                    <a:gd name="connsiteX6" fmla="*/ 130118 w 547492"/>
                    <a:gd name="connsiteY6" fmla="*/ 16219 h 547027"/>
                    <a:gd name="connsiteX7" fmla="*/ 147901 w 547492"/>
                    <a:gd name="connsiteY7" fmla="*/ 159 h 547027"/>
                    <a:gd name="connsiteX8" fmla="*/ 258593 w 547492"/>
                    <a:gd name="connsiteY8" fmla="*/ 83 h 547027"/>
                    <a:gd name="connsiteX9" fmla="*/ 276870 w 547492"/>
                    <a:gd name="connsiteY9" fmla="*/ 19473 h 547027"/>
                    <a:gd name="connsiteX10" fmla="*/ 342477 w 547492"/>
                    <a:gd name="connsiteY10" fmla="*/ 185830 h 547027"/>
                    <a:gd name="connsiteX11" fmla="*/ 529533 w 547492"/>
                    <a:gd name="connsiteY11" fmla="*/ 271534 h 547027"/>
                    <a:gd name="connsiteX12" fmla="*/ 529010 w 547492"/>
                    <a:gd name="connsiteY12" fmla="*/ 308769 h 547027"/>
                    <a:gd name="connsiteX13" fmla="*/ 319908 w 547492"/>
                    <a:gd name="connsiteY13" fmla="*/ 218161 h 547027"/>
                    <a:gd name="connsiteX14" fmla="*/ 241025 w 547492"/>
                    <a:gd name="connsiteY14" fmla="*/ 18615 h 547027"/>
                    <a:gd name="connsiteX15" fmla="*/ 258593 w 547492"/>
                    <a:gd name="connsiteY15" fmla="*/ 83 h 547027"/>
                    <a:gd name="connsiteX16" fmla="*/ 18843 w 547492"/>
                    <a:gd name="connsiteY16" fmla="*/ 10 h 547027"/>
                    <a:gd name="connsiteX17" fmla="*/ 37685 w 547492"/>
                    <a:gd name="connsiteY17" fmla="*/ 16302 h 547027"/>
                    <a:gd name="connsiteX18" fmla="*/ 164891 w 547492"/>
                    <a:gd name="connsiteY18" fmla="*/ 345340 h 547027"/>
                    <a:gd name="connsiteX19" fmla="*/ 531167 w 547492"/>
                    <a:gd name="connsiteY19" fmla="*/ 510082 h 547027"/>
                    <a:gd name="connsiteX20" fmla="*/ 528039 w 547492"/>
                    <a:gd name="connsiteY20" fmla="*/ 547022 h 547027"/>
                    <a:gd name="connsiteX21" fmla="*/ 139867 w 547492"/>
                    <a:gd name="connsiteY21" fmla="*/ 375130 h 547027"/>
                    <a:gd name="connsiteX22" fmla="*/ 0 w 547492"/>
                    <a:gd name="connsiteY22" fmla="*/ 15557 h 547027"/>
                    <a:gd name="connsiteX23" fmla="*/ 18843 w 547492"/>
                    <a:gd name="connsiteY23" fmla="*/ 10 h 547027"/>
                    <a:gd name="connsiteX24" fmla="*/ 361357 w 547492"/>
                    <a:gd name="connsiteY24" fmla="*/ 3 h 547027"/>
                    <a:gd name="connsiteX25" fmla="*/ 379427 w 547492"/>
                    <a:gd name="connsiteY25" fmla="*/ 22811 h 547027"/>
                    <a:gd name="connsiteX26" fmla="*/ 416799 w 547492"/>
                    <a:gd name="connsiteY26" fmla="*/ 121134 h 547027"/>
                    <a:gd name="connsiteX27" fmla="*/ 530986 w 547492"/>
                    <a:gd name="connsiteY27" fmla="*/ 167238 h 547027"/>
                    <a:gd name="connsiteX28" fmla="*/ 528863 w 547492"/>
                    <a:gd name="connsiteY28" fmla="*/ 205554 h 547027"/>
                    <a:gd name="connsiteX29" fmla="*/ 395749 w 547492"/>
                    <a:gd name="connsiteY29" fmla="*/ 150171 h 547027"/>
                    <a:gd name="connsiteX30" fmla="*/ 342870 w 547492"/>
                    <a:gd name="connsiteY30" fmla="*/ 38961 h 547027"/>
                    <a:gd name="connsiteX31" fmla="*/ 343296 w 547492"/>
                    <a:gd name="connsiteY31" fmla="*/ 21634 h 547027"/>
                    <a:gd name="connsiteX32" fmla="*/ 361357 w 547492"/>
                    <a:gd name="connsiteY32" fmla="*/ 3 h 547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547492" h="547027">
                      <a:moveTo>
                        <a:pt x="147901" y="159"/>
                      </a:moveTo>
                      <a:cubicBezTo>
                        <a:pt x="156233" y="1247"/>
                        <a:pt x="164417" y="7883"/>
                        <a:pt x="164790" y="17385"/>
                      </a:cubicBezTo>
                      <a:cubicBezTo>
                        <a:pt x="163504" y="123250"/>
                        <a:pt x="210481" y="208637"/>
                        <a:pt x="257543" y="261873"/>
                      </a:cubicBezTo>
                      <a:cubicBezTo>
                        <a:pt x="329801" y="345790"/>
                        <a:pt x="450493" y="385299"/>
                        <a:pt x="531263" y="383096"/>
                      </a:cubicBezTo>
                      <a:cubicBezTo>
                        <a:pt x="554755" y="384136"/>
                        <a:pt x="550415" y="419245"/>
                        <a:pt x="533050" y="419093"/>
                      </a:cubicBezTo>
                      <a:cubicBezTo>
                        <a:pt x="450691" y="419472"/>
                        <a:pt x="338455" y="398909"/>
                        <a:pt x="234902" y="291210"/>
                      </a:cubicBezTo>
                      <a:cubicBezTo>
                        <a:pt x="193363" y="241274"/>
                        <a:pt x="128927" y="167539"/>
                        <a:pt x="130118" y="16219"/>
                      </a:cubicBezTo>
                      <a:cubicBezTo>
                        <a:pt x="131087" y="3530"/>
                        <a:pt x="139569" y="-930"/>
                        <a:pt x="147901" y="159"/>
                      </a:cubicBezTo>
                      <a:close/>
                      <a:moveTo>
                        <a:pt x="258593" y="83"/>
                      </a:moveTo>
                      <a:cubicBezTo>
                        <a:pt x="267391" y="-753"/>
                        <a:pt x="276308" y="4730"/>
                        <a:pt x="276870" y="19473"/>
                      </a:cubicBezTo>
                      <a:cubicBezTo>
                        <a:pt x="277152" y="95057"/>
                        <a:pt x="309784" y="144239"/>
                        <a:pt x="342477" y="185830"/>
                      </a:cubicBezTo>
                      <a:cubicBezTo>
                        <a:pt x="395970" y="243463"/>
                        <a:pt x="472402" y="273156"/>
                        <a:pt x="529533" y="271534"/>
                      </a:cubicBezTo>
                      <a:cubicBezTo>
                        <a:pt x="554491" y="271108"/>
                        <a:pt x="552612" y="307689"/>
                        <a:pt x="529010" y="308769"/>
                      </a:cubicBezTo>
                      <a:cubicBezTo>
                        <a:pt x="463605" y="309049"/>
                        <a:pt x="394346" y="293904"/>
                        <a:pt x="319908" y="218161"/>
                      </a:cubicBezTo>
                      <a:cubicBezTo>
                        <a:pt x="290526" y="181384"/>
                        <a:pt x="240182" y="130058"/>
                        <a:pt x="241025" y="18615"/>
                      </a:cubicBezTo>
                      <a:cubicBezTo>
                        <a:pt x="241115" y="8077"/>
                        <a:pt x="249795" y="920"/>
                        <a:pt x="258593" y="83"/>
                      </a:cubicBezTo>
                      <a:close/>
                      <a:moveTo>
                        <a:pt x="18843" y="10"/>
                      </a:moveTo>
                      <a:cubicBezTo>
                        <a:pt x="28214" y="265"/>
                        <a:pt x="37586" y="5826"/>
                        <a:pt x="37685" y="16302"/>
                      </a:cubicBezTo>
                      <a:cubicBezTo>
                        <a:pt x="35997" y="154729"/>
                        <a:pt x="103125" y="275729"/>
                        <a:pt x="164891" y="345340"/>
                      </a:cubicBezTo>
                      <a:cubicBezTo>
                        <a:pt x="259725" y="455069"/>
                        <a:pt x="425162" y="512962"/>
                        <a:pt x="531167" y="510082"/>
                      </a:cubicBezTo>
                      <a:cubicBezTo>
                        <a:pt x="555744" y="509883"/>
                        <a:pt x="550829" y="547221"/>
                        <a:pt x="528039" y="547022"/>
                      </a:cubicBezTo>
                      <a:cubicBezTo>
                        <a:pt x="419949" y="547519"/>
                        <a:pt x="273429" y="516735"/>
                        <a:pt x="139867" y="375130"/>
                      </a:cubicBezTo>
                      <a:cubicBezTo>
                        <a:pt x="85350" y="312173"/>
                        <a:pt x="0" y="200955"/>
                        <a:pt x="0" y="15557"/>
                      </a:cubicBezTo>
                      <a:cubicBezTo>
                        <a:pt x="99" y="4808"/>
                        <a:pt x="9471" y="-244"/>
                        <a:pt x="18843" y="10"/>
                      </a:cubicBezTo>
                      <a:close/>
                      <a:moveTo>
                        <a:pt x="361357" y="3"/>
                      </a:moveTo>
                      <a:cubicBezTo>
                        <a:pt x="370360" y="-117"/>
                        <a:pt x="379364" y="7170"/>
                        <a:pt x="379427" y="22811"/>
                      </a:cubicBezTo>
                      <a:cubicBezTo>
                        <a:pt x="379608" y="73981"/>
                        <a:pt x="395801" y="92977"/>
                        <a:pt x="416799" y="121134"/>
                      </a:cubicBezTo>
                      <a:cubicBezTo>
                        <a:pt x="452945" y="158363"/>
                        <a:pt x="498462" y="168336"/>
                        <a:pt x="530986" y="167238"/>
                      </a:cubicBezTo>
                      <a:cubicBezTo>
                        <a:pt x="549400" y="166950"/>
                        <a:pt x="557131" y="203036"/>
                        <a:pt x="528863" y="205554"/>
                      </a:cubicBezTo>
                      <a:cubicBezTo>
                        <a:pt x="486854" y="205743"/>
                        <a:pt x="443561" y="201449"/>
                        <a:pt x="395749" y="150171"/>
                      </a:cubicBezTo>
                      <a:cubicBezTo>
                        <a:pt x="351991" y="102452"/>
                        <a:pt x="343809" y="62263"/>
                        <a:pt x="342870" y="38961"/>
                      </a:cubicBezTo>
                      <a:cubicBezTo>
                        <a:pt x="342557" y="31194"/>
                        <a:pt x="343049" y="25303"/>
                        <a:pt x="343296" y="21634"/>
                      </a:cubicBezTo>
                      <a:cubicBezTo>
                        <a:pt x="343354" y="7649"/>
                        <a:pt x="352355" y="122"/>
                        <a:pt x="361357" y="3"/>
                      </a:cubicBezTo>
                      <a:close/>
                    </a:path>
                  </a:pathLst>
                </a:custGeom>
                <a:solidFill>
                  <a:srgbClr val="0072C6"/>
                </a:solidFill>
                <a:ln w="25400" cap="flat" cmpd="sng" algn="ctr">
                  <a:noFill/>
                  <a:prstDash val="solid"/>
                </a:ln>
                <a:effectLst/>
              </p:spPr>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32316"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smtClean="0">
                    <a:ln>
                      <a:noFill/>
                    </a:ln>
                    <a:solidFill>
                      <a:srgbClr val="FFFFFF"/>
                    </a:solidFill>
                    <a:effectLst/>
                    <a:uLnTx/>
                    <a:uFillTx/>
                    <a:latin typeface="Segoe UI"/>
                    <a:ea typeface="+mn-ea"/>
                    <a:cs typeface="+mn-cs"/>
                  </a:endParaRPr>
                </a:p>
              </p:txBody>
            </p:sp>
            <p:sp>
              <p:nvSpPr>
                <p:cNvPr id="40" name="Freeform 39"/>
                <p:cNvSpPr/>
                <p:nvPr/>
              </p:nvSpPr>
              <p:spPr>
                <a:xfrm rot="16397217">
                  <a:off x="9796199" y="3113557"/>
                  <a:ext cx="549546" cy="529951"/>
                </a:xfrm>
                <a:custGeom>
                  <a:avLst/>
                  <a:gdLst>
                    <a:gd name="connsiteX0" fmla="*/ 147901 w 547492"/>
                    <a:gd name="connsiteY0" fmla="*/ 159 h 547027"/>
                    <a:gd name="connsiteX1" fmla="*/ 164790 w 547492"/>
                    <a:gd name="connsiteY1" fmla="*/ 17385 h 547027"/>
                    <a:gd name="connsiteX2" fmla="*/ 257543 w 547492"/>
                    <a:gd name="connsiteY2" fmla="*/ 261873 h 547027"/>
                    <a:gd name="connsiteX3" fmla="*/ 531263 w 547492"/>
                    <a:gd name="connsiteY3" fmla="*/ 383096 h 547027"/>
                    <a:gd name="connsiteX4" fmla="*/ 533050 w 547492"/>
                    <a:gd name="connsiteY4" fmla="*/ 419093 h 547027"/>
                    <a:gd name="connsiteX5" fmla="*/ 234902 w 547492"/>
                    <a:gd name="connsiteY5" fmla="*/ 291210 h 547027"/>
                    <a:gd name="connsiteX6" fmla="*/ 130118 w 547492"/>
                    <a:gd name="connsiteY6" fmla="*/ 16219 h 547027"/>
                    <a:gd name="connsiteX7" fmla="*/ 147901 w 547492"/>
                    <a:gd name="connsiteY7" fmla="*/ 159 h 547027"/>
                    <a:gd name="connsiteX8" fmla="*/ 258593 w 547492"/>
                    <a:gd name="connsiteY8" fmla="*/ 83 h 547027"/>
                    <a:gd name="connsiteX9" fmla="*/ 276870 w 547492"/>
                    <a:gd name="connsiteY9" fmla="*/ 19473 h 547027"/>
                    <a:gd name="connsiteX10" fmla="*/ 342477 w 547492"/>
                    <a:gd name="connsiteY10" fmla="*/ 185830 h 547027"/>
                    <a:gd name="connsiteX11" fmla="*/ 529533 w 547492"/>
                    <a:gd name="connsiteY11" fmla="*/ 271534 h 547027"/>
                    <a:gd name="connsiteX12" fmla="*/ 529010 w 547492"/>
                    <a:gd name="connsiteY12" fmla="*/ 308769 h 547027"/>
                    <a:gd name="connsiteX13" fmla="*/ 319908 w 547492"/>
                    <a:gd name="connsiteY13" fmla="*/ 218161 h 547027"/>
                    <a:gd name="connsiteX14" fmla="*/ 241025 w 547492"/>
                    <a:gd name="connsiteY14" fmla="*/ 18615 h 547027"/>
                    <a:gd name="connsiteX15" fmla="*/ 258593 w 547492"/>
                    <a:gd name="connsiteY15" fmla="*/ 83 h 547027"/>
                    <a:gd name="connsiteX16" fmla="*/ 18843 w 547492"/>
                    <a:gd name="connsiteY16" fmla="*/ 10 h 547027"/>
                    <a:gd name="connsiteX17" fmla="*/ 37685 w 547492"/>
                    <a:gd name="connsiteY17" fmla="*/ 16302 h 547027"/>
                    <a:gd name="connsiteX18" fmla="*/ 164891 w 547492"/>
                    <a:gd name="connsiteY18" fmla="*/ 345340 h 547027"/>
                    <a:gd name="connsiteX19" fmla="*/ 531167 w 547492"/>
                    <a:gd name="connsiteY19" fmla="*/ 510082 h 547027"/>
                    <a:gd name="connsiteX20" fmla="*/ 528039 w 547492"/>
                    <a:gd name="connsiteY20" fmla="*/ 547022 h 547027"/>
                    <a:gd name="connsiteX21" fmla="*/ 139867 w 547492"/>
                    <a:gd name="connsiteY21" fmla="*/ 375130 h 547027"/>
                    <a:gd name="connsiteX22" fmla="*/ 0 w 547492"/>
                    <a:gd name="connsiteY22" fmla="*/ 15557 h 547027"/>
                    <a:gd name="connsiteX23" fmla="*/ 18843 w 547492"/>
                    <a:gd name="connsiteY23" fmla="*/ 10 h 547027"/>
                    <a:gd name="connsiteX24" fmla="*/ 361357 w 547492"/>
                    <a:gd name="connsiteY24" fmla="*/ 3 h 547027"/>
                    <a:gd name="connsiteX25" fmla="*/ 379427 w 547492"/>
                    <a:gd name="connsiteY25" fmla="*/ 22811 h 547027"/>
                    <a:gd name="connsiteX26" fmla="*/ 416799 w 547492"/>
                    <a:gd name="connsiteY26" fmla="*/ 121134 h 547027"/>
                    <a:gd name="connsiteX27" fmla="*/ 530986 w 547492"/>
                    <a:gd name="connsiteY27" fmla="*/ 167238 h 547027"/>
                    <a:gd name="connsiteX28" fmla="*/ 528863 w 547492"/>
                    <a:gd name="connsiteY28" fmla="*/ 205554 h 547027"/>
                    <a:gd name="connsiteX29" fmla="*/ 395749 w 547492"/>
                    <a:gd name="connsiteY29" fmla="*/ 150171 h 547027"/>
                    <a:gd name="connsiteX30" fmla="*/ 342870 w 547492"/>
                    <a:gd name="connsiteY30" fmla="*/ 38961 h 547027"/>
                    <a:gd name="connsiteX31" fmla="*/ 343296 w 547492"/>
                    <a:gd name="connsiteY31" fmla="*/ 21634 h 547027"/>
                    <a:gd name="connsiteX32" fmla="*/ 361357 w 547492"/>
                    <a:gd name="connsiteY32" fmla="*/ 3 h 547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547492" h="547027">
                      <a:moveTo>
                        <a:pt x="147901" y="159"/>
                      </a:moveTo>
                      <a:cubicBezTo>
                        <a:pt x="156233" y="1247"/>
                        <a:pt x="164417" y="7883"/>
                        <a:pt x="164790" y="17385"/>
                      </a:cubicBezTo>
                      <a:cubicBezTo>
                        <a:pt x="163504" y="123250"/>
                        <a:pt x="210481" y="208637"/>
                        <a:pt x="257543" y="261873"/>
                      </a:cubicBezTo>
                      <a:cubicBezTo>
                        <a:pt x="329801" y="345790"/>
                        <a:pt x="450493" y="385299"/>
                        <a:pt x="531263" y="383096"/>
                      </a:cubicBezTo>
                      <a:cubicBezTo>
                        <a:pt x="554755" y="384136"/>
                        <a:pt x="550415" y="419245"/>
                        <a:pt x="533050" y="419093"/>
                      </a:cubicBezTo>
                      <a:cubicBezTo>
                        <a:pt x="450691" y="419472"/>
                        <a:pt x="338455" y="398909"/>
                        <a:pt x="234902" y="291210"/>
                      </a:cubicBezTo>
                      <a:cubicBezTo>
                        <a:pt x="193363" y="241274"/>
                        <a:pt x="128927" y="167539"/>
                        <a:pt x="130118" y="16219"/>
                      </a:cubicBezTo>
                      <a:cubicBezTo>
                        <a:pt x="131087" y="3530"/>
                        <a:pt x="139569" y="-930"/>
                        <a:pt x="147901" y="159"/>
                      </a:cubicBezTo>
                      <a:close/>
                      <a:moveTo>
                        <a:pt x="258593" y="83"/>
                      </a:moveTo>
                      <a:cubicBezTo>
                        <a:pt x="267391" y="-753"/>
                        <a:pt x="276308" y="4730"/>
                        <a:pt x="276870" y="19473"/>
                      </a:cubicBezTo>
                      <a:cubicBezTo>
                        <a:pt x="277152" y="95057"/>
                        <a:pt x="309784" y="144239"/>
                        <a:pt x="342477" y="185830"/>
                      </a:cubicBezTo>
                      <a:cubicBezTo>
                        <a:pt x="395970" y="243463"/>
                        <a:pt x="472402" y="273156"/>
                        <a:pt x="529533" y="271534"/>
                      </a:cubicBezTo>
                      <a:cubicBezTo>
                        <a:pt x="554491" y="271108"/>
                        <a:pt x="552612" y="307689"/>
                        <a:pt x="529010" y="308769"/>
                      </a:cubicBezTo>
                      <a:cubicBezTo>
                        <a:pt x="463605" y="309049"/>
                        <a:pt x="394346" y="293904"/>
                        <a:pt x="319908" y="218161"/>
                      </a:cubicBezTo>
                      <a:cubicBezTo>
                        <a:pt x="290526" y="181384"/>
                        <a:pt x="240182" y="130058"/>
                        <a:pt x="241025" y="18615"/>
                      </a:cubicBezTo>
                      <a:cubicBezTo>
                        <a:pt x="241115" y="8077"/>
                        <a:pt x="249795" y="920"/>
                        <a:pt x="258593" y="83"/>
                      </a:cubicBezTo>
                      <a:close/>
                      <a:moveTo>
                        <a:pt x="18843" y="10"/>
                      </a:moveTo>
                      <a:cubicBezTo>
                        <a:pt x="28214" y="265"/>
                        <a:pt x="37586" y="5826"/>
                        <a:pt x="37685" y="16302"/>
                      </a:cubicBezTo>
                      <a:cubicBezTo>
                        <a:pt x="35997" y="154729"/>
                        <a:pt x="103125" y="275729"/>
                        <a:pt x="164891" y="345340"/>
                      </a:cubicBezTo>
                      <a:cubicBezTo>
                        <a:pt x="259725" y="455069"/>
                        <a:pt x="425162" y="512962"/>
                        <a:pt x="531167" y="510082"/>
                      </a:cubicBezTo>
                      <a:cubicBezTo>
                        <a:pt x="555744" y="509883"/>
                        <a:pt x="550829" y="547221"/>
                        <a:pt x="528039" y="547022"/>
                      </a:cubicBezTo>
                      <a:cubicBezTo>
                        <a:pt x="419949" y="547519"/>
                        <a:pt x="273429" y="516735"/>
                        <a:pt x="139867" y="375130"/>
                      </a:cubicBezTo>
                      <a:cubicBezTo>
                        <a:pt x="85350" y="312173"/>
                        <a:pt x="0" y="200955"/>
                        <a:pt x="0" y="15557"/>
                      </a:cubicBezTo>
                      <a:cubicBezTo>
                        <a:pt x="99" y="4808"/>
                        <a:pt x="9471" y="-244"/>
                        <a:pt x="18843" y="10"/>
                      </a:cubicBezTo>
                      <a:close/>
                      <a:moveTo>
                        <a:pt x="361357" y="3"/>
                      </a:moveTo>
                      <a:cubicBezTo>
                        <a:pt x="370360" y="-117"/>
                        <a:pt x="379364" y="7170"/>
                        <a:pt x="379427" y="22811"/>
                      </a:cubicBezTo>
                      <a:cubicBezTo>
                        <a:pt x="379608" y="73981"/>
                        <a:pt x="395801" y="92977"/>
                        <a:pt x="416799" y="121134"/>
                      </a:cubicBezTo>
                      <a:cubicBezTo>
                        <a:pt x="452945" y="158363"/>
                        <a:pt x="498462" y="168336"/>
                        <a:pt x="530986" y="167238"/>
                      </a:cubicBezTo>
                      <a:cubicBezTo>
                        <a:pt x="549400" y="166950"/>
                        <a:pt x="557131" y="203036"/>
                        <a:pt x="528863" y="205554"/>
                      </a:cubicBezTo>
                      <a:cubicBezTo>
                        <a:pt x="486854" y="205743"/>
                        <a:pt x="443561" y="201449"/>
                        <a:pt x="395749" y="150171"/>
                      </a:cubicBezTo>
                      <a:cubicBezTo>
                        <a:pt x="351991" y="102452"/>
                        <a:pt x="343809" y="62263"/>
                        <a:pt x="342870" y="38961"/>
                      </a:cubicBezTo>
                      <a:cubicBezTo>
                        <a:pt x="342557" y="31194"/>
                        <a:pt x="343049" y="25303"/>
                        <a:pt x="343296" y="21634"/>
                      </a:cubicBezTo>
                      <a:cubicBezTo>
                        <a:pt x="343354" y="7649"/>
                        <a:pt x="352355" y="122"/>
                        <a:pt x="361357" y="3"/>
                      </a:cubicBezTo>
                      <a:close/>
                    </a:path>
                  </a:pathLst>
                </a:custGeom>
                <a:solidFill>
                  <a:srgbClr val="0072C6"/>
                </a:solidFill>
                <a:ln w="25400" cap="flat" cmpd="sng" algn="ctr">
                  <a:noFill/>
                  <a:prstDash val="solid"/>
                </a:ln>
                <a:effectLst/>
              </p:spPr>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32316"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smtClean="0">
                    <a:ln>
                      <a:noFill/>
                    </a:ln>
                    <a:solidFill>
                      <a:srgbClr val="FFFFFF"/>
                    </a:solidFill>
                    <a:effectLst/>
                    <a:uLnTx/>
                    <a:uFillTx/>
                    <a:latin typeface="Segoe UI"/>
                    <a:ea typeface="+mn-ea"/>
                    <a:cs typeface="+mn-cs"/>
                  </a:endParaRPr>
                </a:p>
              </p:txBody>
            </p:sp>
            <p:pic>
              <p:nvPicPr>
                <p:cNvPr id="41" name="Picture 40"/>
                <p:cNvPicPr>
                  <a:picLocks noChangeAspect="1"/>
                </p:cNvPicPr>
                <p:nvPr/>
              </p:nvPicPr>
              <p:blipFill>
                <a:blip r:embed="rId3"/>
                <a:stretch>
                  <a:fillRect/>
                </a:stretch>
              </p:blipFill>
              <p:spPr>
                <a:xfrm>
                  <a:off x="5794214" y="895702"/>
                  <a:ext cx="2306410" cy="2306410"/>
                </a:xfrm>
                <a:prstGeom prst="rect">
                  <a:avLst/>
                </a:prstGeom>
              </p:spPr>
            </p:pic>
            <p:sp>
              <p:nvSpPr>
                <p:cNvPr id="42" name="Freeform 41"/>
                <p:cNvSpPr/>
                <p:nvPr/>
              </p:nvSpPr>
              <p:spPr bwMode="auto">
                <a:xfrm>
                  <a:off x="7514334" y="5118687"/>
                  <a:ext cx="2115769" cy="352627"/>
                </a:xfrm>
                <a:custGeom>
                  <a:avLst/>
                  <a:gdLst>
                    <a:gd name="connsiteX0" fmla="*/ 357077 w 828676"/>
                    <a:gd name="connsiteY0" fmla="*/ 60274 h 138112"/>
                    <a:gd name="connsiteX1" fmla="*/ 337209 w 828676"/>
                    <a:gd name="connsiteY1" fmla="*/ 105993 h 138112"/>
                    <a:gd name="connsiteX2" fmla="*/ 491468 w 828676"/>
                    <a:gd name="connsiteY2" fmla="*/ 105993 h 138112"/>
                    <a:gd name="connsiteX3" fmla="*/ 471600 w 828676"/>
                    <a:gd name="connsiteY3" fmla="*/ 60274 h 138112"/>
                    <a:gd name="connsiteX4" fmla="*/ 98102 w 828676"/>
                    <a:gd name="connsiteY4" fmla="*/ 0 h 138112"/>
                    <a:gd name="connsiteX5" fmla="*/ 125736 w 828676"/>
                    <a:gd name="connsiteY5" fmla="*/ 0 h 138112"/>
                    <a:gd name="connsiteX6" fmla="*/ 127522 w 828676"/>
                    <a:gd name="connsiteY6" fmla="*/ 7143 h 138112"/>
                    <a:gd name="connsiteX7" fmla="*/ 701154 w 828676"/>
                    <a:gd name="connsiteY7" fmla="*/ 7143 h 138112"/>
                    <a:gd name="connsiteX8" fmla="*/ 702940 w 828676"/>
                    <a:gd name="connsiteY8" fmla="*/ 0 h 138112"/>
                    <a:gd name="connsiteX9" fmla="*/ 730574 w 828676"/>
                    <a:gd name="connsiteY9" fmla="*/ 0 h 138112"/>
                    <a:gd name="connsiteX10" fmla="*/ 732360 w 828676"/>
                    <a:gd name="connsiteY10" fmla="*/ 7143 h 138112"/>
                    <a:gd name="connsiteX11" fmla="*/ 764381 w 828676"/>
                    <a:gd name="connsiteY11" fmla="*/ 7143 h 138112"/>
                    <a:gd name="connsiteX12" fmla="*/ 828676 w 828676"/>
                    <a:gd name="connsiteY12" fmla="*/ 92869 h 138112"/>
                    <a:gd name="connsiteX13" fmla="*/ 828676 w 828676"/>
                    <a:gd name="connsiteY13" fmla="*/ 100732 h 138112"/>
                    <a:gd name="connsiteX14" fmla="*/ 791296 w 828676"/>
                    <a:gd name="connsiteY14" fmla="*/ 138112 h 138112"/>
                    <a:gd name="connsiteX15" fmla="*/ 37380 w 828676"/>
                    <a:gd name="connsiteY15" fmla="*/ 138112 h 138112"/>
                    <a:gd name="connsiteX16" fmla="*/ 0 w 828676"/>
                    <a:gd name="connsiteY16" fmla="*/ 100732 h 138112"/>
                    <a:gd name="connsiteX17" fmla="*/ 0 w 828676"/>
                    <a:gd name="connsiteY17" fmla="*/ 92869 h 138112"/>
                    <a:gd name="connsiteX18" fmla="*/ 64295 w 828676"/>
                    <a:gd name="connsiteY18" fmla="*/ 7143 h 138112"/>
                    <a:gd name="connsiteX19" fmla="*/ 96316 w 828676"/>
                    <a:gd name="connsiteY19" fmla="*/ 7143 h 138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28676" h="138112">
                      <a:moveTo>
                        <a:pt x="357077" y="60274"/>
                      </a:moveTo>
                      <a:lnTo>
                        <a:pt x="337209" y="105993"/>
                      </a:lnTo>
                      <a:lnTo>
                        <a:pt x="491468" y="105993"/>
                      </a:lnTo>
                      <a:lnTo>
                        <a:pt x="471600" y="60274"/>
                      </a:lnTo>
                      <a:close/>
                      <a:moveTo>
                        <a:pt x="98102" y="0"/>
                      </a:moveTo>
                      <a:lnTo>
                        <a:pt x="125736" y="0"/>
                      </a:lnTo>
                      <a:lnTo>
                        <a:pt x="127522" y="7143"/>
                      </a:lnTo>
                      <a:lnTo>
                        <a:pt x="701154" y="7143"/>
                      </a:lnTo>
                      <a:lnTo>
                        <a:pt x="702940" y="0"/>
                      </a:lnTo>
                      <a:lnTo>
                        <a:pt x="730574" y="0"/>
                      </a:lnTo>
                      <a:lnTo>
                        <a:pt x="732360" y="7143"/>
                      </a:lnTo>
                      <a:lnTo>
                        <a:pt x="764381" y="7143"/>
                      </a:lnTo>
                      <a:lnTo>
                        <a:pt x="828676" y="92869"/>
                      </a:lnTo>
                      <a:lnTo>
                        <a:pt x="828676" y="100732"/>
                      </a:lnTo>
                      <a:cubicBezTo>
                        <a:pt x="828676" y="121376"/>
                        <a:pt x="811940" y="138112"/>
                        <a:pt x="791296" y="138112"/>
                      </a:cubicBezTo>
                      <a:lnTo>
                        <a:pt x="37380" y="138112"/>
                      </a:lnTo>
                      <a:cubicBezTo>
                        <a:pt x="16736" y="138112"/>
                        <a:pt x="0" y="121376"/>
                        <a:pt x="0" y="100732"/>
                      </a:cubicBezTo>
                      <a:lnTo>
                        <a:pt x="0" y="92869"/>
                      </a:lnTo>
                      <a:lnTo>
                        <a:pt x="64295" y="7143"/>
                      </a:lnTo>
                      <a:lnTo>
                        <a:pt x="96316" y="7143"/>
                      </a:lnTo>
                      <a:close/>
                    </a:path>
                  </a:pathLst>
                </a:custGeom>
                <a:solidFill>
                  <a:srgbClr val="FF8C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 name="Freeform 42"/>
                <p:cNvSpPr/>
                <p:nvPr/>
              </p:nvSpPr>
              <p:spPr bwMode="auto">
                <a:xfrm>
                  <a:off x="7692514" y="3926757"/>
                  <a:ext cx="1781380" cy="1153115"/>
                </a:xfrm>
                <a:custGeom>
                  <a:avLst/>
                  <a:gdLst>
                    <a:gd name="connsiteX0" fmla="*/ 45098 w 697707"/>
                    <a:gd name="connsiteY0" fmla="*/ 24180 h 451636"/>
                    <a:gd name="connsiteX1" fmla="*/ 28507 w 697707"/>
                    <a:gd name="connsiteY1" fmla="*/ 40771 h 451636"/>
                    <a:gd name="connsiteX2" fmla="*/ 28507 w 697707"/>
                    <a:gd name="connsiteY2" fmla="*/ 410866 h 451636"/>
                    <a:gd name="connsiteX3" fmla="*/ 45098 w 697707"/>
                    <a:gd name="connsiteY3" fmla="*/ 427457 h 451636"/>
                    <a:gd name="connsiteX4" fmla="*/ 652608 w 697707"/>
                    <a:gd name="connsiteY4" fmla="*/ 427457 h 451636"/>
                    <a:gd name="connsiteX5" fmla="*/ 669199 w 697707"/>
                    <a:gd name="connsiteY5" fmla="*/ 410866 h 451636"/>
                    <a:gd name="connsiteX6" fmla="*/ 669199 w 697707"/>
                    <a:gd name="connsiteY6" fmla="*/ 40771 h 451636"/>
                    <a:gd name="connsiteX7" fmla="*/ 652608 w 697707"/>
                    <a:gd name="connsiteY7" fmla="*/ 24180 h 451636"/>
                    <a:gd name="connsiteX8" fmla="*/ 348853 w 697707"/>
                    <a:gd name="connsiteY8" fmla="*/ 2364 h 451636"/>
                    <a:gd name="connsiteX9" fmla="*/ 339709 w 697707"/>
                    <a:gd name="connsiteY9" fmla="*/ 11508 h 451636"/>
                    <a:gd name="connsiteX10" fmla="*/ 348853 w 697707"/>
                    <a:gd name="connsiteY10" fmla="*/ 20652 h 451636"/>
                    <a:gd name="connsiteX11" fmla="*/ 357997 w 697707"/>
                    <a:gd name="connsiteY11" fmla="*/ 11508 h 451636"/>
                    <a:gd name="connsiteX12" fmla="*/ 348853 w 697707"/>
                    <a:gd name="connsiteY12" fmla="*/ 2364 h 451636"/>
                    <a:gd name="connsiteX13" fmla="*/ 28954 w 697707"/>
                    <a:gd name="connsiteY13" fmla="*/ 0 h 451636"/>
                    <a:gd name="connsiteX14" fmla="*/ 668753 w 697707"/>
                    <a:gd name="connsiteY14" fmla="*/ 0 h 451636"/>
                    <a:gd name="connsiteX15" fmla="*/ 697707 w 697707"/>
                    <a:gd name="connsiteY15" fmla="*/ 28954 h 451636"/>
                    <a:gd name="connsiteX16" fmla="*/ 697707 w 697707"/>
                    <a:gd name="connsiteY16" fmla="*/ 422682 h 451636"/>
                    <a:gd name="connsiteX17" fmla="*/ 668753 w 697707"/>
                    <a:gd name="connsiteY17" fmla="*/ 451636 h 451636"/>
                    <a:gd name="connsiteX18" fmla="*/ 28954 w 697707"/>
                    <a:gd name="connsiteY18" fmla="*/ 451636 h 451636"/>
                    <a:gd name="connsiteX19" fmla="*/ 0 w 697707"/>
                    <a:gd name="connsiteY19" fmla="*/ 422682 h 451636"/>
                    <a:gd name="connsiteX20" fmla="*/ 0 w 697707"/>
                    <a:gd name="connsiteY20" fmla="*/ 28954 h 451636"/>
                    <a:gd name="connsiteX21" fmla="*/ 28954 w 697707"/>
                    <a:gd name="connsiteY21" fmla="*/ 0 h 451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97707" h="451636">
                      <a:moveTo>
                        <a:pt x="45098" y="24180"/>
                      </a:moveTo>
                      <a:cubicBezTo>
                        <a:pt x="35935" y="24180"/>
                        <a:pt x="28507" y="31608"/>
                        <a:pt x="28507" y="40771"/>
                      </a:cubicBezTo>
                      <a:lnTo>
                        <a:pt x="28507" y="410866"/>
                      </a:lnTo>
                      <a:cubicBezTo>
                        <a:pt x="28507" y="420029"/>
                        <a:pt x="35935" y="427457"/>
                        <a:pt x="45098" y="427457"/>
                      </a:cubicBezTo>
                      <a:lnTo>
                        <a:pt x="652608" y="427457"/>
                      </a:lnTo>
                      <a:cubicBezTo>
                        <a:pt x="661771" y="427457"/>
                        <a:pt x="669199" y="420029"/>
                        <a:pt x="669199" y="410866"/>
                      </a:cubicBezTo>
                      <a:lnTo>
                        <a:pt x="669199" y="40771"/>
                      </a:lnTo>
                      <a:cubicBezTo>
                        <a:pt x="669199" y="31608"/>
                        <a:pt x="661771" y="24180"/>
                        <a:pt x="652608" y="24180"/>
                      </a:cubicBezTo>
                      <a:close/>
                      <a:moveTo>
                        <a:pt x="348853" y="2364"/>
                      </a:moveTo>
                      <a:cubicBezTo>
                        <a:pt x="343803" y="2364"/>
                        <a:pt x="339709" y="6458"/>
                        <a:pt x="339709" y="11508"/>
                      </a:cubicBezTo>
                      <a:cubicBezTo>
                        <a:pt x="339709" y="16558"/>
                        <a:pt x="343803" y="20652"/>
                        <a:pt x="348853" y="20652"/>
                      </a:cubicBezTo>
                      <a:cubicBezTo>
                        <a:pt x="353903" y="20652"/>
                        <a:pt x="357997" y="16558"/>
                        <a:pt x="357997" y="11508"/>
                      </a:cubicBezTo>
                      <a:cubicBezTo>
                        <a:pt x="357997" y="6458"/>
                        <a:pt x="353903" y="2364"/>
                        <a:pt x="348853" y="2364"/>
                      </a:cubicBezTo>
                      <a:close/>
                      <a:moveTo>
                        <a:pt x="28954" y="0"/>
                      </a:moveTo>
                      <a:lnTo>
                        <a:pt x="668753" y="0"/>
                      </a:lnTo>
                      <a:cubicBezTo>
                        <a:pt x="684744" y="0"/>
                        <a:pt x="697707" y="12963"/>
                        <a:pt x="697707" y="28954"/>
                      </a:cubicBezTo>
                      <a:lnTo>
                        <a:pt x="697707" y="422682"/>
                      </a:lnTo>
                      <a:cubicBezTo>
                        <a:pt x="697707" y="438673"/>
                        <a:pt x="684744" y="451636"/>
                        <a:pt x="668753" y="451636"/>
                      </a:cubicBezTo>
                      <a:lnTo>
                        <a:pt x="28954" y="451636"/>
                      </a:lnTo>
                      <a:cubicBezTo>
                        <a:pt x="12963" y="451636"/>
                        <a:pt x="0" y="438673"/>
                        <a:pt x="0" y="422682"/>
                      </a:cubicBezTo>
                      <a:lnTo>
                        <a:pt x="0" y="28954"/>
                      </a:lnTo>
                      <a:cubicBezTo>
                        <a:pt x="0" y="12963"/>
                        <a:pt x="12963" y="0"/>
                        <a:pt x="28954" y="0"/>
                      </a:cubicBezTo>
                      <a:close/>
                    </a:path>
                  </a:pathLst>
                </a:custGeom>
                <a:solidFill>
                  <a:srgbClr val="FF8C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49" name="Rectangle 4"/>
            <p:cNvSpPr/>
            <p:nvPr/>
          </p:nvSpPr>
          <p:spPr>
            <a:xfrm>
              <a:off x="3569092" y="3363862"/>
              <a:ext cx="408495" cy="388498"/>
            </a:xfrm>
            <a:custGeom>
              <a:avLst/>
              <a:gdLst/>
              <a:ahLst/>
              <a:cxnLst/>
              <a:rect l="l" t="t" r="r" b="b"/>
              <a:pathLst>
                <a:path w="2253672" h="2154513">
                  <a:moveTo>
                    <a:pt x="1738560" y="1548363"/>
                  </a:moveTo>
                  <a:lnTo>
                    <a:pt x="1738560" y="1758675"/>
                  </a:lnTo>
                  <a:lnTo>
                    <a:pt x="2104320" y="1758675"/>
                  </a:lnTo>
                  <a:lnTo>
                    <a:pt x="2104320" y="1548363"/>
                  </a:lnTo>
                  <a:close/>
                  <a:moveTo>
                    <a:pt x="1738560" y="1261283"/>
                  </a:moveTo>
                  <a:lnTo>
                    <a:pt x="1738560" y="1471595"/>
                  </a:lnTo>
                  <a:lnTo>
                    <a:pt x="2104320" y="1471595"/>
                  </a:lnTo>
                  <a:lnTo>
                    <a:pt x="2104320" y="1261283"/>
                  </a:lnTo>
                  <a:close/>
                  <a:moveTo>
                    <a:pt x="1738560" y="974205"/>
                  </a:moveTo>
                  <a:lnTo>
                    <a:pt x="1738560" y="1184517"/>
                  </a:lnTo>
                  <a:lnTo>
                    <a:pt x="2104320" y="1184517"/>
                  </a:lnTo>
                  <a:lnTo>
                    <a:pt x="2104320" y="974205"/>
                  </a:lnTo>
                  <a:close/>
                  <a:moveTo>
                    <a:pt x="1738560" y="687127"/>
                  </a:moveTo>
                  <a:lnTo>
                    <a:pt x="1738560" y="897439"/>
                  </a:lnTo>
                  <a:lnTo>
                    <a:pt x="2104320" y="897439"/>
                  </a:lnTo>
                  <a:lnTo>
                    <a:pt x="2104320" y="687127"/>
                  </a:lnTo>
                  <a:close/>
                  <a:moveTo>
                    <a:pt x="927711" y="672099"/>
                  </a:moveTo>
                  <a:lnTo>
                    <a:pt x="770548" y="681624"/>
                  </a:lnTo>
                  <a:lnTo>
                    <a:pt x="653867" y="953087"/>
                  </a:lnTo>
                  <a:lnTo>
                    <a:pt x="556236" y="691149"/>
                  </a:lnTo>
                  <a:lnTo>
                    <a:pt x="403836" y="698293"/>
                  </a:lnTo>
                  <a:lnTo>
                    <a:pt x="565761" y="1065006"/>
                  </a:lnTo>
                  <a:lnTo>
                    <a:pt x="387167" y="1431718"/>
                  </a:lnTo>
                  <a:lnTo>
                    <a:pt x="541948" y="1438862"/>
                  </a:lnTo>
                  <a:lnTo>
                    <a:pt x="653867" y="1176924"/>
                  </a:lnTo>
                  <a:lnTo>
                    <a:pt x="768167" y="1455531"/>
                  </a:lnTo>
                  <a:lnTo>
                    <a:pt x="932473" y="1457912"/>
                  </a:lnTo>
                  <a:lnTo>
                    <a:pt x="744354" y="1065006"/>
                  </a:lnTo>
                  <a:close/>
                  <a:moveTo>
                    <a:pt x="1738560" y="400049"/>
                  </a:moveTo>
                  <a:lnTo>
                    <a:pt x="1738560" y="610361"/>
                  </a:lnTo>
                  <a:lnTo>
                    <a:pt x="2104320" y="610361"/>
                  </a:lnTo>
                  <a:lnTo>
                    <a:pt x="2104320" y="400049"/>
                  </a:lnTo>
                  <a:close/>
                  <a:moveTo>
                    <a:pt x="1357560" y="249239"/>
                  </a:moveTo>
                  <a:lnTo>
                    <a:pt x="2230092" y="249239"/>
                  </a:lnTo>
                  <a:cubicBezTo>
                    <a:pt x="2243115" y="249239"/>
                    <a:pt x="2253672" y="259796"/>
                    <a:pt x="2253672" y="272819"/>
                  </a:cubicBezTo>
                  <a:lnTo>
                    <a:pt x="2253672" y="1880723"/>
                  </a:lnTo>
                  <a:cubicBezTo>
                    <a:pt x="2253672" y="1893746"/>
                    <a:pt x="2243115" y="1904303"/>
                    <a:pt x="2230092" y="1904303"/>
                  </a:cubicBezTo>
                  <a:lnTo>
                    <a:pt x="1357560" y="1904303"/>
                  </a:lnTo>
                  <a:lnTo>
                    <a:pt x="1357560" y="1758675"/>
                  </a:lnTo>
                  <a:lnTo>
                    <a:pt x="1677600" y="1758675"/>
                  </a:lnTo>
                  <a:lnTo>
                    <a:pt x="1677600" y="1548363"/>
                  </a:lnTo>
                  <a:lnTo>
                    <a:pt x="1357560" y="1548363"/>
                  </a:lnTo>
                  <a:lnTo>
                    <a:pt x="1357560" y="1471595"/>
                  </a:lnTo>
                  <a:lnTo>
                    <a:pt x="1677600" y="1471595"/>
                  </a:lnTo>
                  <a:lnTo>
                    <a:pt x="1677600" y="1261283"/>
                  </a:lnTo>
                  <a:lnTo>
                    <a:pt x="1357560" y="1261283"/>
                  </a:lnTo>
                  <a:lnTo>
                    <a:pt x="1357560" y="1184517"/>
                  </a:lnTo>
                  <a:lnTo>
                    <a:pt x="1677600" y="1184517"/>
                  </a:lnTo>
                  <a:lnTo>
                    <a:pt x="1677600" y="974205"/>
                  </a:lnTo>
                  <a:lnTo>
                    <a:pt x="1357560" y="974205"/>
                  </a:lnTo>
                  <a:lnTo>
                    <a:pt x="1357560" y="897439"/>
                  </a:lnTo>
                  <a:lnTo>
                    <a:pt x="1677600" y="897439"/>
                  </a:lnTo>
                  <a:lnTo>
                    <a:pt x="1677600" y="687127"/>
                  </a:lnTo>
                  <a:lnTo>
                    <a:pt x="1357560" y="687127"/>
                  </a:lnTo>
                  <a:lnTo>
                    <a:pt x="1357560" y="610361"/>
                  </a:lnTo>
                  <a:lnTo>
                    <a:pt x="1677600" y="610361"/>
                  </a:lnTo>
                  <a:lnTo>
                    <a:pt x="1677600" y="400049"/>
                  </a:lnTo>
                  <a:lnTo>
                    <a:pt x="1357560" y="400049"/>
                  </a:lnTo>
                  <a:close/>
                  <a:moveTo>
                    <a:pt x="1298713" y="0"/>
                  </a:moveTo>
                  <a:lnTo>
                    <a:pt x="1298713" y="2154513"/>
                  </a:lnTo>
                  <a:lnTo>
                    <a:pt x="0" y="1932953"/>
                  </a:lnTo>
                  <a:lnTo>
                    <a:pt x="0" y="223423"/>
                  </a:lnTo>
                  <a:close/>
                </a:path>
              </a:pathLst>
            </a:custGeom>
            <a:solidFill>
              <a:schemeClr val="bg1"/>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dirty="0" smtClean="0">
                <a:ln>
                  <a:noFill/>
                </a:ln>
                <a:solidFill>
                  <a:srgbClr val="FFFFFF"/>
                </a:solidFill>
                <a:effectLst/>
                <a:uLnTx/>
                <a:uFillTx/>
              </a:endParaRPr>
            </a:p>
          </p:txBody>
        </p:sp>
        <p:sp>
          <p:nvSpPr>
            <p:cNvPr id="58" name="Rectangle 4"/>
            <p:cNvSpPr/>
            <p:nvPr/>
          </p:nvSpPr>
          <p:spPr>
            <a:xfrm>
              <a:off x="2113447" y="3352001"/>
              <a:ext cx="419098" cy="373523"/>
            </a:xfrm>
            <a:custGeom>
              <a:avLst/>
              <a:gdLst/>
              <a:ahLst/>
              <a:cxnLst/>
              <a:rect l="l" t="t" r="r" b="b"/>
              <a:pathLst>
                <a:path w="2258008" h="2158661">
                  <a:moveTo>
                    <a:pt x="1054866" y="676730"/>
                  </a:moveTo>
                  <a:lnTo>
                    <a:pt x="905641" y="683080"/>
                  </a:lnTo>
                  <a:lnTo>
                    <a:pt x="810391" y="1245055"/>
                  </a:lnTo>
                  <a:lnTo>
                    <a:pt x="702441" y="695780"/>
                  </a:lnTo>
                  <a:lnTo>
                    <a:pt x="562741" y="708480"/>
                  </a:lnTo>
                  <a:lnTo>
                    <a:pt x="451616" y="1238705"/>
                  </a:lnTo>
                  <a:lnTo>
                    <a:pt x="369066" y="721180"/>
                  </a:lnTo>
                  <a:lnTo>
                    <a:pt x="238891" y="730705"/>
                  </a:lnTo>
                  <a:lnTo>
                    <a:pt x="375416" y="1438730"/>
                  </a:lnTo>
                  <a:lnTo>
                    <a:pt x="518291" y="1448255"/>
                  </a:lnTo>
                  <a:lnTo>
                    <a:pt x="626241" y="937080"/>
                  </a:lnTo>
                  <a:lnTo>
                    <a:pt x="727841" y="1460955"/>
                  </a:lnTo>
                  <a:lnTo>
                    <a:pt x="883416" y="1470480"/>
                  </a:lnTo>
                  <a:close/>
                  <a:moveTo>
                    <a:pt x="1360172" y="249719"/>
                  </a:moveTo>
                  <a:lnTo>
                    <a:pt x="2234383" y="249719"/>
                  </a:lnTo>
                  <a:cubicBezTo>
                    <a:pt x="2247431" y="249719"/>
                    <a:pt x="2258008" y="260296"/>
                    <a:pt x="2258008" y="273344"/>
                  </a:cubicBezTo>
                  <a:lnTo>
                    <a:pt x="2258008" y="1884344"/>
                  </a:lnTo>
                  <a:cubicBezTo>
                    <a:pt x="2258008" y="1897392"/>
                    <a:pt x="2247431" y="1907969"/>
                    <a:pt x="2234383" y="1907969"/>
                  </a:cubicBezTo>
                  <a:lnTo>
                    <a:pt x="1360172" y="1907969"/>
                  </a:lnTo>
                  <a:lnTo>
                    <a:pt x="1360172" y="1703105"/>
                  </a:lnTo>
                  <a:lnTo>
                    <a:pt x="2054991" y="1703105"/>
                  </a:lnTo>
                  <a:lnTo>
                    <a:pt x="2054991" y="1602521"/>
                  </a:lnTo>
                  <a:lnTo>
                    <a:pt x="1360172" y="1602521"/>
                  </a:lnTo>
                  <a:lnTo>
                    <a:pt x="1360172" y="1474130"/>
                  </a:lnTo>
                  <a:lnTo>
                    <a:pt x="2054991" y="1474130"/>
                  </a:lnTo>
                  <a:lnTo>
                    <a:pt x="2054991" y="1373546"/>
                  </a:lnTo>
                  <a:lnTo>
                    <a:pt x="1360172" y="1373546"/>
                  </a:lnTo>
                  <a:lnTo>
                    <a:pt x="1360172" y="1245157"/>
                  </a:lnTo>
                  <a:lnTo>
                    <a:pt x="2054991" y="1245157"/>
                  </a:lnTo>
                  <a:lnTo>
                    <a:pt x="2054991" y="1144573"/>
                  </a:lnTo>
                  <a:lnTo>
                    <a:pt x="1360172" y="1144573"/>
                  </a:lnTo>
                  <a:lnTo>
                    <a:pt x="1360172" y="1016184"/>
                  </a:lnTo>
                  <a:lnTo>
                    <a:pt x="2054991" y="1016184"/>
                  </a:lnTo>
                  <a:lnTo>
                    <a:pt x="2054991" y="915600"/>
                  </a:lnTo>
                  <a:lnTo>
                    <a:pt x="1360172" y="915600"/>
                  </a:lnTo>
                  <a:lnTo>
                    <a:pt x="1360172" y="787211"/>
                  </a:lnTo>
                  <a:lnTo>
                    <a:pt x="2054991" y="787211"/>
                  </a:lnTo>
                  <a:lnTo>
                    <a:pt x="2054991" y="686627"/>
                  </a:lnTo>
                  <a:lnTo>
                    <a:pt x="1360172" y="686627"/>
                  </a:lnTo>
                  <a:lnTo>
                    <a:pt x="1360172" y="558238"/>
                  </a:lnTo>
                  <a:lnTo>
                    <a:pt x="2054991" y="558238"/>
                  </a:lnTo>
                  <a:lnTo>
                    <a:pt x="2054991" y="457654"/>
                  </a:lnTo>
                  <a:lnTo>
                    <a:pt x="1360172" y="457654"/>
                  </a:lnTo>
                  <a:close/>
                  <a:moveTo>
                    <a:pt x="1301212" y="0"/>
                  </a:moveTo>
                  <a:lnTo>
                    <a:pt x="1301212" y="2158661"/>
                  </a:lnTo>
                  <a:lnTo>
                    <a:pt x="0" y="1936675"/>
                  </a:lnTo>
                  <a:lnTo>
                    <a:pt x="0" y="223853"/>
                  </a:lnTo>
                  <a:close/>
                </a:path>
              </a:pathLst>
            </a:custGeom>
            <a:solidFill>
              <a:schemeClr val="bg1"/>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dirty="0" smtClean="0">
                <a:ln>
                  <a:noFill/>
                </a:ln>
                <a:solidFill>
                  <a:srgbClr val="FFFFFF"/>
                </a:solidFill>
                <a:effectLst/>
                <a:uLnTx/>
                <a:uFillTx/>
              </a:endParaRPr>
            </a:p>
          </p:txBody>
        </p:sp>
        <p:sp>
          <p:nvSpPr>
            <p:cNvPr id="60" name="Rectangle 4"/>
            <p:cNvSpPr/>
            <p:nvPr/>
          </p:nvSpPr>
          <p:spPr>
            <a:xfrm>
              <a:off x="1243157" y="5166345"/>
              <a:ext cx="466920" cy="433578"/>
            </a:xfrm>
            <a:custGeom>
              <a:avLst/>
              <a:gdLst/>
              <a:ahLst/>
              <a:cxnLst/>
              <a:rect l="l" t="t" r="r" b="b"/>
              <a:pathLst>
                <a:path w="2258008" h="2158661">
                  <a:moveTo>
                    <a:pt x="1054866" y="676730"/>
                  </a:moveTo>
                  <a:lnTo>
                    <a:pt x="905641" y="683080"/>
                  </a:lnTo>
                  <a:lnTo>
                    <a:pt x="810391" y="1245055"/>
                  </a:lnTo>
                  <a:lnTo>
                    <a:pt x="702441" y="695780"/>
                  </a:lnTo>
                  <a:lnTo>
                    <a:pt x="562741" y="708480"/>
                  </a:lnTo>
                  <a:lnTo>
                    <a:pt x="451616" y="1238705"/>
                  </a:lnTo>
                  <a:lnTo>
                    <a:pt x="369066" y="721180"/>
                  </a:lnTo>
                  <a:lnTo>
                    <a:pt x="238891" y="730705"/>
                  </a:lnTo>
                  <a:lnTo>
                    <a:pt x="375416" y="1438730"/>
                  </a:lnTo>
                  <a:lnTo>
                    <a:pt x="518291" y="1448255"/>
                  </a:lnTo>
                  <a:lnTo>
                    <a:pt x="626241" y="937080"/>
                  </a:lnTo>
                  <a:lnTo>
                    <a:pt x="727841" y="1460955"/>
                  </a:lnTo>
                  <a:lnTo>
                    <a:pt x="883416" y="1470480"/>
                  </a:lnTo>
                  <a:close/>
                  <a:moveTo>
                    <a:pt x="1360172" y="249719"/>
                  </a:moveTo>
                  <a:lnTo>
                    <a:pt x="2234383" y="249719"/>
                  </a:lnTo>
                  <a:cubicBezTo>
                    <a:pt x="2247431" y="249719"/>
                    <a:pt x="2258008" y="260296"/>
                    <a:pt x="2258008" y="273344"/>
                  </a:cubicBezTo>
                  <a:lnTo>
                    <a:pt x="2258008" y="1884344"/>
                  </a:lnTo>
                  <a:cubicBezTo>
                    <a:pt x="2258008" y="1897392"/>
                    <a:pt x="2247431" y="1907969"/>
                    <a:pt x="2234383" y="1907969"/>
                  </a:cubicBezTo>
                  <a:lnTo>
                    <a:pt x="1360172" y="1907969"/>
                  </a:lnTo>
                  <a:lnTo>
                    <a:pt x="1360172" y="1703105"/>
                  </a:lnTo>
                  <a:lnTo>
                    <a:pt x="2054991" y="1703105"/>
                  </a:lnTo>
                  <a:lnTo>
                    <a:pt x="2054991" y="1602521"/>
                  </a:lnTo>
                  <a:lnTo>
                    <a:pt x="1360172" y="1602521"/>
                  </a:lnTo>
                  <a:lnTo>
                    <a:pt x="1360172" y="1474130"/>
                  </a:lnTo>
                  <a:lnTo>
                    <a:pt x="2054991" y="1474130"/>
                  </a:lnTo>
                  <a:lnTo>
                    <a:pt x="2054991" y="1373546"/>
                  </a:lnTo>
                  <a:lnTo>
                    <a:pt x="1360172" y="1373546"/>
                  </a:lnTo>
                  <a:lnTo>
                    <a:pt x="1360172" y="1245157"/>
                  </a:lnTo>
                  <a:lnTo>
                    <a:pt x="2054991" y="1245157"/>
                  </a:lnTo>
                  <a:lnTo>
                    <a:pt x="2054991" y="1144573"/>
                  </a:lnTo>
                  <a:lnTo>
                    <a:pt x="1360172" y="1144573"/>
                  </a:lnTo>
                  <a:lnTo>
                    <a:pt x="1360172" y="1016184"/>
                  </a:lnTo>
                  <a:lnTo>
                    <a:pt x="2054991" y="1016184"/>
                  </a:lnTo>
                  <a:lnTo>
                    <a:pt x="2054991" y="915600"/>
                  </a:lnTo>
                  <a:lnTo>
                    <a:pt x="1360172" y="915600"/>
                  </a:lnTo>
                  <a:lnTo>
                    <a:pt x="1360172" y="787211"/>
                  </a:lnTo>
                  <a:lnTo>
                    <a:pt x="2054991" y="787211"/>
                  </a:lnTo>
                  <a:lnTo>
                    <a:pt x="2054991" y="686627"/>
                  </a:lnTo>
                  <a:lnTo>
                    <a:pt x="1360172" y="686627"/>
                  </a:lnTo>
                  <a:lnTo>
                    <a:pt x="1360172" y="558238"/>
                  </a:lnTo>
                  <a:lnTo>
                    <a:pt x="2054991" y="558238"/>
                  </a:lnTo>
                  <a:lnTo>
                    <a:pt x="2054991" y="457654"/>
                  </a:lnTo>
                  <a:lnTo>
                    <a:pt x="1360172" y="457654"/>
                  </a:lnTo>
                  <a:close/>
                  <a:moveTo>
                    <a:pt x="1301212" y="0"/>
                  </a:moveTo>
                  <a:lnTo>
                    <a:pt x="1301212" y="2158661"/>
                  </a:lnTo>
                  <a:lnTo>
                    <a:pt x="0" y="1936675"/>
                  </a:lnTo>
                  <a:lnTo>
                    <a:pt x="0" y="223853"/>
                  </a:lnTo>
                  <a:close/>
                </a:path>
              </a:pathLst>
            </a:custGeom>
            <a:solidFill>
              <a:srgbClr val="002060"/>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latin typeface="Segoe UI"/>
                <a:ea typeface="+mn-ea"/>
                <a:cs typeface="+mn-cs"/>
              </a:endParaRPr>
            </a:p>
          </p:txBody>
        </p:sp>
        <p:sp>
          <p:nvSpPr>
            <p:cNvPr id="61" name="Rectangle 4"/>
            <p:cNvSpPr/>
            <p:nvPr/>
          </p:nvSpPr>
          <p:spPr>
            <a:xfrm>
              <a:off x="4452336" y="5216738"/>
              <a:ext cx="458059" cy="435637"/>
            </a:xfrm>
            <a:custGeom>
              <a:avLst/>
              <a:gdLst/>
              <a:ahLst/>
              <a:cxnLst/>
              <a:rect l="l" t="t" r="r" b="b"/>
              <a:pathLst>
                <a:path w="2253672" h="2154513">
                  <a:moveTo>
                    <a:pt x="1738560" y="1548363"/>
                  </a:moveTo>
                  <a:lnTo>
                    <a:pt x="1738560" y="1758675"/>
                  </a:lnTo>
                  <a:lnTo>
                    <a:pt x="2104320" y="1758675"/>
                  </a:lnTo>
                  <a:lnTo>
                    <a:pt x="2104320" y="1548363"/>
                  </a:lnTo>
                  <a:close/>
                  <a:moveTo>
                    <a:pt x="1738560" y="1261283"/>
                  </a:moveTo>
                  <a:lnTo>
                    <a:pt x="1738560" y="1471595"/>
                  </a:lnTo>
                  <a:lnTo>
                    <a:pt x="2104320" y="1471595"/>
                  </a:lnTo>
                  <a:lnTo>
                    <a:pt x="2104320" y="1261283"/>
                  </a:lnTo>
                  <a:close/>
                  <a:moveTo>
                    <a:pt x="1738560" y="974205"/>
                  </a:moveTo>
                  <a:lnTo>
                    <a:pt x="1738560" y="1184517"/>
                  </a:lnTo>
                  <a:lnTo>
                    <a:pt x="2104320" y="1184517"/>
                  </a:lnTo>
                  <a:lnTo>
                    <a:pt x="2104320" y="974205"/>
                  </a:lnTo>
                  <a:close/>
                  <a:moveTo>
                    <a:pt x="1738560" y="687127"/>
                  </a:moveTo>
                  <a:lnTo>
                    <a:pt x="1738560" y="897439"/>
                  </a:lnTo>
                  <a:lnTo>
                    <a:pt x="2104320" y="897439"/>
                  </a:lnTo>
                  <a:lnTo>
                    <a:pt x="2104320" y="687127"/>
                  </a:lnTo>
                  <a:close/>
                  <a:moveTo>
                    <a:pt x="927711" y="672099"/>
                  </a:moveTo>
                  <a:lnTo>
                    <a:pt x="770548" y="681624"/>
                  </a:lnTo>
                  <a:lnTo>
                    <a:pt x="653867" y="953087"/>
                  </a:lnTo>
                  <a:lnTo>
                    <a:pt x="556236" y="691149"/>
                  </a:lnTo>
                  <a:lnTo>
                    <a:pt x="403836" y="698293"/>
                  </a:lnTo>
                  <a:lnTo>
                    <a:pt x="565761" y="1065006"/>
                  </a:lnTo>
                  <a:lnTo>
                    <a:pt x="387167" y="1431718"/>
                  </a:lnTo>
                  <a:lnTo>
                    <a:pt x="541948" y="1438862"/>
                  </a:lnTo>
                  <a:lnTo>
                    <a:pt x="653867" y="1176924"/>
                  </a:lnTo>
                  <a:lnTo>
                    <a:pt x="768167" y="1455531"/>
                  </a:lnTo>
                  <a:lnTo>
                    <a:pt x="932473" y="1457912"/>
                  </a:lnTo>
                  <a:lnTo>
                    <a:pt x="744354" y="1065006"/>
                  </a:lnTo>
                  <a:close/>
                  <a:moveTo>
                    <a:pt x="1738560" y="400049"/>
                  </a:moveTo>
                  <a:lnTo>
                    <a:pt x="1738560" y="610361"/>
                  </a:lnTo>
                  <a:lnTo>
                    <a:pt x="2104320" y="610361"/>
                  </a:lnTo>
                  <a:lnTo>
                    <a:pt x="2104320" y="400049"/>
                  </a:lnTo>
                  <a:close/>
                  <a:moveTo>
                    <a:pt x="1357560" y="249239"/>
                  </a:moveTo>
                  <a:lnTo>
                    <a:pt x="2230092" y="249239"/>
                  </a:lnTo>
                  <a:cubicBezTo>
                    <a:pt x="2243115" y="249239"/>
                    <a:pt x="2253672" y="259796"/>
                    <a:pt x="2253672" y="272819"/>
                  </a:cubicBezTo>
                  <a:lnTo>
                    <a:pt x="2253672" y="1880723"/>
                  </a:lnTo>
                  <a:cubicBezTo>
                    <a:pt x="2253672" y="1893746"/>
                    <a:pt x="2243115" y="1904303"/>
                    <a:pt x="2230092" y="1904303"/>
                  </a:cubicBezTo>
                  <a:lnTo>
                    <a:pt x="1357560" y="1904303"/>
                  </a:lnTo>
                  <a:lnTo>
                    <a:pt x="1357560" y="1758675"/>
                  </a:lnTo>
                  <a:lnTo>
                    <a:pt x="1677600" y="1758675"/>
                  </a:lnTo>
                  <a:lnTo>
                    <a:pt x="1677600" y="1548363"/>
                  </a:lnTo>
                  <a:lnTo>
                    <a:pt x="1357560" y="1548363"/>
                  </a:lnTo>
                  <a:lnTo>
                    <a:pt x="1357560" y="1471595"/>
                  </a:lnTo>
                  <a:lnTo>
                    <a:pt x="1677600" y="1471595"/>
                  </a:lnTo>
                  <a:lnTo>
                    <a:pt x="1677600" y="1261283"/>
                  </a:lnTo>
                  <a:lnTo>
                    <a:pt x="1357560" y="1261283"/>
                  </a:lnTo>
                  <a:lnTo>
                    <a:pt x="1357560" y="1184517"/>
                  </a:lnTo>
                  <a:lnTo>
                    <a:pt x="1677600" y="1184517"/>
                  </a:lnTo>
                  <a:lnTo>
                    <a:pt x="1677600" y="974205"/>
                  </a:lnTo>
                  <a:lnTo>
                    <a:pt x="1357560" y="974205"/>
                  </a:lnTo>
                  <a:lnTo>
                    <a:pt x="1357560" y="897439"/>
                  </a:lnTo>
                  <a:lnTo>
                    <a:pt x="1677600" y="897439"/>
                  </a:lnTo>
                  <a:lnTo>
                    <a:pt x="1677600" y="687127"/>
                  </a:lnTo>
                  <a:lnTo>
                    <a:pt x="1357560" y="687127"/>
                  </a:lnTo>
                  <a:lnTo>
                    <a:pt x="1357560" y="610361"/>
                  </a:lnTo>
                  <a:lnTo>
                    <a:pt x="1677600" y="610361"/>
                  </a:lnTo>
                  <a:lnTo>
                    <a:pt x="1677600" y="400049"/>
                  </a:lnTo>
                  <a:lnTo>
                    <a:pt x="1357560" y="400049"/>
                  </a:lnTo>
                  <a:close/>
                  <a:moveTo>
                    <a:pt x="1298713" y="0"/>
                  </a:moveTo>
                  <a:lnTo>
                    <a:pt x="1298713" y="2154513"/>
                  </a:lnTo>
                  <a:lnTo>
                    <a:pt x="0" y="1932953"/>
                  </a:lnTo>
                  <a:lnTo>
                    <a:pt x="0" y="223423"/>
                  </a:lnTo>
                  <a:close/>
                </a:path>
              </a:pathLst>
            </a:custGeom>
            <a:solidFill>
              <a:srgbClr val="00B050"/>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latin typeface="Segoe UI"/>
                <a:ea typeface="+mn-ea"/>
                <a:cs typeface="+mn-cs"/>
              </a:endParaRPr>
            </a:p>
          </p:txBody>
        </p:sp>
        <p:sp>
          <p:nvSpPr>
            <p:cNvPr id="63" name="Rectangle 4"/>
            <p:cNvSpPr/>
            <p:nvPr/>
          </p:nvSpPr>
          <p:spPr>
            <a:xfrm>
              <a:off x="2807745" y="5055333"/>
              <a:ext cx="643390" cy="595390"/>
            </a:xfrm>
            <a:custGeom>
              <a:avLst/>
              <a:gdLst/>
              <a:ahLst/>
              <a:cxnLst/>
              <a:rect l="l" t="t" r="r" b="b"/>
              <a:pathLst>
                <a:path w="2249839" h="2154513">
                  <a:moveTo>
                    <a:pt x="1845025" y="1343911"/>
                  </a:moveTo>
                  <a:lnTo>
                    <a:pt x="1845025" y="1632042"/>
                  </a:lnTo>
                  <a:lnTo>
                    <a:pt x="2166495" y="1632042"/>
                  </a:lnTo>
                  <a:lnTo>
                    <a:pt x="2166495" y="1542580"/>
                  </a:lnTo>
                  <a:lnTo>
                    <a:pt x="1940771" y="1542580"/>
                  </a:lnTo>
                  <a:lnTo>
                    <a:pt x="1940771" y="1343911"/>
                  </a:lnTo>
                  <a:close/>
                  <a:moveTo>
                    <a:pt x="1910114" y="1226436"/>
                  </a:moveTo>
                  <a:cubicBezTo>
                    <a:pt x="2097739" y="1226436"/>
                    <a:pt x="2249839" y="1378536"/>
                    <a:pt x="2249839" y="1566161"/>
                  </a:cubicBezTo>
                  <a:cubicBezTo>
                    <a:pt x="2249839" y="1753786"/>
                    <a:pt x="2097739" y="1905886"/>
                    <a:pt x="1910114" y="1905886"/>
                  </a:cubicBezTo>
                  <a:cubicBezTo>
                    <a:pt x="1722489" y="1905886"/>
                    <a:pt x="1570389" y="1753786"/>
                    <a:pt x="1570389" y="1566161"/>
                  </a:cubicBezTo>
                  <a:cubicBezTo>
                    <a:pt x="1570389" y="1378536"/>
                    <a:pt x="1722489" y="1226436"/>
                    <a:pt x="1910114" y="1226436"/>
                  </a:cubicBezTo>
                  <a:close/>
                  <a:moveTo>
                    <a:pt x="598399" y="846243"/>
                  </a:moveTo>
                  <a:cubicBezTo>
                    <a:pt x="679255" y="844815"/>
                    <a:pt x="744803" y="952681"/>
                    <a:pt x="744803" y="1083980"/>
                  </a:cubicBezTo>
                  <a:cubicBezTo>
                    <a:pt x="744803" y="1215279"/>
                    <a:pt x="679256" y="1321717"/>
                    <a:pt x="598399" y="1321717"/>
                  </a:cubicBezTo>
                  <a:cubicBezTo>
                    <a:pt x="517542" y="1321717"/>
                    <a:pt x="451994" y="1215279"/>
                    <a:pt x="451994" y="1083980"/>
                  </a:cubicBezTo>
                  <a:cubicBezTo>
                    <a:pt x="451994" y="952681"/>
                    <a:pt x="517542" y="847671"/>
                    <a:pt x="598399" y="846243"/>
                  </a:cubicBezTo>
                  <a:close/>
                  <a:moveTo>
                    <a:pt x="605587" y="689066"/>
                  </a:moveTo>
                  <a:cubicBezTo>
                    <a:pt x="444485" y="691447"/>
                    <a:pt x="313884" y="866575"/>
                    <a:pt x="313884" y="1085544"/>
                  </a:cubicBezTo>
                  <a:cubicBezTo>
                    <a:pt x="313884" y="1304513"/>
                    <a:pt x="444484" y="1482022"/>
                    <a:pt x="605587" y="1482022"/>
                  </a:cubicBezTo>
                  <a:cubicBezTo>
                    <a:pt x="766690" y="1482022"/>
                    <a:pt x="897290" y="1304513"/>
                    <a:pt x="897290" y="1085544"/>
                  </a:cubicBezTo>
                  <a:cubicBezTo>
                    <a:pt x="897290" y="866575"/>
                    <a:pt x="766689" y="686685"/>
                    <a:pt x="605587" y="689066"/>
                  </a:cubicBezTo>
                  <a:close/>
                  <a:moveTo>
                    <a:pt x="2135539" y="533994"/>
                  </a:moveTo>
                  <a:lnTo>
                    <a:pt x="2135539" y="1217358"/>
                  </a:lnTo>
                  <a:cubicBezTo>
                    <a:pt x="2071819" y="1178130"/>
                    <a:pt x="1996658" y="1156586"/>
                    <a:pt x="1916464" y="1156586"/>
                  </a:cubicBezTo>
                  <a:cubicBezTo>
                    <a:pt x="1767936" y="1156586"/>
                    <a:pt x="1636669" y="1230491"/>
                    <a:pt x="1557971" y="1343911"/>
                  </a:cubicBezTo>
                  <a:lnTo>
                    <a:pt x="1349728" y="1343911"/>
                  </a:lnTo>
                  <a:lnTo>
                    <a:pt x="1349728" y="814214"/>
                  </a:lnTo>
                  <a:cubicBezTo>
                    <a:pt x="1398247" y="851356"/>
                    <a:pt x="1450870" y="892383"/>
                    <a:pt x="1511421" y="939778"/>
                  </a:cubicBezTo>
                  <a:cubicBezTo>
                    <a:pt x="1540576" y="974523"/>
                    <a:pt x="1592376" y="979055"/>
                    <a:pt x="1627120" y="949900"/>
                  </a:cubicBezTo>
                  <a:close/>
                  <a:moveTo>
                    <a:pt x="1349728" y="381885"/>
                  </a:moveTo>
                  <a:lnTo>
                    <a:pt x="2106970" y="381885"/>
                  </a:lnTo>
                  <a:cubicBezTo>
                    <a:pt x="2122748" y="381885"/>
                    <a:pt x="2135539" y="394676"/>
                    <a:pt x="2135539" y="410454"/>
                  </a:cubicBezTo>
                  <a:lnTo>
                    <a:pt x="2135539" y="425070"/>
                  </a:lnTo>
                  <a:lnTo>
                    <a:pt x="1584196" y="875416"/>
                  </a:lnTo>
                  <a:cubicBezTo>
                    <a:pt x="1576134" y="882180"/>
                    <a:pt x="1564114" y="881129"/>
                    <a:pt x="1557349" y="873067"/>
                  </a:cubicBezTo>
                  <a:cubicBezTo>
                    <a:pt x="1517580" y="841591"/>
                    <a:pt x="1434575" y="771203"/>
                    <a:pt x="1349728" y="700178"/>
                  </a:cubicBezTo>
                  <a:close/>
                  <a:moveTo>
                    <a:pt x="1298713" y="0"/>
                  </a:moveTo>
                  <a:lnTo>
                    <a:pt x="1298713" y="2154513"/>
                  </a:lnTo>
                  <a:lnTo>
                    <a:pt x="0" y="1932953"/>
                  </a:lnTo>
                  <a:lnTo>
                    <a:pt x="0" y="223423"/>
                  </a:lnTo>
                  <a:close/>
                </a:path>
              </a:pathLst>
            </a:custGeom>
            <a:solidFill>
              <a:srgbClr val="0072C6"/>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latin typeface="Segoe UI"/>
                <a:ea typeface="+mn-ea"/>
                <a:cs typeface="+mn-cs"/>
              </a:endParaRPr>
            </a:p>
          </p:txBody>
        </p:sp>
      </p:grpSp>
      <p:pic>
        <p:nvPicPr>
          <p:cNvPr id="34" name="Picture 33"/>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3115149" y="3263949"/>
            <a:ext cx="320505" cy="321223"/>
          </a:xfrm>
          <a:prstGeom prst="rect">
            <a:avLst/>
          </a:prstGeom>
        </p:spPr>
      </p:pic>
      <p:pic>
        <p:nvPicPr>
          <p:cNvPr id="36" name="Picture 35"/>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2619050" y="3196236"/>
            <a:ext cx="326171" cy="326901"/>
          </a:xfrm>
          <a:prstGeom prst="rect">
            <a:avLst/>
          </a:prstGeom>
        </p:spPr>
      </p:pic>
      <p:pic>
        <p:nvPicPr>
          <p:cNvPr id="39" name="Picture 38"/>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2798437" y="3705157"/>
            <a:ext cx="342885" cy="343652"/>
          </a:xfrm>
          <a:prstGeom prst="rect">
            <a:avLst/>
          </a:prstGeom>
        </p:spPr>
      </p:pic>
    </p:spTree>
    <p:extLst>
      <p:ext uri="{BB962C8B-B14F-4D97-AF65-F5344CB8AC3E}">
        <p14:creationId xmlns:p14="http://schemas.microsoft.com/office/powerpoint/2010/main" val="3842161007"/>
      </p:ext>
    </p:extLst>
  </p:cSld>
  <p:clrMapOvr>
    <a:masterClrMapping/>
  </p:clrMapOvr>
  <mc:AlternateContent xmlns:mc="http://schemas.openxmlformats.org/markup-compatibility/2006">
    <mc:Choice xmlns:p14="http://schemas.microsoft.com/office/powerpoint/2010/main" Requires="p14">
      <p:transition spd="slow" p14:dur="1200">
        <p14:prism/>
      </p:transition>
    </mc:Choice>
    <mc:Fallback>
      <p:transition spd="slow">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368879" y="394625"/>
            <a:ext cx="11274567" cy="737529"/>
          </a:xfrm>
          <a:prstGeom prst="rect">
            <a:avLst/>
          </a:prstGeom>
          <a:noFill/>
        </p:spPr>
        <p:txBody>
          <a:bodyPr wrap="square" bIns="0" rtlCol="0">
            <a:spAutoFit/>
          </a:bodyPr>
          <a:lstStyle/>
          <a:p>
            <a:pPr>
              <a:lnSpc>
                <a:spcPct val="85000"/>
              </a:lnSpc>
            </a:pPr>
            <a:r>
              <a:rPr lang="en-US" sz="5293" spc="-157" dirty="0">
                <a:solidFill>
                  <a:srgbClr val="45ACC8"/>
                </a:solidFill>
                <a:latin typeface="Segoe UI Bold"/>
                <a:cs typeface="Segoe UI Bold"/>
              </a:rPr>
              <a:t>Next steps</a:t>
            </a:r>
          </a:p>
        </p:txBody>
      </p:sp>
      <p:pic>
        <p:nvPicPr>
          <p:cNvPr id="2" name="Picture 1"/>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192642" y="2350162"/>
            <a:ext cx="436308" cy="435274"/>
          </a:xfrm>
          <a:prstGeom prst="rect">
            <a:avLst/>
          </a:prstGeom>
        </p:spPr>
      </p:pic>
      <p:pic>
        <p:nvPicPr>
          <p:cNvPr id="5" name="Picture 4"/>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192642" y="4288761"/>
            <a:ext cx="436308" cy="435274"/>
          </a:xfrm>
          <a:prstGeom prst="rect">
            <a:avLst/>
          </a:prstGeom>
        </p:spPr>
      </p:pic>
      <p:pic>
        <p:nvPicPr>
          <p:cNvPr id="6" name="Picture 5"/>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192642" y="3313142"/>
            <a:ext cx="436308" cy="435274"/>
          </a:xfrm>
          <a:prstGeom prst="rect">
            <a:avLst/>
          </a:prstGeom>
        </p:spPr>
      </p:pic>
      <p:grpSp>
        <p:nvGrpSpPr>
          <p:cNvPr id="8" name="Group 7"/>
          <p:cNvGrpSpPr>
            <a:grpSpLocks noChangeAspect="1"/>
          </p:cNvGrpSpPr>
          <p:nvPr/>
        </p:nvGrpSpPr>
        <p:grpSpPr bwMode="auto">
          <a:xfrm>
            <a:off x="5663824" y="1121619"/>
            <a:ext cx="6855242" cy="6855242"/>
            <a:chOff x="3917" y="366"/>
            <a:chExt cx="4406" cy="4406"/>
          </a:xfrm>
          <a:solidFill>
            <a:schemeClr val="bg1">
              <a:alpha val="15000"/>
            </a:schemeClr>
          </a:solidFill>
        </p:grpSpPr>
        <p:sp>
          <p:nvSpPr>
            <p:cNvPr id="9" name="Freeform 5"/>
            <p:cNvSpPr>
              <a:spLocks noEditPoints="1"/>
            </p:cNvSpPr>
            <p:nvPr/>
          </p:nvSpPr>
          <p:spPr bwMode="auto">
            <a:xfrm>
              <a:off x="4577" y="366"/>
              <a:ext cx="1527" cy="1444"/>
            </a:xfrm>
            <a:custGeom>
              <a:avLst/>
              <a:gdLst>
                <a:gd name="T0" fmla="*/ 377 w 384"/>
                <a:gd name="T1" fmla="*/ 6 h 363"/>
                <a:gd name="T2" fmla="*/ 377 w 384"/>
                <a:gd name="T3" fmla="*/ 282 h 363"/>
                <a:gd name="T4" fmla="*/ 204 w 384"/>
                <a:gd name="T5" fmla="*/ 354 h 363"/>
                <a:gd name="T6" fmla="*/ 9 w 384"/>
                <a:gd name="T7" fmla="*/ 159 h 363"/>
                <a:gd name="T8" fmla="*/ 175 w 384"/>
                <a:gd name="T9" fmla="*/ 49 h 363"/>
                <a:gd name="T10" fmla="*/ 377 w 384"/>
                <a:gd name="T11" fmla="*/ 6 h 363"/>
                <a:gd name="T12" fmla="*/ 384 w 384"/>
                <a:gd name="T13" fmla="*/ 0 h 363"/>
                <a:gd name="T14" fmla="*/ 0 w 384"/>
                <a:gd name="T15" fmla="*/ 159 h 363"/>
                <a:gd name="T16" fmla="*/ 204 w 384"/>
                <a:gd name="T17" fmla="*/ 363 h 363"/>
                <a:gd name="T18" fmla="*/ 384 w 384"/>
                <a:gd name="T19" fmla="*/ 288 h 363"/>
                <a:gd name="T20" fmla="*/ 384 w 384"/>
                <a:gd name="T21" fmla="*/ 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4" h="363">
                  <a:moveTo>
                    <a:pt x="377" y="6"/>
                  </a:moveTo>
                  <a:cubicBezTo>
                    <a:pt x="377" y="282"/>
                    <a:pt x="377" y="282"/>
                    <a:pt x="377" y="282"/>
                  </a:cubicBezTo>
                  <a:cubicBezTo>
                    <a:pt x="312" y="284"/>
                    <a:pt x="251" y="310"/>
                    <a:pt x="204" y="354"/>
                  </a:cubicBezTo>
                  <a:cubicBezTo>
                    <a:pt x="9" y="159"/>
                    <a:pt x="9" y="159"/>
                    <a:pt x="9" y="159"/>
                  </a:cubicBezTo>
                  <a:cubicBezTo>
                    <a:pt x="58" y="112"/>
                    <a:pt x="113" y="76"/>
                    <a:pt x="175" y="49"/>
                  </a:cubicBezTo>
                  <a:cubicBezTo>
                    <a:pt x="239" y="22"/>
                    <a:pt x="307" y="8"/>
                    <a:pt x="377" y="6"/>
                  </a:cubicBezTo>
                  <a:moveTo>
                    <a:pt x="384" y="0"/>
                  </a:moveTo>
                  <a:cubicBezTo>
                    <a:pt x="234" y="1"/>
                    <a:pt x="99" y="61"/>
                    <a:pt x="0" y="159"/>
                  </a:cubicBezTo>
                  <a:cubicBezTo>
                    <a:pt x="204" y="363"/>
                    <a:pt x="204" y="363"/>
                    <a:pt x="204" y="363"/>
                  </a:cubicBezTo>
                  <a:cubicBezTo>
                    <a:pt x="250" y="318"/>
                    <a:pt x="314" y="289"/>
                    <a:pt x="384" y="288"/>
                  </a:cubicBezTo>
                  <a:cubicBezTo>
                    <a:pt x="384" y="0"/>
                    <a:pt x="384" y="0"/>
                    <a:pt x="384"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10" name="Freeform 6"/>
            <p:cNvSpPr>
              <a:spLocks noEditPoints="1"/>
            </p:cNvSpPr>
            <p:nvPr/>
          </p:nvSpPr>
          <p:spPr bwMode="auto">
            <a:xfrm>
              <a:off x="3917" y="1026"/>
              <a:ext cx="1443" cy="1527"/>
            </a:xfrm>
            <a:custGeom>
              <a:avLst/>
              <a:gdLst>
                <a:gd name="T0" fmla="*/ 159 w 363"/>
                <a:gd name="T1" fmla="*/ 9 h 384"/>
                <a:gd name="T2" fmla="*/ 354 w 363"/>
                <a:gd name="T3" fmla="*/ 204 h 384"/>
                <a:gd name="T4" fmla="*/ 282 w 363"/>
                <a:gd name="T5" fmla="*/ 377 h 384"/>
                <a:gd name="T6" fmla="*/ 7 w 363"/>
                <a:gd name="T7" fmla="*/ 377 h 384"/>
                <a:gd name="T8" fmla="*/ 50 w 363"/>
                <a:gd name="T9" fmla="*/ 175 h 384"/>
                <a:gd name="T10" fmla="*/ 159 w 363"/>
                <a:gd name="T11" fmla="*/ 9 h 384"/>
                <a:gd name="T12" fmla="*/ 159 w 363"/>
                <a:gd name="T13" fmla="*/ 0 h 384"/>
                <a:gd name="T14" fmla="*/ 0 w 363"/>
                <a:gd name="T15" fmla="*/ 384 h 384"/>
                <a:gd name="T16" fmla="*/ 289 w 363"/>
                <a:gd name="T17" fmla="*/ 384 h 384"/>
                <a:gd name="T18" fmla="*/ 363 w 363"/>
                <a:gd name="T19" fmla="*/ 204 h 384"/>
                <a:gd name="T20" fmla="*/ 159 w 363"/>
                <a:gd name="T21"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3" h="384">
                  <a:moveTo>
                    <a:pt x="159" y="9"/>
                  </a:moveTo>
                  <a:cubicBezTo>
                    <a:pt x="354" y="204"/>
                    <a:pt x="354" y="204"/>
                    <a:pt x="354" y="204"/>
                  </a:cubicBezTo>
                  <a:cubicBezTo>
                    <a:pt x="310" y="251"/>
                    <a:pt x="285" y="312"/>
                    <a:pt x="282" y="377"/>
                  </a:cubicBezTo>
                  <a:cubicBezTo>
                    <a:pt x="7" y="377"/>
                    <a:pt x="7" y="377"/>
                    <a:pt x="7" y="377"/>
                  </a:cubicBezTo>
                  <a:cubicBezTo>
                    <a:pt x="8" y="307"/>
                    <a:pt x="23" y="239"/>
                    <a:pt x="50" y="175"/>
                  </a:cubicBezTo>
                  <a:cubicBezTo>
                    <a:pt x="76" y="114"/>
                    <a:pt x="112" y="58"/>
                    <a:pt x="159" y="9"/>
                  </a:cubicBezTo>
                  <a:moveTo>
                    <a:pt x="159" y="0"/>
                  </a:moveTo>
                  <a:cubicBezTo>
                    <a:pt x="62" y="99"/>
                    <a:pt x="1" y="234"/>
                    <a:pt x="0" y="384"/>
                  </a:cubicBezTo>
                  <a:cubicBezTo>
                    <a:pt x="289" y="384"/>
                    <a:pt x="289" y="384"/>
                    <a:pt x="289" y="384"/>
                  </a:cubicBezTo>
                  <a:cubicBezTo>
                    <a:pt x="290" y="314"/>
                    <a:pt x="318" y="250"/>
                    <a:pt x="363" y="204"/>
                  </a:cubicBezTo>
                  <a:cubicBezTo>
                    <a:pt x="159" y="0"/>
                    <a:pt x="159" y="0"/>
                    <a:pt x="15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11" name="Freeform 7"/>
            <p:cNvSpPr>
              <a:spLocks noEditPoints="1"/>
            </p:cNvSpPr>
            <p:nvPr/>
          </p:nvSpPr>
          <p:spPr bwMode="auto">
            <a:xfrm>
              <a:off x="6140" y="366"/>
              <a:ext cx="1527" cy="1444"/>
            </a:xfrm>
            <a:custGeom>
              <a:avLst/>
              <a:gdLst>
                <a:gd name="T0" fmla="*/ 7 w 384"/>
                <a:gd name="T1" fmla="*/ 6 h 363"/>
                <a:gd name="T2" fmla="*/ 208 w 384"/>
                <a:gd name="T3" fmla="*/ 49 h 363"/>
                <a:gd name="T4" fmla="*/ 375 w 384"/>
                <a:gd name="T5" fmla="*/ 159 h 363"/>
                <a:gd name="T6" fmla="*/ 180 w 384"/>
                <a:gd name="T7" fmla="*/ 354 h 363"/>
                <a:gd name="T8" fmla="*/ 7 w 384"/>
                <a:gd name="T9" fmla="*/ 282 h 363"/>
                <a:gd name="T10" fmla="*/ 7 w 384"/>
                <a:gd name="T11" fmla="*/ 6 h 363"/>
                <a:gd name="T12" fmla="*/ 0 w 384"/>
                <a:gd name="T13" fmla="*/ 0 h 363"/>
                <a:gd name="T14" fmla="*/ 0 w 384"/>
                <a:gd name="T15" fmla="*/ 288 h 363"/>
                <a:gd name="T16" fmla="*/ 180 w 384"/>
                <a:gd name="T17" fmla="*/ 363 h 363"/>
                <a:gd name="T18" fmla="*/ 384 w 384"/>
                <a:gd name="T19" fmla="*/ 159 h 363"/>
                <a:gd name="T20" fmla="*/ 0 w 384"/>
                <a:gd name="T21" fmla="*/ 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4" h="363">
                  <a:moveTo>
                    <a:pt x="7" y="6"/>
                  </a:moveTo>
                  <a:cubicBezTo>
                    <a:pt x="77" y="8"/>
                    <a:pt x="144" y="22"/>
                    <a:pt x="208" y="49"/>
                  </a:cubicBezTo>
                  <a:cubicBezTo>
                    <a:pt x="270" y="76"/>
                    <a:pt x="326" y="112"/>
                    <a:pt x="375" y="159"/>
                  </a:cubicBezTo>
                  <a:cubicBezTo>
                    <a:pt x="180" y="354"/>
                    <a:pt x="180" y="354"/>
                    <a:pt x="180" y="354"/>
                  </a:cubicBezTo>
                  <a:cubicBezTo>
                    <a:pt x="132" y="310"/>
                    <a:pt x="71" y="284"/>
                    <a:pt x="7" y="282"/>
                  </a:cubicBezTo>
                  <a:cubicBezTo>
                    <a:pt x="7" y="6"/>
                    <a:pt x="7" y="6"/>
                    <a:pt x="7" y="6"/>
                  </a:cubicBezTo>
                  <a:moveTo>
                    <a:pt x="0" y="0"/>
                  </a:moveTo>
                  <a:cubicBezTo>
                    <a:pt x="0" y="288"/>
                    <a:pt x="0" y="288"/>
                    <a:pt x="0" y="288"/>
                  </a:cubicBezTo>
                  <a:cubicBezTo>
                    <a:pt x="70" y="289"/>
                    <a:pt x="133" y="318"/>
                    <a:pt x="180" y="363"/>
                  </a:cubicBezTo>
                  <a:cubicBezTo>
                    <a:pt x="384" y="159"/>
                    <a:pt x="384" y="159"/>
                    <a:pt x="384" y="159"/>
                  </a:cubicBezTo>
                  <a:cubicBezTo>
                    <a:pt x="285" y="61"/>
                    <a:pt x="150" y="1"/>
                    <a:pt x="0"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12" name="Freeform 8"/>
            <p:cNvSpPr>
              <a:spLocks noEditPoints="1"/>
            </p:cNvSpPr>
            <p:nvPr/>
          </p:nvSpPr>
          <p:spPr bwMode="auto">
            <a:xfrm>
              <a:off x="3917" y="2589"/>
              <a:ext cx="1447" cy="1523"/>
            </a:xfrm>
            <a:custGeom>
              <a:avLst/>
              <a:gdLst>
                <a:gd name="T0" fmla="*/ 282 w 364"/>
                <a:gd name="T1" fmla="*/ 7 h 383"/>
                <a:gd name="T2" fmla="*/ 354 w 364"/>
                <a:gd name="T3" fmla="*/ 179 h 383"/>
                <a:gd name="T4" fmla="*/ 160 w 364"/>
                <a:gd name="T5" fmla="*/ 374 h 383"/>
                <a:gd name="T6" fmla="*/ 50 w 364"/>
                <a:gd name="T7" fmla="*/ 208 h 383"/>
                <a:gd name="T8" fmla="*/ 7 w 364"/>
                <a:gd name="T9" fmla="*/ 7 h 383"/>
                <a:gd name="T10" fmla="*/ 282 w 364"/>
                <a:gd name="T11" fmla="*/ 7 h 383"/>
                <a:gd name="T12" fmla="*/ 289 w 364"/>
                <a:gd name="T13" fmla="*/ 0 h 383"/>
                <a:gd name="T14" fmla="*/ 0 w 364"/>
                <a:gd name="T15" fmla="*/ 0 h 383"/>
                <a:gd name="T16" fmla="*/ 160 w 364"/>
                <a:gd name="T17" fmla="*/ 383 h 383"/>
                <a:gd name="T18" fmla="*/ 364 w 364"/>
                <a:gd name="T19" fmla="*/ 180 h 383"/>
                <a:gd name="T20" fmla="*/ 289 w 364"/>
                <a:gd name="T21"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4" h="383">
                  <a:moveTo>
                    <a:pt x="282" y="7"/>
                  </a:moveTo>
                  <a:cubicBezTo>
                    <a:pt x="285" y="71"/>
                    <a:pt x="310" y="132"/>
                    <a:pt x="354" y="179"/>
                  </a:cubicBezTo>
                  <a:cubicBezTo>
                    <a:pt x="160" y="374"/>
                    <a:pt x="160" y="374"/>
                    <a:pt x="160" y="374"/>
                  </a:cubicBezTo>
                  <a:cubicBezTo>
                    <a:pt x="113" y="326"/>
                    <a:pt x="76" y="270"/>
                    <a:pt x="50" y="208"/>
                  </a:cubicBezTo>
                  <a:cubicBezTo>
                    <a:pt x="23" y="144"/>
                    <a:pt x="9" y="77"/>
                    <a:pt x="7" y="7"/>
                  </a:cubicBezTo>
                  <a:cubicBezTo>
                    <a:pt x="282" y="7"/>
                    <a:pt x="282" y="7"/>
                    <a:pt x="282" y="7"/>
                  </a:cubicBezTo>
                  <a:moveTo>
                    <a:pt x="289" y="0"/>
                  </a:moveTo>
                  <a:cubicBezTo>
                    <a:pt x="0" y="0"/>
                    <a:pt x="0" y="0"/>
                    <a:pt x="0" y="0"/>
                  </a:cubicBezTo>
                  <a:cubicBezTo>
                    <a:pt x="2" y="149"/>
                    <a:pt x="62" y="285"/>
                    <a:pt x="160" y="383"/>
                  </a:cubicBezTo>
                  <a:cubicBezTo>
                    <a:pt x="364" y="180"/>
                    <a:pt x="364" y="180"/>
                    <a:pt x="364" y="180"/>
                  </a:cubicBezTo>
                  <a:cubicBezTo>
                    <a:pt x="318" y="133"/>
                    <a:pt x="290" y="70"/>
                    <a:pt x="28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13" name="Freeform 9"/>
            <p:cNvSpPr>
              <a:spLocks noEditPoints="1"/>
            </p:cNvSpPr>
            <p:nvPr/>
          </p:nvSpPr>
          <p:spPr bwMode="auto">
            <a:xfrm>
              <a:off x="6879" y="2589"/>
              <a:ext cx="1444" cy="1523"/>
            </a:xfrm>
            <a:custGeom>
              <a:avLst/>
              <a:gdLst>
                <a:gd name="T0" fmla="*/ 357 w 363"/>
                <a:gd name="T1" fmla="*/ 7 h 383"/>
                <a:gd name="T2" fmla="*/ 314 w 363"/>
                <a:gd name="T3" fmla="*/ 208 h 383"/>
                <a:gd name="T4" fmla="*/ 204 w 363"/>
                <a:gd name="T5" fmla="*/ 374 h 383"/>
                <a:gd name="T6" fmla="*/ 9 w 363"/>
                <a:gd name="T7" fmla="*/ 179 h 383"/>
                <a:gd name="T8" fmla="*/ 81 w 363"/>
                <a:gd name="T9" fmla="*/ 7 h 383"/>
                <a:gd name="T10" fmla="*/ 357 w 363"/>
                <a:gd name="T11" fmla="*/ 7 h 383"/>
                <a:gd name="T12" fmla="*/ 363 w 363"/>
                <a:gd name="T13" fmla="*/ 0 h 383"/>
                <a:gd name="T14" fmla="*/ 75 w 363"/>
                <a:gd name="T15" fmla="*/ 0 h 383"/>
                <a:gd name="T16" fmla="*/ 0 w 363"/>
                <a:gd name="T17" fmla="*/ 180 h 383"/>
                <a:gd name="T18" fmla="*/ 204 w 363"/>
                <a:gd name="T19" fmla="*/ 383 h 383"/>
                <a:gd name="T20" fmla="*/ 363 w 363"/>
                <a:gd name="T21"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3" h="383">
                  <a:moveTo>
                    <a:pt x="357" y="7"/>
                  </a:moveTo>
                  <a:cubicBezTo>
                    <a:pt x="355" y="77"/>
                    <a:pt x="341" y="144"/>
                    <a:pt x="314" y="208"/>
                  </a:cubicBezTo>
                  <a:cubicBezTo>
                    <a:pt x="287" y="270"/>
                    <a:pt x="251" y="326"/>
                    <a:pt x="204" y="374"/>
                  </a:cubicBezTo>
                  <a:cubicBezTo>
                    <a:pt x="9" y="179"/>
                    <a:pt x="9" y="179"/>
                    <a:pt x="9" y="179"/>
                  </a:cubicBezTo>
                  <a:cubicBezTo>
                    <a:pt x="53" y="132"/>
                    <a:pt x="79" y="71"/>
                    <a:pt x="81" y="7"/>
                  </a:cubicBezTo>
                  <a:cubicBezTo>
                    <a:pt x="357" y="7"/>
                    <a:pt x="357" y="7"/>
                    <a:pt x="357" y="7"/>
                  </a:cubicBezTo>
                  <a:moveTo>
                    <a:pt x="363" y="0"/>
                  </a:moveTo>
                  <a:cubicBezTo>
                    <a:pt x="75" y="0"/>
                    <a:pt x="75" y="0"/>
                    <a:pt x="75" y="0"/>
                  </a:cubicBezTo>
                  <a:cubicBezTo>
                    <a:pt x="73" y="70"/>
                    <a:pt x="45" y="133"/>
                    <a:pt x="0" y="180"/>
                  </a:cubicBezTo>
                  <a:cubicBezTo>
                    <a:pt x="204" y="383"/>
                    <a:pt x="204" y="383"/>
                    <a:pt x="204" y="383"/>
                  </a:cubicBezTo>
                  <a:cubicBezTo>
                    <a:pt x="301" y="285"/>
                    <a:pt x="362" y="149"/>
                    <a:pt x="363"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14" name="Freeform 10"/>
            <p:cNvSpPr>
              <a:spLocks noEditPoints="1"/>
            </p:cNvSpPr>
            <p:nvPr/>
          </p:nvSpPr>
          <p:spPr bwMode="auto">
            <a:xfrm>
              <a:off x="4577" y="3329"/>
              <a:ext cx="1527" cy="1443"/>
            </a:xfrm>
            <a:custGeom>
              <a:avLst/>
              <a:gdLst>
                <a:gd name="T0" fmla="*/ 204 w 384"/>
                <a:gd name="T1" fmla="*/ 9 h 363"/>
                <a:gd name="T2" fmla="*/ 377 w 384"/>
                <a:gd name="T3" fmla="*/ 81 h 363"/>
                <a:gd name="T4" fmla="*/ 377 w 384"/>
                <a:gd name="T5" fmla="*/ 356 h 363"/>
                <a:gd name="T6" fmla="*/ 176 w 384"/>
                <a:gd name="T7" fmla="*/ 313 h 363"/>
                <a:gd name="T8" fmla="*/ 10 w 384"/>
                <a:gd name="T9" fmla="*/ 204 h 363"/>
                <a:gd name="T10" fmla="*/ 204 w 384"/>
                <a:gd name="T11" fmla="*/ 9 h 363"/>
                <a:gd name="T12" fmla="*/ 204 w 384"/>
                <a:gd name="T13" fmla="*/ 0 h 363"/>
                <a:gd name="T14" fmla="*/ 0 w 384"/>
                <a:gd name="T15" fmla="*/ 204 h 363"/>
                <a:gd name="T16" fmla="*/ 384 w 384"/>
                <a:gd name="T17" fmla="*/ 363 h 363"/>
                <a:gd name="T18" fmla="*/ 384 w 384"/>
                <a:gd name="T19" fmla="*/ 74 h 363"/>
                <a:gd name="T20" fmla="*/ 204 w 384"/>
                <a:gd name="T21" fmla="*/ 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4" h="363">
                  <a:moveTo>
                    <a:pt x="204" y="9"/>
                  </a:moveTo>
                  <a:cubicBezTo>
                    <a:pt x="252" y="53"/>
                    <a:pt x="313" y="78"/>
                    <a:pt x="377" y="81"/>
                  </a:cubicBezTo>
                  <a:cubicBezTo>
                    <a:pt x="377" y="356"/>
                    <a:pt x="377" y="356"/>
                    <a:pt x="377" y="356"/>
                  </a:cubicBezTo>
                  <a:cubicBezTo>
                    <a:pt x="307" y="355"/>
                    <a:pt x="240" y="340"/>
                    <a:pt x="176" y="313"/>
                  </a:cubicBezTo>
                  <a:cubicBezTo>
                    <a:pt x="114" y="287"/>
                    <a:pt x="58" y="250"/>
                    <a:pt x="10" y="204"/>
                  </a:cubicBezTo>
                  <a:cubicBezTo>
                    <a:pt x="204" y="9"/>
                    <a:pt x="204" y="9"/>
                    <a:pt x="204" y="9"/>
                  </a:cubicBezTo>
                  <a:moveTo>
                    <a:pt x="204" y="0"/>
                  </a:moveTo>
                  <a:cubicBezTo>
                    <a:pt x="0" y="204"/>
                    <a:pt x="0" y="204"/>
                    <a:pt x="0" y="204"/>
                  </a:cubicBezTo>
                  <a:cubicBezTo>
                    <a:pt x="99" y="301"/>
                    <a:pt x="234" y="361"/>
                    <a:pt x="384" y="363"/>
                  </a:cubicBezTo>
                  <a:cubicBezTo>
                    <a:pt x="384" y="74"/>
                    <a:pt x="384" y="74"/>
                    <a:pt x="384" y="74"/>
                  </a:cubicBezTo>
                  <a:cubicBezTo>
                    <a:pt x="314" y="73"/>
                    <a:pt x="251" y="45"/>
                    <a:pt x="204"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15" name="Freeform 11"/>
            <p:cNvSpPr>
              <a:spLocks noEditPoints="1"/>
            </p:cNvSpPr>
            <p:nvPr/>
          </p:nvSpPr>
          <p:spPr bwMode="auto">
            <a:xfrm>
              <a:off x="6883" y="1026"/>
              <a:ext cx="1440" cy="1527"/>
            </a:xfrm>
            <a:custGeom>
              <a:avLst/>
              <a:gdLst>
                <a:gd name="T0" fmla="*/ 204 w 362"/>
                <a:gd name="T1" fmla="*/ 9 h 384"/>
                <a:gd name="T2" fmla="*/ 313 w 362"/>
                <a:gd name="T3" fmla="*/ 175 h 384"/>
                <a:gd name="T4" fmla="*/ 356 w 362"/>
                <a:gd name="T5" fmla="*/ 377 h 384"/>
                <a:gd name="T6" fmla="*/ 80 w 362"/>
                <a:gd name="T7" fmla="*/ 377 h 384"/>
                <a:gd name="T8" fmla="*/ 9 w 362"/>
                <a:gd name="T9" fmla="*/ 204 h 384"/>
                <a:gd name="T10" fmla="*/ 204 w 362"/>
                <a:gd name="T11" fmla="*/ 9 h 384"/>
                <a:gd name="T12" fmla="*/ 204 w 362"/>
                <a:gd name="T13" fmla="*/ 0 h 384"/>
                <a:gd name="T14" fmla="*/ 0 w 362"/>
                <a:gd name="T15" fmla="*/ 204 h 384"/>
                <a:gd name="T16" fmla="*/ 74 w 362"/>
                <a:gd name="T17" fmla="*/ 384 h 384"/>
                <a:gd name="T18" fmla="*/ 362 w 362"/>
                <a:gd name="T19" fmla="*/ 384 h 384"/>
                <a:gd name="T20" fmla="*/ 204 w 362"/>
                <a:gd name="T21"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2" h="384">
                  <a:moveTo>
                    <a:pt x="204" y="9"/>
                  </a:moveTo>
                  <a:cubicBezTo>
                    <a:pt x="250" y="58"/>
                    <a:pt x="287" y="114"/>
                    <a:pt x="313" y="175"/>
                  </a:cubicBezTo>
                  <a:cubicBezTo>
                    <a:pt x="340" y="239"/>
                    <a:pt x="354" y="307"/>
                    <a:pt x="356" y="377"/>
                  </a:cubicBezTo>
                  <a:cubicBezTo>
                    <a:pt x="80" y="377"/>
                    <a:pt x="80" y="377"/>
                    <a:pt x="80" y="377"/>
                  </a:cubicBezTo>
                  <a:cubicBezTo>
                    <a:pt x="78" y="312"/>
                    <a:pt x="53" y="251"/>
                    <a:pt x="9" y="204"/>
                  </a:cubicBezTo>
                  <a:cubicBezTo>
                    <a:pt x="204" y="9"/>
                    <a:pt x="204" y="9"/>
                    <a:pt x="204" y="9"/>
                  </a:cubicBezTo>
                  <a:moveTo>
                    <a:pt x="204" y="0"/>
                  </a:moveTo>
                  <a:cubicBezTo>
                    <a:pt x="0" y="204"/>
                    <a:pt x="0" y="204"/>
                    <a:pt x="0" y="204"/>
                  </a:cubicBezTo>
                  <a:cubicBezTo>
                    <a:pt x="45" y="250"/>
                    <a:pt x="73" y="314"/>
                    <a:pt x="74" y="384"/>
                  </a:cubicBezTo>
                  <a:cubicBezTo>
                    <a:pt x="362" y="384"/>
                    <a:pt x="362" y="384"/>
                    <a:pt x="362" y="384"/>
                  </a:cubicBezTo>
                  <a:cubicBezTo>
                    <a:pt x="361" y="234"/>
                    <a:pt x="301" y="99"/>
                    <a:pt x="204"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sp>
          <p:nvSpPr>
            <p:cNvPr id="16" name="Freeform 12"/>
            <p:cNvSpPr>
              <a:spLocks noEditPoints="1"/>
            </p:cNvSpPr>
            <p:nvPr/>
          </p:nvSpPr>
          <p:spPr bwMode="auto">
            <a:xfrm>
              <a:off x="6140" y="3329"/>
              <a:ext cx="1523" cy="1443"/>
            </a:xfrm>
            <a:custGeom>
              <a:avLst/>
              <a:gdLst>
                <a:gd name="T0" fmla="*/ 179 w 383"/>
                <a:gd name="T1" fmla="*/ 9 h 363"/>
                <a:gd name="T2" fmla="*/ 374 w 383"/>
                <a:gd name="T3" fmla="*/ 204 h 363"/>
                <a:gd name="T4" fmla="*/ 208 w 383"/>
                <a:gd name="T5" fmla="*/ 313 h 363"/>
                <a:gd name="T6" fmla="*/ 7 w 383"/>
                <a:gd name="T7" fmla="*/ 356 h 363"/>
                <a:gd name="T8" fmla="*/ 7 w 383"/>
                <a:gd name="T9" fmla="*/ 81 h 363"/>
                <a:gd name="T10" fmla="*/ 179 w 383"/>
                <a:gd name="T11" fmla="*/ 9 h 363"/>
                <a:gd name="T12" fmla="*/ 179 w 383"/>
                <a:gd name="T13" fmla="*/ 0 h 363"/>
                <a:gd name="T14" fmla="*/ 0 w 383"/>
                <a:gd name="T15" fmla="*/ 74 h 363"/>
                <a:gd name="T16" fmla="*/ 0 w 383"/>
                <a:gd name="T17" fmla="*/ 363 h 363"/>
                <a:gd name="T18" fmla="*/ 383 w 383"/>
                <a:gd name="T19" fmla="*/ 204 h 363"/>
                <a:gd name="T20" fmla="*/ 179 w 383"/>
                <a:gd name="T21" fmla="*/ 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3" h="363">
                  <a:moveTo>
                    <a:pt x="179" y="9"/>
                  </a:moveTo>
                  <a:cubicBezTo>
                    <a:pt x="374" y="204"/>
                    <a:pt x="374" y="204"/>
                    <a:pt x="374" y="204"/>
                  </a:cubicBezTo>
                  <a:cubicBezTo>
                    <a:pt x="325" y="250"/>
                    <a:pt x="270" y="287"/>
                    <a:pt x="208" y="313"/>
                  </a:cubicBezTo>
                  <a:cubicBezTo>
                    <a:pt x="144" y="340"/>
                    <a:pt x="76" y="355"/>
                    <a:pt x="7" y="356"/>
                  </a:cubicBezTo>
                  <a:cubicBezTo>
                    <a:pt x="7" y="81"/>
                    <a:pt x="7" y="81"/>
                    <a:pt x="7" y="81"/>
                  </a:cubicBezTo>
                  <a:cubicBezTo>
                    <a:pt x="71" y="78"/>
                    <a:pt x="132" y="53"/>
                    <a:pt x="179" y="9"/>
                  </a:cubicBezTo>
                  <a:moveTo>
                    <a:pt x="179" y="0"/>
                  </a:moveTo>
                  <a:cubicBezTo>
                    <a:pt x="133" y="45"/>
                    <a:pt x="70" y="73"/>
                    <a:pt x="0" y="74"/>
                  </a:cubicBezTo>
                  <a:cubicBezTo>
                    <a:pt x="0" y="363"/>
                    <a:pt x="0" y="363"/>
                    <a:pt x="0" y="363"/>
                  </a:cubicBezTo>
                  <a:cubicBezTo>
                    <a:pt x="149" y="361"/>
                    <a:pt x="285" y="301"/>
                    <a:pt x="383" y="204"/>
                  </a:cubicBezTo>
                  <a:cubicBezTo>
                    <a:pt x="179" y="0"/>
                    <a:pt x="179" y="0"/>
                    <a:pt x="17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endParaRPr lang="en-US" sz="1764"/>
            </a:p>
          </p:txBody>
        </p:sp>
      </p:grpSp>
      <p:sp>
        <p:nvSpPr>
          <p:cNvPr id="18" name="Pie 17"/>
          <p:cNvSpPr/>
          <p:nvPr/>
        </p:nvSpPr>
        <p:spPr>
          <a:xfrm rot="10800000">
            <a:off x="10396442" y="5060636"/>
            <a:ext cx="3584765" cy="3584765"/>
          </a:xfrm>
          <a:prstGeom prst="pie">
            <a:avLst>
              <a:gd name="adj1" fmla="val 0"/>
              <a:gd name="adj2" fmla="val 540532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1764">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p:cNvSpPr/>
          <p:nvPr/>
        </p:nvSpPr>
        <p:spPr>
          <a:xfrm>
            <a:off x="434639" y="1349829"/>
            <a:ext cx="11445750" cy="5065485"/>
          </a:xfrm>
          <a:prstGeom prst="rect">
            <a:avLst/>
          </a:prstGeom>
          <a:solidFill>
            <a:srgbClr val="45ACC8"/>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TextBox 6"/>
          <p:cNvSpPr txBox="1"/>
          <p:nvPr/>
        </p:nvSpPr>
        <p:spPr>
          <a:xfrm>
            <a:off x="2354801" y="2268086"/>
            <a:ext cx="9069942" cy="2524665"/>
          </a:xfrm>
          <a:prstGeom prst="rect">
            <a:avLst/>
          </a:prstGeom>
          <a:noFill/>
        </p:spPr>
        <p:txBody>
          <a:bodyPr wrap="square" bIns="0" rtlCol="0">
            <a:spAutoFit/>
          </a:bodyPr>
          <a:lstStyle/>
          <a:p>
            <a:pPr>
              <a:lnSpc>
                <a:spcPct val="90000"/>
              </a:lnSpc>
            </a:pPr>
            <a:r>
              <a:rPr lang="en-US" sz="3920" spc="-157" dirty="0" smtClean="0">
                <a:solidFill>
                  <a:schemeClr val="bg1"/>
                </a:solidFill>
                <a:latin typeface="Segoe UI" panose="020B0502040204020203" pitchFamily="34" charset="0"/>
                <a:ea typeface="Segoe UI" panose="020B0502040204020203" pitchFamily="34" charset="0"/>
                <a:cs typeface="Segoe UI" panose="020B0502040204020203" pitchFamily="34" charset="0"/>
              </a:rPr>
              <a:t>Let us assess your </a:t>
            </a:r>
            <a:r>
              <a:rPr lang="en-US" sz="3920" spc="-157" dirty="0" smtClean="0">
                <a:solidFill>
                  <a:schemeClr val="bg1"/>
                </a:solidFill>
                <a:latin typeface="Segoe UI" panose="020B0502040204020203" pitchFamily="34" charset="0"/>
                <a:ea typeface="Segoe UI" panose="020B0502040204020203" pitchFamily="34" charset="0"/>
                <a:cs typeface="Segoe UI" panose="020B0502040204020203" pitchFamily="34" charset="0"/>
              </a:rPr>
              <a:t>requirements</a:t>
            </a:r>
          </a:p>
          <a:p>
            <a:pPr>
              <a:lnSpc>
                <a:spcPct val="90000"/>
              </a:lnSpc>
            </a:pPr>
            <a:endParaRPr lang="en-US" sz="3000" spc="-157" dirty="0" smtClean="0">
              <a:solidFill>
                <a:schemeClr val="bg1"/>
              </a:solidFill>
              <a:latin typeface="Segoe UI" panose="020B0502040204020203" pitchFamily="34" charset="0"/>
              <a:ea typeface="Segoe UI" panose="020B0502040204020203" pitchFamily="34" charset="0"/>
              <a:cs typeface="Segoe UI" panose="020B0502040204020203" pitchFamily="34" charset="0"/>
            </a:endParaRPr>
          </a:p>
          <a:p>
            <a:pPr>
              <a:lnSpc>
                <a:spcPct val="90000"/>
              </a:lnSpc>
            </a:pPr>
            <a:r>
              <a:rPr lang="en-US" sz="3920" spc="-157" dirty="0" smtClean="0">
                <a:solidFill>
                  <a:schemeClr val="bg1"/>
                </a:solidFill>
                <a:latin typeface="Segoe UI" panose="020B0502040204020203" pitchFamily="34" charset="0"/>
                <a:ea typeface="Segoe UI" panose="020B0502040204020203" pitchFamily="34" charset="0"/>
                <a:cs typeface="Segoe UI" panose="020B0502040204020203" pitchFamily="34" charset="0"/>
              </a:rPr>
              <a:t>Begin your free trial</a:t>
            </a:r>
            <a:endParaRPr lang="en-US" sz="3136" spc="-157" dirty="0">
              <a:solidFill>
                <a:schemeClr val="bg1"/>
              </a:solidFill>
              <a:latin typeface="Segoe UI" panose="020B0502040204020203" pitchFamily="34" charset="0"/>
              <a:ea typeface="Segoe UI" panose="020B0502040204020203" pitchFamily="34" charset="0"/>
              <a:cs typeface="Segoe UI" panose="020B0502040204020203" pitchFamily="34" charset="0"/>
            </a:endParaRPr>
          </a:p>
          <a:p>
            <a:pPr>
              <a:lnSpc>
                <a:spcPct val="90000"/>
              </a:lnSpc>
            </a:pPr>
            <a:r>
              <a:rPr lang="en-US" sz="3136" spc="-157" dirty="0" smtClean="0">
                <a:solidFill>
                  <a:schemeClr val="bg1"/>
                </a:solidFill>
                <a:latin typeface="Segoe UI" panose="020B0502040204020203" pitchFamily="34" charset="0"/>
                <a:ea typeface="Segoe UI" panose="020B0502040204020203" pitchFamily="34" charset="0"/>
                <a:cs typeface="Segoe UI" panose="020B0502040204020203" pitchFamily="34" charset="0"/>
              </a:rPr>
              <a:t/>
            </a:r>
            <a:br>
              <a:rPr lang="en-US" sz="3136" spc="-157" dirty="0" smtClean="0">
                <a:solidFill>
                  <a:schemeClr val="bg1"/>
                </a:solidFill>
                <a:latin typeface="Segoe UI" panose="020B0502040204020203" pitchFamily="34" charset="0"/>
                <a:ea typeface="Segoe UI" panose="020B0502040204020203" pitchFamily="34" charset="0"/>
                <a:cs typeface="Segoe UI" panose="020B0502040204020203" pitchFamily="34" charset="0"/>
              </a:rPr>
            </a:br>
            <a:r>
              <a:rPr lang="en-US" sz="3920" spc="-157" dirty="0" smtClean="0">
                <a:solidFill>
                  <a:schemeClr val="bg1"/>
                </a:solidFill>
                <a:latin typeface="Segoe UI" panose="020B0502040204020203" pitchFamily="34" charset="0"/>
                <a:ea typeface="Segoe UI" panose="020B0502040204020203" pitchFamily="34" charset="0"/>
                <a:cs typeface="Segoe UI" panose="020B0502040204020203" pitchFamily="34" charset="0"/>
              </a:rPr>
              <a:t>Let’s get started</a:t>
            </a:r>
            <a:endParaRPr lang="en-US" sz="3920" spc="-157" dirty="0">
              <a:solidFill>
                <a:schemeClr val="bg1"/>
              </a:solidFill>
              <a:latin typeface="Segoe UI" panose="020B0502040204020203" pitchFamily="34" charset="0"/>
              <a:ea typeface="Segoe UI" panose="020B0502040204020203" pitchFamily="34" charset="0"/>
              <a:cs typeface="Segoe UI" panose="020B0502040204020203" pitchFamily="34" charset="0"/>
            </a:endParaRPr>
          </a:p>
        </p:txBody>
      </p:sp>
      <p:pic>
        <p:nvPicPr>
          <p:cNvPr id="23" name="Picture 22"/>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522169" y="2291198"/>
            <a:ext cx="578070" cy="576700"/>
          </a:xfrm>
          <a:prstGeom prst="rect">
            <a:avLst/>
          </a:prstGeom>
        </p:spPr>
      </p:pic>
      <p:pic>
        <p:nvPicPr>
          <p:cNvPr id="24" name="Picture 23"/>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527391" y="3264119"/>
            <a:ext cx="578070" cy="576700"/>
          </a:xfrm>
          <a:prstGeom prst="rect">
            <a:avLst/>
          </a:prstGeom>
        </p:spPr>
      </p:pic>
      <p:pic>
        <p:nvPicPr>
          <p:cNvPr id="25" name="Picture 24"/>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9037011" y="5214433"/>
            <a:ext cx="2718860" cy="941808"/>
          </a:xfrm>
          <a:prstGeom prst="rect">
            <a:avLst/>
          </a:prstGeom>
        </p:spPr>
      </p:pic>
      <p:pic>
        <p:nvPicPr>
          <p:cNvPr id="21" name="Picture 20"/>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512530" y="4235996"/>
            <a:ext cx="578070" cy="576700"/>
          </a:xfrm>
          <a:prstGeom prst="rect">
            <a:avLst/>
          </a:prstGeom>
        </p:spPr>
      </p:pic>
    </p:spTree>
    <p:extLst>
      <p:ext uri="{BB962C8B-B14F-4D97-AF65-F5344CB8AC3E}">
        <p14:creationId xmlns:p14="http://schemas.microsoft.com/office/powerpoint/2010/main" val="1515110312"/>
      </p:ext>
    </p:extLst>
  </p:cSld>
  <p:clrMapOvr>
    <a:masterClrMapping/>
  </p:clrMapOvr>
  <p:transition spd="slow">
    <p:wipe dir="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Box 15"/>
          <p:cNvSpPr txBox="1"/>
          <p:nvPr/>
        </p:nvSpPr>
        <p:spPr>
          <a:xfrm>
            <a:off x="362241" y="396167"/>
            <a:ext cx="3477972" cy="615553"/>
          </a:xfrm>
          <a:prstGeom prst="rect">
            <a:avLst/>
          </a:prstGeom>
          <a:noFill/>
        </p:spPr>
        <p:txBody>
          <a:bodyPr wrap="square" lIns="0" tIns="0" rIns="0" bIns="0" rtlCol="0">
            <a:spAutoFit/>
          </a:bodyPr>
          <a:lstStyle/>
          <a:p>
            <a:r>
              <a:rPr lang="en-US" sz="4000" spc="-150" dirty="0" smtClean="0">
                <a:solidFill>
                  <a:schemeClr val="bg1"/>
                </a:solidFill>
                <a:latin typeface="Segoe UI Semibold" panose="020B0702040204020203" pitchFamily="34" charset="0"/>
                <a:cs typeface="Segoe UI Semibold" panose="020B0702040204020203" pitchFamily="34" charset="0"/>
              </a:rPr>
              <a:t>Mobility</a:t>
            </a:r>
          </a:p>
        </p:txBody>
      </p:sp>
      <p:sp>
        <p:nvSpPr>
          <p:cNvPr id="2" name="Rectangle 1"/>
          <p:cNvSpPr/>
          <p:nvPr/>
        </p:nvSpPr>
        <p:spPr bwMode="auto">
          <a:xfrm>
            <a:off x="-47172" y="5687653"/>
            <a:ext cx="10829017" cy="1201671"/>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22" name="Group 21"/>
          <p:cNvGrpSpPr/>
          <p:nvPr/>
        </p:nvGrpSpPr>
        <p:grpSpPr>
          <a:xfrm>
            <a:off x="10276223" y="4705498"/>
            <a:ext cx="1981686" cy="2183826"/>
            <a:chOff x="3982076" y="4694333"/>
            <a:chExt cx="2056602" cy="2036808"/>
          </a:xfrm>
        </p:grpSpPr>
        <p:sp>
          <p:nvSpPr>
            <p:cNvPr id="23" name="Rectangle 22"/>
            <p:cNvSpPr>
              <a:spLocks noChangeArrowheads="1"/>
            </p:cNvSpPr>
            <p:nvPr/>
          </p:nvSpPr>
          <p:spPr bwMode="auto">
            <a:xfrm>
              <a:off x="3982076" y="6660603"/>
              <a:ext cx="640080" cy="70538"/>
            </a:xfrm>
            <a:prstGeom prst="rect">
              <a:avLst/>
            </a:prstGeom>
            <a:solidFill>
              <a:srgbClr val="7FBA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dirty="0">
                <a:solidFill>
                  <a:srgbClr val="000000"/>
                </a:solidFill>
              </a:endParaRPr>
            </a:p>
          </p:txBody>
        </p:sp>
        <p:sp>
          <p:nvSpPr>
            <p:cNvPr id="24" name="Freeform 23"/>
            <p:cNvSpPr>
              <a:spLocks/>
            </p:cNvSpPr>
            <p:nvPr/>
          </p:nvSpPr>
          <p:spPr bwMode="auto">
            <a:xfrm>
              <a:off x="4857164" y="5730850"/>
              <a:ext cx="1181514" cy="993413"/>
            </a:xfrm>
            <a:custGeom>
              <a:avLst/>
              <a:gdLst>
                <a:gd name="T0" fmla="*/ 332 w 603"/>
                <a:gd name="T1" fmla="*/ 86 h 507"/>
                <a:gd name="T2" fmla="*/ 332 w 603"/>
                <a:gd name="T3" fmla="*/ 0 h 507"/>
                <a:gd name="T4" fmla="*/ 398 w 603"/>
                <a:gd name="T5" fmla="*/ 0 h 507"/>
                <a:gd name="T6" fmla="*/ 398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2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2" y="86"/>
                  </a:moveTo>
                  <a:lnTo>
                    <a:pt x="332" y="0"/>
                  </a:lnTo>
                  <a:lnTo>
                    <a:pt x="398" y="0"/>
                  </a:lnTo>
                  <a:lnTo>
                    <a:pt x="398"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2" y="86"/>
                  </a:lnTo>
                  <a:close/>
                </a:path>
              </a:pathLst>
            </a:custGeom>
            <a:solidFill>
              <a:schemeClr val="bg2">
                <a:lumMod val="40000"/>
                <a:lumOff val="60000"/>
              </a:scheme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dirty="0">
                <a:solidFill>
                  <a:srgbClr val="000000"/>
                </a:solidFill>
              </a:endParaRPr>
            </a:p>
          </p:txBody>
        </p:sp>
        <p:sp>
          <p:nvSpPr>
            <p:cNvPr id="25" name="Rectangle 24"/>
            <p:cNvSpPr>
              <a:spLocks noChangeArrowheads="1"/>
            </p:cNvSpPr>
            <p:nvPr/>
          </p:nvSpPr>
          <p:spPr bwMode="auto">
            <a:xfrm>
              <a:off x="5399915" y="6653725"/>
              <a:ext cx="403635" cy="70538"/>
            </a:xfrm>
            <a:prstGeom prst="rect">
              <a:avLst/>
            </a:prstGeom>
            <a:solidFill>
              <a:srgbClr val="7FBA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dirty="0">
                <a:solidFill>
                  <a:srgbClr val="000000"/>
                </a:solidFill>
              </a:endParaRPr>
            </a:p>
          </p:txBody>
        </p:sp>
        <p:sp>
          <p:nvSpPr>
            <p:cNvPr id="26" name="Freeform 25"/>
            <p:cNvSpPr>
              <a:spLocks/>
            </p:cNvSpPr>
            <p:nvPr/>
          </p:nvSpPr>
          <p:spPr bwMode="auto">
            <a:xfrm>
              <a:off x="4234077" y="5730850"/>
              <a:ext cx="1181514" cy="993413"/>
            </a:xfrm>
            <a:custGeom>
              <a:avLst/>
              <a:gdLst>
                <a:gd name="T0" fmla="*/ 333 w 603"/>
                <a:gd name="T1" fmla="*/ 86 h 507"/>
                <a:gd name="T2" fmla="*/ 333 w 603"/>
                <a:gd name="T3" fmla="*/ 0 h 507"/>
                <a:gd name="T4" fmla="*/ 397 w 603"/>
                <a:gd name="T5" fmla="*/ 0 h 507"/>
                <a:gd name="T6" fmla="*/ 397 w 603"/>
                <a:gd name="T7" fmla="*/ 86 h 507"/>
                <a:gd name="T8" fmla="*/ 420 w 603"/>
                <a:gd name="T9" fmla="*/ 86 h 507"/>
                <a:gd name="T10" fmla="*/ 420 w 603"/>
                <a:gd name="T11" fmla="*/ 0 h 507"/>
                <a:gd name="T12" fmla="*/ 486 w 603"/>
                <a:gd name="T13" fmla="*/ 0 h 507"/>
                <a:gd name="T14" fmla="*/ 486 w 603"/>
                <a:gd name="T15" fmla="*/ 86 h 507"/>
                <a:gd name="T16" fmla="*/ 603 w 603"/>
                <a:gd name="T17" fmla="*/ 86 h 507"/>
                <a:gd name="T18" fmla="*/ 603 w 603"/>
                <a:gd name="T19" fmla="*/ 106 h 507"/>
                <a:gd name="T20" fmla="*/ 576 w 603"/>
                <a:gd name="T21" fmla="*/ 106 h 507"/>
                <a:gd name="T22" fmla="*/ 576 w 603"/>
                <a:gd name="T23" fmla="*/ 507 h 507"/>
                <a:gd name="T24" fmla="*/ 28 w 603"/>
                <a:gd name="T25" fmla="*/ 507 h 507"/>
                <a:gd name="T26" fmla="*/ 28 w 603"/>
                <a:gd name="T27" fmla="*/ 106 h 507"/>
                <a:gd name="T28" fmla="*/ 0 w 603"/>
                <a:gd name="T29" fmla="*/ 106 h 507"/>
                <a:gd name="T30" fmla="*/ 0 w 603"/>
                <a:gd name="T31" fmla="*/ 86 h 507"/>
                <a:gd name="T32" fmla="*/ 333 w 603"/>
                <a:gd name="T33" fmla="*/ 86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3" h="507">
                  <a:moveTo>
                    <a:pt x="333" y="86"/>
                  </a:moveTo>
                  <a:lnTo>
                    <a:pt x="333" y="0"/>
                  </a:lnTo>
                  <a:lnTo>
                    <a:pt x="397" y="0"/>
                  </a:lnTo>
                  <a:lnTo>
                    <a:pt x="397" y="86"/>
                  </a:lnTo>
                  <a:lnTo>
                    <a:pt x="420" y="86"/>
                  </a:lnTo>
                  <a:lnTo>
                    <a:pt x="420" y="0"/>
                  </a:lnTo>
                  <a:lnTo>
                    <a:pt x="486" y="0"/>
                  </a:lnTo>
                  <a:lnTo>
                    <a:pt x="486" y="86"/>
                  </a:lnTo>
                  <a:lnTo>
                    <a:pt x="603" y="86"/>
                  </a:lnTo>
                  <a:lnTo>
                    <a:pt x="603" y="106"/>
                  </a:lnTo>
                  <a:lnTo>
                    <a:pt x="576" y="106"/>
                  </a:lnTo>
                  <a:lnTo>
                    <a:pt x="576" y="507"/>
                  </a:lnTo>
                  <a:lnTo>
                    <a:pt x="28" y="507"/>
                  </a:lnTo>
                  <a:lnTo>
                    <a:pt x="28" y="106"/>
                  </a:lnTo>
                  <a:lnTo>
                    <a:pt x="0" y="106"/>
                  </a:lnTo>
                  <a:lnTo>
                    <a:pt x="0" y="86"/>
                  </a:lnTo>
                  <a:lnTo>
                    <a:pt x="333" y="86"/>
                  </a:lnTo>
                  <a:close/>
                </a:path>
              </a:pathLst>
            </a:cu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dirty="0">
                <a:solidFill>
                  <a:srgbClr val="000000"/>
                </a:solidFill>
              </a:endParaRPr>
            </a:p>
          </p:txBody>
        </p:sp>
        <p:sp>
          <p:nvSpPr>
            <p:cNvPr id="27" name="Rectangle 26"/>
            <p:cNvSpPr>
              <a:spLocks noChangeArrowheads="1"/>
            </p:cNvSpPr>
            <p:nvPr/>
          </p:nvSpPr>
          <p:spPr bwMode="auto">
            <a:xfrm>
              <a:off x="4120303" y="6431354"/>
              <a:ext cx="62700" cy="229250"/>
            </a:xfrm>
            <a:prstGeom prst="rect">
              <a:avLst/>
            </a:prstGeom>
            <a:solidFill>
              <a:srgbClr val="9696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dirty="0">
                <a:solidFill>
                  <a:srgbClr val="000000"/>
                </a:solidFill>
              </a:endParaRPr>
            </a:p>
          </p:txBody>
        </p:sp>
        <p:sp>
          <p:nvSpPr>
            <p:cNvPr id="28" name="Oval 27"/>
            <p:cNvSpPr>
              <a:spLocks noChangeArrowheads="1"/>
            </p:cNvSpPr>
            <p:nvPr/>
          </p:nvSpPr>
          <p:spPr bwMode="auto">
            <a:xfrm>
              <a:off x="4000779" y="6220699"/>
              <a:ext cx="305666" cy="305665"/>
            </a:xfrm>
            <a:prstGeom prst="ellipse">
              <a:avLst/>
            </a:prstGeom>
            <a:solidFill>
              <a:srgbClr val="7FBA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dirty="0">
                <a:solidFill>
                  <a:srgbClr val="000000"/>
                </a:solidFill>
              </a:endParaRPr>
            </a:p>
          </p:txBody>
        </p:sp>
        <p:sp>
          <p:nvSpPr>
            <p:cNvPr id="29" name="Oval 28"/>
            <p:cNvSpPr>
              <a:spLocks noChangeArrowheads="1"/>
            </p:cNvSpPr>
            <p:nvPr/>
          </p:nvSpPr>
          <p:spPr bwMode="auto">
            <a:xfrm>
              <a:off x="4039967" y="6063947"/>
              <a:ext cx="227289" cy="223371"/>
            </a:xfrm>
            <a:prstGeom prst="ellipse">
              <a:avLst/>
            </a:prstGeom>
            <a:solidFill>
              <a:srgbClr val="7FBA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dirty="0">
                <a:solidFill>
                  <a:srgbClr val="000000"/>
                </a:solidFill>
              </a:endParaRPr>
            </a:p>
          </p:txBody>
        </p:sp>
        <p:sp>
          <p:nvSpPr>
            <p:cNvPr id="30" name="Rectangle 29"/>
            <p:cNvSpPr>
              <a:spLocks noChangeArrowheads="1"/>
            </p:cNvSpPr>
            <p:nvPr/>
          </p:nvSpPr>
          <p:spPr bwMode="auto">
            <a:xfrm>
              <a:off x="4408463" y="4902029"/>
              <a:ext cx="1073746" cy="1822234"/>
            </a:xfrm>
            <a:prstGeom prst="rect">
              <a:avLst/>
            </a:prstGeom>
            <a:solidFill>
              <a:schemeClr val="accent6">
                <a:lumMod val="60000"/>
                <a:lumOff val="40000"/>
              </a:scheme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dirty="0">
                <a:solidFill>
                  <a:srgbClr val="000000"/>
                </a:solidFill>
              </a:endParaRPr>
            </a:p>
          </p:txBody>
        </p:sp>
        <p:sp>
          <p:nvSpPr>
            <p:cNvPr id="31" name="Rectangle 30"/>
            <p:cNvSpPr>
              <a:spLocks noChangeArrowheads="1"/>
            </p:cNvSpPr>
            <p:nvPr/>
          </p:nvSpPr>
          <p:spPr bwMode="auto">
            <a:xfrm>
              <a:off x="4353600" y="4862841"/>
              <a:ext cx="1181514" cy="39188"/>
            </a:xfrm>
            <a:prstGeom prst="rect">
              <a:avLst/>
            </a:prstGeom>
            <a:solidFill>
              <a:srgbClr val="9B4F96"/>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dirty="0">
                <a:solidFill>
                  <a:srgbClr val="000000"/>
                </a:solidFill>
              </a:endParaRPr>
            </a:p>
          </p:txBody>
        </p:sp>
        <p:sp>
          <p:nvSpPr>
            <p:cNvPr id="32" name="Rectangle 31"/>
            <p:cNvSpPr>
              <a:spLocks noChangeArrowheads="1"/>
            </p:cNvSpPr>
            <p:nvPr/>
          </p:nvSpPr>
          <p:spPr bwMode="auto">
            <a:xfrm>
              <a:off x="4998240" y="6451907"/>
              <a:ext cx="141077" cy="272356"/>
            </a:xfrm>
            <a:prstGeom prst="rect">
              <a:avLst/>
            </a:prstGeom>
            <a:solidFill>
              <a:srgbClr val="663300">
                <a:lumMod val="75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dirty="0">
                <a:solidFill>
                  <a:srgbClr val="000000"/>
                </a:solidFill>
              </a:endParaRPr>
            </a:p>
          </p:txBody>
        </p:sp>
        <p:sp>
          <p:nvSpPr>
            <p:cNvPr id="33" name="Rectangle 32"/>
            <p:cNvSpPr>
              <a:spLocks noChangeArrowheads="1"/>
            </p:cNvSpPr>
            <p:nvPr/>
          </p:nvSpPr>
          <p:spPr bwMode="auto">
            <a:xfrm>
              <a:off x="4755276" y="6451907"/>
              <a:ext cx="139116" cy="272356"/>
            </a:xfrm>
            <a:prstGeom prst="rect">
              <a:avLst/>
            </a:prstGeom>
            <a:solidFill>
              <a:srgbClr val="663300">
                <a:lumMod val="75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dirty="0">
                <a:solidFill>
                  <a:srgbClr val="000000"/>
                </a:solidFill>
              </a:endParaRPr>
            </a:p>
          </p:txBody>
        </p:sp>
        <p:sp>
          <p:nvSpPr>
            <p:cNvPr id="34" name="Rectangle 33"/>
            <p:cNvSpPr>
              <a:spLocks noChangeArrowheads="1"/>
            </p:cNvSpPr>
            <p:nvPr/>
          </p:nvSpPr>
          <p:spPr bwMode="auto">
            <a:xfrm>
              <a:off x="4512311" y="5503561"/>
              <a:ext cx="868010" cy="139117"/>
            </a:xfrm>
            <a:prstGeom prst="rect">
              <a:avLst/>
            </a:prstGeom>
            <a:solidFill>
              <a:srgbClr val="663300">
                <a:lumMod val="75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dirty="0">
                <a:solidFill>
                  <a:srgbClr val="000000"/>
                </a:solidFill>
              </a:endParaRPr>
            </a:p>
          </p:txBody>
        </p:sp>
        <p:sp>
          <p:nvSpPr>
            <p:cNvPr id="35" name="Rectangle 34"/>
            <p:cNvSpPr>
              <a:spLocks noChangeArrowheads="1"/>
            </p:cNvSpPr>
            <p:nvPr/>
          </p:nvSpPr>
          <p:spPr bwMode="auto">
            <a:xfrm>
              <a:off x="4512311" y="5744567"/>
              <a:ext cx="868010" cy="141077"/>
            </a:xfrm>
            <a:prstGeom prst="rect">
              <a:avLst/>
            </a:prstGeom>
            <a:solidFill>
              <a:srgbClr val="663300">
                <a:lumMod val="75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dirty="0">
                <a:solidFill>
                  <a:srgbClr val="000000"/>
                </a:solidFill>
              </a:endParaRPr>
            </a:p>
          </p:txBody>
        </p:sp>
        <p:sp>
          <p:nvSpPr>
            <p:cNvPr id="36" name="Rectangle 35"/>
            <p:cNvSpPr>
              <a:spLocks noChangeArrowheads="1"/>
            </p:cNvSpPr>
            <p:nvPr/>
          </p:nvSpPr>
          <p:spPr bwMode="auto">
            <a:xfrm>
              <a:off x="4512311" y="5985572"/>
              <a:ext cx="868010" cy="141077"/>
            </a:xfrm>
            <a:prstGeom prst="rect">
              <a:avLst/>
            </a:prstGeom>
            <a:solidFill>
              <a:srgbClr val="663300">
                <a:lumMod val="75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dirty="0">
                <a:solidFill>
                  <a:srgbClr val="000000"/>
                </a:solidFill>
              </a:endParaRPr>
            </a:p>
          </p:txBody>
        </p:sp>
        <p:sp>
          <p:nvSpPr>
            <p:cNvPr id="37" name="Rectangle 36"/>
            <p:cNvSpPr>
              <a:spLocks noChangeArrowheads="1"/>
            </p:cNvSpPr>
            <p:nvPr/>
          </p:nvSpPr>
          <p:spPr bwMode="auto">
            <a:xfrm>
              <a:off x="4512311" y="6226578"/>
              <a:ext cx="868010" cy="141077"/>
            </a:xfrm>
            <a:prstGeom prst="rect">
              <a:avLst/>
            </a:prstGeom>
            <a:solidFill>
              <a:srgbClr val="663300">
                <a:lumMod val="75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dirty="0">
                <a:solidFill>
                  <a:srgbClr val="000000"/>
                </a:solidFill>
              </a:endParaRPr>
            </a:p>
          </p:txBody>
        </p:sp>
        <p:sp>
          <p:nvSpPr>
            <p:cNvPr id="38" name="Rectangle 37"/>
            <p:cNvSpPr>
              <a:spLocks noChangeArrowheads="1"/>
            </p:cNvSpPr>
            <p:nvPr/>
          </p:nvSpPr>
          <p:spPr bwMode="auto">
            <a:xfrm>
              <a:off x="4512311" y="5021551"/>
              <a:ext cx="868010" cy="139117"/>
            </a:xfrm>
            <a:prstGeom prst="rect">
              <a:avLst/>
            </a:prstGeom>
            <a:solidFill>
              <a:srgbClr val="663300">
                <a:lumMod val="75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dirty="0">
                <a:solidFill>
                  <a:srgbClr val="000000"/>
                </a:solidFill>
              </a:endParaRPr>
            </a:p>
          </p:txBody>
        </p:sp>
        <p:sp>
          <p:nvSpPr>
            <p:cNvPr id="39" name="Rectangle 38"/>
            <p:cNvSpPr>
              <a:spLocks noChangeArrowheads="1"/>
            </p:cNvSpPr>
            <p:nvPr/>
          </p:nvSpPr>
          <p:spPr bwMode="auto">
            <a:xfrm>
              <a:off x="4512311" y="5262557"/>
              <a:ext cx="868010" cy="139117"/>
            </a:xfrm>
            <a:prstGeom prst="rect">
              <a:avLst/>
            </a:prstGeom>
            <a:solidFill>
              <a:srgbClr val="663300">
                <a:lumMod val="75000"/>
              </a:srgb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dirty="0">
                <a:solidFill>
                  <a:srgbClr val="000000"/>
                </a:solidFill>
              </a:endParaRPr>
            </a:p>
          </p:txBody>
        </p:sp>
        <p:sp>
          <p:nvSpPr>
            <p:cNvPr id="40" name="Rectangle 39"/>
            <p:cNvSpPr>
              <a:spLocks noChangeArrowheads="1"/>
            </p:cNvSpPr>
            <p:nvPr/>
          </p:nvSpPr>
          <p:spPr bwMode="auto">
            <a:xfrm>
              <a:off x="5176544" y="4694333"/>
              <a:ext cx="129320" cy="168508"/>
            </a:xfrm>
            <a:prstGeom prst="rect">
              <a:avLst/>
            </a:pr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dirty="0">
                <a:solidFill>
                  <a:srgbClr val="000000"/>
                </a:solidFill>
              </a:endParaRPr>
            </a:p>
          </p:txBody>
        </p:sp>
        <p:sp>
          <p:nvSpPr>
            <p:cNvPr id="41" name="Rectangle 40"/>
            <p:cNvSpPr>
              <a:spLocks noChangeArrowheads="1"/>
            </p:cNvSpPr>
            <p:nvPr/>
          </p:nvSpPr>
          <p:spPr bwMode="auto">
            <a:xfrm>
              <a:off x="5004118" y="4694333"/>
              <a:ext cx="127360" cy="168508"/>
            </a:xfrm>
            <a:prstGeom prst="rect">
              <a:avLst/>
            </a:prstGeom>
            <a:solidFill>
              <a:sysClr val="window" lastClr="FFFFFF">
                <a:lumMod val="75000"/>
              </a:sys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32316" rtl="0" eaLnBrk="1" latinLnBrk="0" hangingPunct="1">
                <a:defRPr sz="1836" kern="1200">
                  <a:solidFill>
                    <a:schemeClr val="tx1"/>
                  </a:solidFill>
                  <a:latin typeface="+mn-lt"/>
                  <a:ea typeface="+mn-ea"/>
                  <a:cs typeface="+mn-cs"/>
                </a:defRPr>
              </a:lvl1pPr>
              <a:lvl2pPr marL="466155" algn="l" defTabSz="932316" rtl="0" eaLnBrk="1" latinLnBrk="0" hangingPunct="1">
                <a:defRPr sz="1836" kern="1200">
                  <a:solidFill>
                    <a:schemeClr val="tx1"/>
                  </a:solidFill>
                  <a:latin typeface="+mn-lt"/>
                  <a:ea typeface="+mn-ea"/>
                  <a:cs typeface="+mn-cs"/>
                </a:defRPr>
              </a:lvl2pPr>
              <a:lvl3pPr marL="932316" algn="l" defTabSz="932316" rtl="0" eaLnBrk="1" latinLnBrk="0" hangingPunct="1">
                <a:defRPr sz="1836" kern="1200">
                  <a:solidFill>
                    <a:schemeClr val="tx1"/>
                  </a:solidFill>
                  <a:latin typeface="+mn-lt"/>
                  <a:ea typeface="+mn-ea"/>
                  <a:cs typeface="+mn-cs"/>
                </a:defRPr>
              </a:lvl3pPr>
              <a:lvl4pPr marL="1398471" algn="l" defTabSz="932316" rtl="0" eaLnBrk="1" latinLnBrk="0" hangingPunct="1">
                <a:defRPr sz="1836" kern="1200">
                  <a:solidFill>
                    <a:schemeClr val="tx1"/>
                  </a:solidFill>
                  <a:latin typeface="+mn-lt"/>
                  <a:ea typeface="+mn-ea"/>
                  <a:cs typeface="+mn-cs"/>
                </a:defRPr>
              </a:lvl4pPr>
              <a:lvl5pPr marL="1864631" algn="l" defTabSz="932316" rtl="0" eaLnBrk="1" latinLnBrk="0" hangingPunct="1">
                <a:defRPr sz="1836" kern="1200">
                  <a:solidFill>
                    <a:schemeClr val="tx1"/>
                  </a:solidFill>
                  <a:latin typeface="+mn-lt"/>
                  <a:ea typeface="+mn-ea"/>
                  <a:cs typeface="+mn-cs"/>
                </a:defRPr>
              </a:lvl5pPr>
              <a:lvl6pPr marL="2330787" algn="l" defTabSz="932316" rtl="0" eaLnBrk="1" latinLnBrk="0" hangingPunct="1">
                <a:defRPr sz="1836" kern="1200">
                  <a:solidFill>
                    <a:schemeClr val="tx1"/>
                  </a:solidFill>
                  <a:latin typeface="+mn-lt"/>
                  <a:ea typeface="+mn-ea"/>
                  <a:cs typeface="+mn-cs"/>
                </a:defRPr>
              </a:lvl6pPr>
              <a:lvl7pPr marL="2796947" algn="l" defTabSz="932316" rtl="0" eaLnBrk="1" latinLnBrk="0" hangingPunct="1">
                <a:defRPr sz="1836" kern="1200">
                  <a:solidFill>
                    <a:schemeClr val="tx1"/>
                  </a:solidFill>
                  <a:latin typeface="+mn-lt"/>
                  <a:ea typeface="+mn-ea"/>
                  <a:cs typeface="+mn-cs"/>
                </a:defRPr>
              </a:lvl7pPr>
              <a:lvl8pPr marL="3263102" algn="l" defTabSz="932316" rtl="0" eaLnBrk="1" latinLnBrk="0" hangingPunct="1">
                <a:defRPr sz="1836" kern="1200">
                  <a:solidFill>
                    <a:schemeClr val="tx1"/>
                  </a:solidFill>
                  <a:latin typeface="+mn-lt"/>
                  <a:ea typeface="+mn-ea"/>
                  <a:cs typeface="+mn-cs"/>
                </a:defRPr>
              </a:lvl8pPr>
              <a:lvl9pPr marL="3729258" algn="l" defTabSz="932316" rtl="0" eaLnBrk="1" latinLnBrk="0" hangingPunct="1">
                <a:defRPr sz="1836" kern="1200">
                  <a:solidFill>
                    <a:schemeClr val="tx1"/>
                  </a:solidFill>
                  <a:latin typeface="+mn-lt"/>
                  <a:ea typeface="+mn-ea"/>
                  <a:cs typeface="+mn-cs"/>
                </a:defRPr>
              </a:lvl9pPr>
            </a:lstStyle>
            <a:p>
              <a:pPr>
                <a:defRPr/>
              </a:pPr>
              <a:endParaRPr lang="en-US" dirty="0">
                <a:solidFill>
                  <a:srgbClr val="000000"/>
                </a:solidFill>
              </a:endParaRPr>
            </a:p>
          </p:txBody>
        </p:sp>
      </p:grpSp>
      <p:sp>
        <p:nvSpPr>
          <p:cNvPr id="8" name="TextBox 7"/>
          <p:cNvSpPr txBox="1"/>
          <p:nvPr/>
        </p:nvSpPr>
        <p:spPr>
          <a:xfrm>
            <a:off x="514337" y="5859158"/>
            <a:ext cx="9297067" cy="738664"/>
          </a:xfrm>
          <a:prstGeom prst="rect">
            <a:avLst/>
          </a:prstGeom>
          <a:noFill/>
        </p:spPr>
        <p:txBody>
          <a:bodyPr wrap="square" lIns="0" tIns="0" rIns="0" bIns="0" rtlCol="0">
            <a:spAutoFit/>
          </a:bodyPr>
          <a:lstStyle/>
          <a:p>
            <a:r>
              <a:rPr lang="en-US" sz="4800" spc="-150" dirty="0" smtClean="0">
                <a:solidFill>
                  <a:schemeClr val="bg1"/>
                </a:solidFill>
                <a:latin typeface="Segoe UI Semibold" panose="020B0702040204020203" pitchFamily="34" charset="0"/>
                <a:cs typeface="Segoe UI Semibold" panose="020B0702040204020203" pitchFamily="34" charset="0"/>
              </a:rPr>
              <a:t>Here’s what you told us </a:t>
            </a:r>
          </a:p>
        </p:txBody>
      </p:sp>
      <p:grpSp>
        <p:nvGrpSpPr>
          <p:cNvPr id="42" name="Group 41"/>
          <p:cNvGrpSpPr/>
          <p:nvPr/>
        </p:nvGrpSpPr>
        <p:grpSpPr>
          <a:xfrm>
            <a:off x="776051" y="703944"/>
            <a:ext cx="2580144" cy="1674755"/>
            <a:chOff x="1800903" y="1811211"/>
            <a:chExt cx="2364378" cy="1310619"/>
          </a:xfrm>
          <a:solidFill>
            <a:schemeClr val="accent6">
              <a:lumMod val="75000"/>
            </a:schemeClr>
          </a:solidFill>
        </p:grpSpPr>
        <p:sp>
          <p:nvSpPr>
            <p:cNvPr id="43" name="Freeform 95"/>
            <p:cNvSpPr>
              <a:spLocks/>
            </p:cNvSpPr>
            <p:nvPr/>
          </p:nvSpPr>
          <p:spPr bwMode="black">
            <a:xfrm>
              <a:off x="1800903" y="1811211"/>
              <a:ext cx="2364378" cy="1310619"/>
            </a:xfrm>
            <a:prstGeom prst="wedgeRectCallout">
              <a:avLst/>
            </a:prstGeom>
            <a:grpFill/>
            <a:ln>
              <a:noFill/>
            </a:ln>
            <a:extLst/>
          </p:spPr>
          <p:txBody>
            <a:bodyPr vert="horz" wrap="square" lIns="93264" tIns="46632" rIns="93264" bIns="46632" numCol="1" anchor="t" anchorCtr="0" compatLnSpc="1">
              <a:prstTxWarp prst="textNoShape">
                <a:avLst/>
              </a:prstTxWarp>
            </a:bodyPr>
            <a:lstStyle/>
            <a:p>
              <a:pPr defTabSz="932563">
                <a:lnSpc>
                  <a:spcPct val="90000"/>
                </a:lnSpc>
              </a:pPr>
              <a:endParaRPr lang="en-US" sz="1600" dirty="0">
                <a:solidFill>
                  <a:srgbClr val="FFFFFF">
                    <a:lumMod val="50000"/>
                  </a:srgbClr>
                </a:solidFill>
              </a:endParaRPr>
            </a:p>
          </p:txBody>
        </p:sp>
        <p:sp>
          <p:nvSpPr>
            <p:cNvPr id="44" name="TextBox 43"/>
            <p:cNvSpPr txBox="1"/>
            <p:nvPr/>
          </p:nvSpPr>
          <p:spPr>
            <a:xfrm>
              <a:off x="1934127" y="2012036"/>
              <a:ext cx="2134256" cy="1040506"/>
            </a:xfrm>
            <a:prstGeom prst="rect">
              <a:avLst/>
            </a:prstGeom>
            <a:noFill/>
          </p:spPr>
          <p:txBody>
            <a:bodyPr wrap="square" lIns="0" tIns="0" rIns="0" bIns="0" rtlCol="0">
              <a:spAutoFit/>
            </a:bodyPr>
            <a:lstStyle/>
            <a:p>
              <a:pPr>
                <a:lnSpc>
                  <a:spcPct val="90000"/>
                </a:lnSpc>
              </a:pPr>
              <a:r>
                <a:rPr lang="en-US" sz="1600" dirty="0">
                  <a:solidFill>
                    <a:schemeClr val="bg1"/>
                  </a:solidFill>
                </a:rPr>
                <a:t>“We need </a:t>
              </a:r>
              <a:r>
                <a:rPr lang="en-US" sz="1600" b="1" dirty="0">
                  <a:solidFill>
                    <a:schemeClr val="bg1"/>
                  </a:solidFill>
                </a:rPr>
                <a:t>anywhere</a:t>
              </a:r>
              <a:r>
                <a:rPr lang="en-US" sz="1600" dirty="0">
                  <a:solidFill>
                    <a:schemeClr val="bg1"/>
                  </a:solidFill>
                </a:rPr>
                <a:t> </a:t>
              </a:r>
              <a:r>
                <a:rPr lang="en-US" sz="1600" b="1" dirty="0">
                  <a:solidFill>
                    <a:schemeClr val="bg1"/>
                  </a:solidFill>
                </a:rPr>
                <a:t>and</a:t>
              </a:r>
              <a:r>
                <a:rPr lang="en-US" sz="1600" dirty="0">
                  <a:solidFill>
                    <a:schemeClr val="bg1"/>
                  </a:solidFill>
                </a:rPr>
                <a:t> </a:t>
              </a:r>
              <a:r>
                <a:rPr lang="en-US" sz="1600" b="1" dirty="0">
                  <a:solidFill>
                    <a:schemeClr val="bg1"/>
                  </a:solidFill>
                </a:rPr>
                <a:t>anytime access </a:t>
              </a:r>
              <a:r>
                <a:rPr lang="en-US" sz="1600" dirty="0">
                  <a:solidFill>
                    <a:schemeClr val="bg1"/>
                  </a:solidFill>
                </a:rPr>
                <a:t>to files and business </a:t>
              </a:r>
              <a:r>
                <a:rPr lang="en-US" sz="1600" b="1" dirty="0">
                  <a:solidFill>
                    <a:schemeClr val="bg1"/>
                  </a:solidFill>
                </a:rPr>
                <a:t>tools to serve our customers </a:t>
              </a:r>
              <a:r>
                <a:rPr lang="en-US" sz="1600" dirty="0">
                  <a:solidFill>
                    <a:schemeClr val="bg1"/>
                  </a:solidFill>
                </a:rPr>
                <a:t>and </a:t>
              </a:r>
              <a:r>
                <a:rPr lang="en-US" sz="1600" b="1" dirty="0">
                  <a:solidFill>
                    <a:schemeClr val="bg1"/>
                  </a:solidFill>
                </a:rPr>
                <a:t>stay competitive</a:t>
              </a:r>
              <a:r>
                <a:rPr lang="en-US" sz="1600" dirty="0">
                  <a:solidFill>
                    <a:schemeClr val="bg1"/>
                  </a:solidFill>
                </a:rPr>
                <a:t>.”</a:t>
              </a:r>
            </a:p>
            <a:p>
              <a:pPr>
                <a:lnSpc>
                  <a:spcPct val="90000"/>
                </a:lnSpc>
              </a:pPr>
              <a:endParaRPr lang="en-US" sz="1600" dirty="0">
                <a:solidFill>
                  <a:srgbClr val="FFFFFF"/>
                </a:solidFill>
              </a:endParaRPr>
            </a:p>
          </p:txBody>
        </p:sp>
      </p:grpSp>
      <p:sp>
        <p:nvSpPr>
          <p:cNvPr id="48" name="Freeform 95"/>
          <p:cNvSpPr>
            <a:spLocks/>
          </p:cNvSpPr>
          <p:nvPr/>
        </p:nvSpPr>
        <p:spPr bwMode="black">
          <a:xfrm>
            <a:off x="9124658" y="2279257"/>
            <a:ext cx="2344395" cy="1580393"/>
          </a:xfrm>
          <a:prstGeom prst="wedgeRectCallout">
            <a:avLst/>
          </a:prstGeom>
          <a:solidFill>
            <a:srgbClr val="002060"/>
          </a:solidFill>
          <a:ln>
            <a:noFill/>
          </a:ln>
          <a:extLst/>
        </p:spPr>
        <p:txBody>
          <a:bodyPr vert="horz" wrap="square" lIns="93264" tIns="46632" rIns="93264" bIns="46632" numCol="1" anchor="ctr" anchorCtr="0" compatLnSpc="1">
            <a:prstTxWarp prst="textNoShape">
              <a:avLst/>
            </a:prstTxWarp>
          </a:bodyPr>
          <a:lstStyle/>
          <a:p>
            <a:pPr defTabSz="932563">
              <a:lnSpc>
                <a:spcPct val="90000"/>
              </a:lnSpc>
            </a:pPr>
            <a:endParaRPr lang="en-US" sz="1600" dirty="0" smtClean="0">
              <a:solidFill>
                <a:schemeClr val="bg1"/>
              </a:solidFill>
            </a:endParaRPr>
          </a:p>
          <a:p>
            <a:pPr defTabSz="932563">
              <a:lnSpc>
                <a:spcPct val="90000"/>
              </a:lnSpc>
            </a:pPr>
            <a:r>
              <a:rPr lang="en-US" sz="1600" dirty="0" smtClean="0">
                <a:solidFill>
                  <a:schemeClr val="bg1"/>
                </a:solidFill>
              </a:rPr>
              <a:t>“</a:t>
            </a:r>
            <a:r>
              <a:rPr lang="en-US" sz="1600" dirty="0">
                <a:solidFill>
                  <a:schemeClr val="bg1"/>
                </a:solidFill>
              </a:rPr>
              <a:t>We need </a:t>
            </a:r>
            <a:r>
              <a:rPr lang="en-US" sz="1600" b="1" dirty="0">
                <a:solidFill>
                  <a:schemeClr val="bg1"/>
                </a:solidFill>
              </a:rPr>
              <a:t>modern solutions</a:t>
            </a:r>
            <a:r>
              <a:rPr lang="en-US" sz="1600" dirty="0">
                <a:solidFill>
                  <a:schemeClr val="bg1"/>
                </a:solidFill>
              </a:rPr>
              <a:t> that help us </a:t>
            </a:r>
            <a:r>
              <a:rPr lang="en-US" sz="1600" b="1" dirty="0">
                <a:solidFill>
                  <a:schemeClr val="bg1"/>
                </a:solidFill>
              </a:rPr>
              <a:t>collaborate</a:t>
            </a:r>
            <a:r>
              <a:rPr lang="en-US" sz="1600" dirty="0">
                <a:solidFill>
                  <a:schemeClr val="bg1"/>
                </a:solidFill>
              </a:rPr>
              <a:t> and get work done </a:t>
            </a:r>
            <a:r>
              <a:rPr lang="en-US" sz="1600" b="1" dirty="0">
                <a:solidFill>
                  <a:schemeClr val="bg1"/>
                </a:solidFill>
              </a:rPr>
              <a:t>more</a:t>
            </a:r>
            <a:r>
              <a:rPr lang="en-US" sz="1600" dirty="0">
                <a:solidFill>
                  <a:schemeClr val="bg1"/>
                </a:solidFill>
              </a:rPr>
              <a:t> </a:t>
            </a:r>
            <a:r>
              <a:rPr lang="en-US" sz="1600" b="1" dirty="0">
                <a:solidFill>
                  <a:schemeClr val="bg1"/>
                </a:solidFill>
              </a:rPr>
              <a:t>efficiently</a:t>
            </a:r>
            <a:r>
              <a:rPr lang="en-US" sz="1600" dirty="0">
                <a:solidFill>
                  <a:schemeClr val="bg1"/>
                </a:solidFill>
              </a:rPr>
              <a:t>.”</a:t>
            </a:r>
          </a:p>
          <a:p>
            <a:pPr defTabSz="932563">
              <a:lnSpc>
                <a:spcPct val="90000"/>
              </a:lnSpc>
            </a:pPr>
            <a:endParaRPr lang="en-US" sz="1600" dirty="0">
              <a:solidFill>
                <a:srgbClr val="FFFFFF">
                  <a:lumMod val="50000"/>
                </a:srgbClr>
              </a:solidFill>
            </a:endParaRPr>
          </a:p>
        </p:txBody>
      </p:sp>
      <p:sp>
        <p:nvSpPr>
          <p:cNvPr id="49" name="Freeform 95"/>
          <p:cNvSpPr>
            <a:spLocks/>
          </p:cNvSpPr>
          <p:nvPr/>
        </p:nvSpPr>
        <p:spPr bwMode="black">
          <a:xfrm>
            <a:off x="6208128" y="2872917"/>
            <a:ext cx="2344395" cy="1580393"/>
          </a:xfrm>
          <a:prstGeom prst="wedgeRectCallout">
            <a:avLst/>
          </a:prstGeom>
          <a:solidFill>
            <a:schemeClr val="accent6">
              <a:lumMod val="75000"/>
            </a:schemeClr>
          </a:solidFill>
          <a:ln>
            <a:noFill/>
          </a:ln>
          <a:extLst/>
        </p:spPr>
        <p:txBody>
          <a:bodyPr vert="horz" wrap="square" lIns="93264" tIns="46632" rIns="93264" bIns="46632" numCol="1" anchor="ctr" anchorCtr="0" compatLnSpc="1">
            <a:prstTxWarp prst="textNoShape">
              <a:avLst/>
            </a:prstTxWarp>
          </a:bodyPr>
          <a:lstStyle/>
          <a:p>
            <a:pPr defTabSz="932563">
              <a:lnSpc>
                <a:spcPct val="90000"/>
              </a:lnSpc>
            </a:pPr>
            <a:r>
              <a:rPr lang="en-US" sz="1600" dirty="0" smtClean="0">
                <a:solidFill>
                  <a:schemeClr val="bg1"/>
                </a:solidFill>
              </a:rPr>
              <a:t>“We need to be using the cloud to our advantage – </a:t>
            </a:r>
            <a:r>
              <a:rPr lang="en-US" sz="1600" b="1" dirty="0" smtClean="0">
                <a:solidFill>
                  <a:schemeClr val="bg1"/>
                </a:solidFill>
              </a:rPr>
              <a:t>and save money along the way</a:t>
            </a:r>
            <a:r>
              <a:rPr lang="en-US" sz="1600" dirty="0" smtClean="0">
                <a:solidFill>
                  <a:schemeClr val="bg1"/>
                </a:solidFill>
              </a:rPr>
              <a:t>.”</a:t>
            </a:r>
            <a:endParaRPr lang="en-US" sz="1600" dirty="0">
              <a:solidFill>
                <a:srgbClr val="FFFFFF">
                  <a:lumMod val="50000"/>
                </a:srgbClr>
              </a:solidFill>
            </a:endParaRPr>
          </a:p>
        </p:txBody>
      </p:sp>
      <p:grpSp>
        <p:nvGrpSpPr>
          <p:cNvPr id="50" name="Group 49"/>
          <p:cNvGrpSpPr/>
          <p:nvPr/>
        </p:nvGrpSpPr>
        <p:grpSpPr>
          <a:xfrm>
            <a:off x="9268521" y="635994"/>
            <a:ext cx="1910724" cy="987812"/>
            <a:chOff x="556478" y="3122854"/>
            <a:chExt cx="2348779" cy="1362416"/>
          </a:xfrm>
          <a:solidFill>
            <a:schemeClr val="accent6">
              <a:lumMod val="75000"/>
            </a:schemeClr>
          </a:solidFill>
        </p:grpSpPr>
        <p:sp>
          <p:nvSpPr>
            <p:cNvPr id="51" name="Freeform 95"/>
            <p:cNvSpPr>
              <a:spLocks/>
            </p:cNvSpPr>
            <p:nvPr/>
          </p:nvSpPr>
          <p:spPr bwMode="black">
            <a:xfrm>
              <a:off x="556478" y="3122854"/>
              <a:ext cx="2348779" cy="1362416"/>
            </a:xfrm>
            <a:prstGeom prst="wedgeRectCallout">
              <a:avLst>
                <a:gd name="adj1" fmla="val -20447"/>
                <a:gd name="adj2" fmla="val 70499"/>
              </a:avLst>
            </a:prstGeom>
            <a:grpFill/>
            <a:ln>
              <a:noFill/>
            </a:ln>
            <a:extLst/>
          </p:spPr>
          <p:txBody>
            <a:bodyPr vert="horz" wrap="square" lIns="93264" tIns="46632" rIns="93264" bIns="46632" numCol="1" anchor="t" anchorCtr="0" compatLnSpc="1">
              <a:prstTxWarp prst="textNoShape">
                <a:avLst/>
              </a:prstTxWarp>
            </a:bodyPr>
            <a:lstStyle/>
            <a:p>
              <a:pPr defTabSz="932563">
                <a:lnSpc>
                  <a:spcPct val="90000"/>
                </a:lnSpc>
              </a:pPr>
              <a:endParaRPr lang="en-US" sz="1600" dirty="0">
                <a:solidFill>
                  <a:srgbClr val="FFFFFF"/>
                </a:solidFill>
              </a:endParaRPr>
            </a:p>
          </p:txBody>
        </p:sp>
        <p:sp>
          <p:nvSpPr>
            <p:cNvPr id="52" name="TextBox 51"/>
            <p:cNvSpPr txBox="1"/>
            <p:nvPr/>
          </p:nvSpPr>
          <p:spPr>
            <a:xfrm>
              <a:off x="767897" y="3382198"/>
              <a:ext cx="2077839" cy="611270"/>
            </a:xfrm>
            <a:prstGeom prst="rect">
              <a:avLst/>
            </a:prstGeom>
            <a:noFill/>
          </p:spPr>
          <p:txBody>
            <a:bodyPr wrap="square" lIns="0" tIns="0" rIns="0" bIns="0" rtlCol="0">
              <a:spAutoFit/>
            </a:bodyPr>
            <a:lstStyle/>
            <a:p>
              <a:pPr>
                <a:lnSpc>
                  <a:spcPct val="90000"/>
                </a:lnSpc>
              </a:pPr>
              <a:r>
                <a:rPr lang="en-US" sz="1600" dirty="0" smtClean="0">
                  <a:solidFill>
                    <a:srgbClr val="FFFFFF"/>
                  </a:solidFill>
                </a:rPr>
                <a:t>“</a:t>
              </a:r>
              <a:r>
                <a:rPr lang="en-US" sz="1600" b="1" dirty="0" smtClean="0">
                  <a:solidFill>
                    <a:srgbClr val="FFFFFF"/>
                  </a:solidFill>
                </a:rPr>
                <a:t>Zero downtime </a:t>
              </a:r>
              <a:r>
                <a:rPr lang="en-US" sz="1600" dirty="0" smtClean="0">
                  <a:solidFill>
                    <a:srgbClr val="FFFFFF"/>
                  </a:solidFill>
                </a:rPr>
                <a:t>is a must.”</a:t>
              </a:r>
              <a:endParaRPr lang="en-US" sz="1600" dirty="0">
                <a:solidFill>
                  <a:srgbClr val="FFFFFF"/>
                </a:solidFill>
              </a:endParaRPr>
            </a:p>
          </p:txBody>
        </p:sp>
      </p:grpSp>
      <p:grpSp>
        <p:nvGrpSpPr>
          <p:cNvPr id="53" name="Group 52"/>
          <p:cNvGrpSpPr/>
          <p:nvPr/>
        </p:nvGrpSpPr>
        <p:grpSpPr>
          <a:xfrm>
            <a:off x="3737485" y="416995"/>
            <a:ext cx="2486212" cy="1846804"/>
            <a:chOff x="4601917" y="1789923"/>
            <a:chExt cx="2306596" cy="2198966"/>
          </a:xfrm>
          <a:solidFill>
            <a:srgbClr val="002060"/>
          </a:solidFill>
        </p:grpSpPr>
        <p:sp>
          <p:nvSpPr>
            <p:cNvPr id="54" name="Freeform 95"/>
            <p:cNvSpPr>
              <a:spLocks/>
            </p:cNvSpPr>
            <p:nvPr/>
          </p:nvSpPr>
          <p:spPr bwMode="black">
            <a:xfrm>
              <a:off x="4601917" y="1789923"/>
              <a:ext cx="2306596" cy="2198966"/>
            </a:xfrm>
            <a:prstGeom prst="wedgeRectCallout">
              <a:avLst/>
            </a:prstGeom>
            <a:grpFill/>
            <a:ln>
              <a:noFill/>
            </a:ln>
            <a:extLst/>
          </p:spPr>
          <p:txBody>
            <a:bodyPr vert="horz" wrap="square" lIns="93264" tIns="46632" rIns="93264" bIns="46632" numCol="1" anchor="t" anchorCtr="0" compatLnSpc="1">
              <a:prstTxWarp prst="textNoShape">
                <a:avLst/>
              </a:prstTxWarp>
            </a:bodyPr>
            <a:lstStyle/>
            <a:p>
              <a:pPr defTabSz="932563">
                <a:lnSpc>
                  <a:spcPct val="90000"/>
                </a:lnSpc>
              </a:pPr>
              <a:endParaRPr lang="en-US" sz="1600" dirty="0">
                <a:solidFill>
                  <a:srgbClr val="FFFFFF"/>
                </a:solidFill>
              </a:endParaRPr>
            </a:p>
          </p:txBody>
        </p:sp>
        <p:sp>
          <p:nvSpPr>
            <p:cNvPr id="55" name="TextBox 54"/>
            <p:cNvSpPr txBox="1"/>
            <p:nvPr/>
          </p:nvSpPr>
          <p:spPr>
            <a:xfrm>
              <a:off x="4791278" y="2073168"/>
              <a:ext cx="1844747" cy="1846987"/>
            </a:xfrm>
            <a:prstGeom prst="rect">
              <a:avLst/>
            </a:prstGeom>
            <a:noFill/>
          </p:spPr>
          <p:txBody>
            <a:bodyPr wrap="square" lIns="0" tIns="0" rIns="0" bIns="0" rtlCol="0">
              <a:spAutoFit/>
            </a:bodyPr>
            <a:lstStyle/>
            <a:p>
              <a:pPr>
                <a:lnSpc>
                  <a:spcPct val="90000"/>
                </a:lnSpc>
              </a:pPr>
              <a:r>
                <a:rPr lang="en-US" sz="1600" dirty="0">
                  <a:solidFill>
                    <a:schemeClr val="bg1"/>
                  </a:solidFill>
                </a:rPr>
                <a:t>“We need to stop spending on </a:t>
              </a:r>
              <a:r>
                <a:rPr lang="en-US" sz="1600" dirty="0" smtClean="0">
                  <a:solidFill>
                    <a:schemeClr val="bg1"/>
                  </a:solidFill>
                </a:rPr>
                <a:t>soon-to-be-obsolete technology. </a:t>
              </a:r>
              <a:r>
                <a:rPr lang="en-US" sz="1600" b="1" dirty="0" smtClean="0">
                  <a:solidFill>
                    <a:schemeClr val="bg1"/>
                  </a:solidFill>
                </a:rPr>
                <a:t>We need solutions that evolve with us.</a:t>
              </a:r>
              <a:r>
                <a:rPr lang="en-US" sz="1600" dirty="0" smtClean="0">
                  <a:solidFill>
                    <a:schemeClr val="bg1"/>
                  </a:solidFill>
                </a:rPr>
                <a:t>”</a:t>
              </a:r>
              <a:endParaRPr lang="en-US" sz="1600" dirty="0">
                <a:solidFill>
                  <a:schemeClr val="bg1"/>
                </a:solidFill>
              </a:endParaRPr>
            </a:p>
            <a:p>
              <a:pPr>
                <a:lnSpc>
                  <a:spcPct val="90000"/>
                </a:lnSpc>
              </a:pPr>
              <a:endParaRPr lang="en-US" sz="1600" dirty="0">
                <a:solidFill>
                  <a:srgbClr val="FFFFFF"/>
                </a:solidFill>
              </a:endParaRPr>
            </a:p>
          </p:txBody>
        </p:sp>
      </p:grpSp>
      <p:grpSp>
        <p:nvGrpSpPr>
          <p:cNvPr id="56" name="Group 55"/>
          <p:cNvGrpSpPr/>
          <p:nvPr/>
        </p:nvGrpSpPr>
        <p:grpSpPr>
          <a:xfrm>
            <a:off x="510445" y="3515878"/>
            <a:ext cx="2430375" cy="1664081"/>
            <a:chOff x="1800903" y="1811211"/>
            <a:chExt cx="2451091" cy="1302266"/>
          </a:xfrm>
          <a:solidFill>
            <a:srgbClr val="002060"/>
          </a:solidFill>
        </p:grpSpPr>
        <p:sp>
          <p:nvSpPr>
            <p:cNvPr id="57" name="Freeform 95"/>
            <p:cNvSpPr>
              <a:spLocks/>
            </p:cNvSpPr>
            <p:nvPr/>
          </p:nvSpPr>
          <p:spPr bwMode="black">
            <a:xfrm>
              <a:off x="1800903" y="1811211"/>
              <a:ext cx="2451091" cy="1302266"/>
            </a:xfrm>
            <a:prstGeom prst="wedgeRectCallout">
              <a:avLst/>
            </a:prstGeom>
            <a:grpFill/>
            <a:ln>
              <a:noFill/>
            </a:ln>
            <a:extLst/>
          </p:spPr>
          <p:txBody>
            <a:bodyPr vert="horz" wrap="square" lIns="93264" tIns="46632" rIns="93264" bIns="46632" numCol="1" anchor="t" anchorCtr="0" compatLnSpc="1">
              <a:prstTxWarp prst="textNoShape">
                <a:avLst/>
              </a:prstTxWarp>
            </a:bodyPr>
            <a:lstStyle/>
            <a:p>
              <a:pPr defTabSz="932563">
                <a:lnSpc>
                  <a:spcPct val="90000"/>
                </a:lnSpc>
              </a:pPr>
              <a:endParaRPr lang="en-US" sz="1600" dirty="0">
                <a:solidFill>
                  <a:srgbClr val="FFFFFF">
                    <a:lumMod val="50000"/>
                  </a:srgbClr>
                </a:solidFill>
              </a:endParaRPr>
            </a:p>
          </p:txBody>
        </p:sp>
        <p:sp>
          <p:nvSpPr>
            <p:cNvPr id="58" name="TextBox 57"/>
            <p:cNvSpPr txBox="1"/>
            <p:nvPr/>
          </p:nvSpPr>
          <p:spPr>
            <a:xfrm>
              <a:off x="1915963" y="1976628"/>
              <a:ext cx="2134256" cy="1136849"/>
            </a:xfrm>
            <a:prstGeom prst="rect">
              <a:avLst/>
            </a:prstGeom>
            <a:noFill/>
          </p:spPr>
          <p:txBody>
            <a:bodyPr wrap="square" lIns="0" tIns="0" rIns="0" bIns="0" rtlCol="0">
              <a:spAutoFit/>
            </a:bodyPr>
            <a:lstStyle/>
            <a:p>
              <a:r>
                <a:rPr lang="en-US" sz="1600" dirty="0">
                  <a:solidFill>
                    <a:schemeClr val="bg1"/>
                  </a:solidFill>
                </a:rPr>
                <a:t>“Our team works from many locations. We need </a:t>
              </a:r>
              <a:r>
                <a:rPr lang="en-US" sz="1600" dirty="0" smtClean="0">
                  <a:solidFill>
                    <a:schemeClr val="bg1"/>
                  </a:solidFill>
                </a:rPr>
                <a:t>to </a:t>
              </a:r>
              <a:r>
                <a:rPr lang="en-US" sz="1600" b="1" dirty="0">
                  <a:solidFill>
                    <a:schemeClr val="bg1"/>
                  </a:solidFill>
                </a:rPr>
                <a:t>stay connected no matter what</a:t>
              </a:r>
              <a:r>
                <a:rPr lang="en-US" sz="1600" dirty="0" smtClean="0">
                  <a:solidFill>
                    <a:schemeClr val="bg1"/>
                  </a:solidFill>
                </a:rPr>
                <a:t>.”</a:t>
              </a:r>
              <a:endParaRPr lang="en-US" sz="1600" dirty="0">
                <a:solidFill>
                  <a:schemeClr val="bg1"/>
                </a:solidFill>
              </a:endParaRPr>
            </a:p>
            <a:p>
              <a:pPr>
                <a:lnSpc>
                  <a:spcPct val="90000"/>
                </a:lnSpc>
              </a:pPr>
              <a:endParaRPr lang="en-US" sz="1600" dirty="0">
                <a:solidFill>
                  <a:srgbClr val="FFFFFF"/>
                </a:solidFill>
              </a:endParaRPr>
            </a:p>
          </p:txBody>
        </p:sp>
      </p:grpSp>
      <p:grpSp>
        <p:nvGrpSpPr>
          <p:cNvPr id="59" name="Group 58"/>
          <p:cNvGrpSpPr/>
          <p:nvPr/>
        </p:nvGrpSpPr>
        <p:grpSpPr>
          <a:xfrm>
            <a:off x="3250455" y="2831074"/>
            <a:ext cx="2344395" cy="1664081"/>
            <a:chOff x="1800903" y="1811211"/>
            <a:chExt cx="2364378" cy="1302266"/>
          </a:xfrm>
          <a:solidFill>
            <a:schemeClr val="accent6">
              <a:lumMod val="75000"/>
            </a:schemeClr>
          </a:solidFill>
        </p:grpSpPr>
        <p:sp>
          <p:nvSpPr>
            <p:cNvPr id="60" name="Freeform 95"/>
            <p:cNvSpPr>
              <a:spLocks/>
            </p:cNvSpPr>
            <p:nvPr/>
          </p:nvSpPr>
          <p:spPr bwMode="black">
            <a:xfrm>
              <a:off x="1800903" y="1811211"/>
              <a:ext cx="2364378" cy="1302266"/>
            </a:xfrm>
            <a:prstGeom prst="wedgeRectCallout">
              <a:avLst/>
            </a:prstGeom>
            <a:grpFill/>
            <a:ln>
              <a:noFill/>
            </a:ln>
            <a:extLst/>
          </p:spPr>
          <p:txBody>
            <a:bodyPr vert="horz" wrap="square" lIns="93264" tIns="46632" rIns="93264" bIns="46632" numCol="1" anchor="t" anchorCtr="0" compatLnSpc="1">
              <a:prstTxWarp prst="textNoShape">
                <a:avLst/>
              </a:prstTxWarp>
            </a:bodyPr>
            <a:lstStyle/>
            <a:p>
              <a:pPr defTabSz="932563">
                <a:lnSpc>
                  <a:spcPct val="90000"/>
                </a:lnSpc>
              </a:pPr>
              <a:endParaRPr lang="en-US" sz="1600" dirty="0">
                <a:solidFill>
                  <a:srgbClr val="FFFFFF">
                    <a:lumMod val="50000"/>
                  </a:srgbClr>
                </a:solidFill>
              </a:endParaRPr>
            </a:p>
          </p:txBody>
        </p:sp>
        <p:sp>
          <p:nvSpPr>
            <p:cNvPr id="61" name="TextBox 60"/>
            <p:cNvSpPr txBox="1"/>
            <p:nvPr/>
          </p:nvSpPr>
          <p:spPr>
            <a:xfrm>
              <a:off x="1915963" y="1976628"/>
              <a:ext cx="2134256" cy="1136849"/>
            </a:xfrm>
            <a:prstGeom prst="rect">
              <a:avLst/>
            </a:prstGeom>
            <a:noFill/>
          </p:spPr>
          <p:txBody>
            <a:bodyPr wrap="square" lIns="0" tIns="0" rIns="0" bIns="0" rtlCol="0">
              <a:spAutoFit/>
            </a:bodyPr>
            <a:lstStyle/>
            <a:p>
              <a:r>
                <a:rPr lang="en-US" sz="1600" dirty="0">
                  <a:solidFill>
                    <a:schemeClr val="bg1"/>
                  </a:solidFill>
                </a:rPr>
                <a:t>“Our </a:t>
              </a:r>
              <a:r>
                <a:rPr lang="en-US" sz="1600" b="1" dirty="0">
                  <a:solidFill>
                    <a:schemeClr val="bg1"/>
                  </a:solidFill>
                </a:rPr>
                <a:t>data has to be secure. </a:t>
              </a:r>
              <a:r>
                <a:rPr lang="en-US" sz="1600" dirty="0">
                  <a:solidFill>
                    <a:schemeClr val="bg1"/>
                  </a:solidFill>
                </a:rPr>
                <a:t>I need to know my company is protected from viruses, malware, theft, etc.”</a:t>
              </a:r>
            </a:p>
            <a:p>
              <a:pPr>
                <a:lnSpc>
                  <a:spcPct val="90000"/>
                </a:lnSpc>
              </a:pPr>
              <a:endParaRPr lang="en-US" sz="1600" dirty="0">
                <a:solidFill>
                  <a:srgbClr val="FFFFFF"/>
                </a:solidFill>
              </a:endParaRPr>
            </a:p>
          </p:txBody>
        </p:sp>
      </p:grpSp>
      <p:grpSp>
        <p:nvGrpSpPr>
          <p:cNvPr id="62" name="Group 61"/>
          <p:cNvGrpSpPr/>
          <p:nvPr/>
        </p:nvGrpSpPr>
        <p:grpSpPr>
          <a:xfrm>
            <a:off x="6631193" y="1011720"/>
            <a:ext cx="1963105" cy="1109424"/>
            <a:chOff x="4601917" y="1789923"/>
            <a:chExt cx="2306596" cy="2198966"/>
          </a:xfrm>
          <a:solidFill>
            <a:schemeClr val="accent6">
              <a:lumMod val="75000"/>
            </a:schemeClr>
          </a:solidFill>
        </p:grpSpPr>
        <p:sp>
          <p:nvSpPr>
            <p:cNvPr id="63" name="Freeform 95"/>
            <p:cNvSpPr>
              <a:spLocks/>
            </p:cNvSpPr>
            <p:nvPr/>
          </p:nvSpPr>
          <p:spPr bwMode="black">
            <a:xfrm>
              <a:off x="4601917" y="1789923"/>
              <a:ext cx="2306596" cy="2198966"/>
            </a:xfrm>
            <a:prstGeom prst="wedgeRectCallout">
              <a:avLst/>
            </a:prstGeom>
            <a:grpFill/>
            <a:ln>
              <a:noFill/>
            </a:ln>
            <a:extLst/>
          </p:spPr>
          <p:txBody>
            <a:bodyPr vert="horz" wrap="square" lIns="93264" tIns="46632" rIns="93264" bIns="46632" numCol="1" anchor="t" anchorCtr="0" compatLnSpc="1">
              <a:prstTxWarp prst="textNoShape">
                <a:avLst/>
              </a:prstTxWarp>
            </a:bodyPr>
            <a:lstStyle/>
            <a:p>
              <a:pPr defTabSz="932563">
                <a:lnSpc>
                  <a:spcPct val="90000"/>
                </a:lnSpc>
              </a:pPr>
              <a:endParaRPr lang="en-US" sz="1600" dirty="0">
                <a:solidFill>
                  <a:srgbClr val="FFFFFF"/>
                </a:solidFill>
              </a:endParaRPr>
            </a:p>
          </p:txBody>
        </p:sp>
        <p:sp>
          <p:nvSpPr>
            <p:cNvPr id="64" name="TextBox 63"/>
            <p:cNvSpPr txBox="1"/>
            <p:nvPr/>
          </p:nvSpPr>
          <p:spPr>
            <a:xfrm>
              <a:off x="4791278" y="2073168"/>
              <a:ext cx="1844747" cy="1317680"/>
            </a:xfrm>
            <a:prstGeom prst="rect">
              <a:avLst/>
            </a:prstGeom>
            <a:noFill/>
          </p:spPr>
          <p:txBody>
            <a:bodyPr wrap="square" lIns="0" tIns="0" rIns="0" bIns="0" rtlCol="0">
              <a:spAutoFit/>
            </a:bodyPr>
            <a:lstStyle/>
            <a:p>
              <a:pPr>
                <a:lnSpc>
                  <a:spcPct val="90000"/>
                </a:lnSpc>
              </a:pPr>
              <a:r>
                <a:rPr lang="en-US" sz="1600" dirty="0" smtClean="0">
                  <a:solidFill>
                    <a:schemeClr val="bg1"/>
                  </a:solidFill>
                </a:rPr>
                <a:t>“We need to be prepared for the </a:t>
              </a:r>
              <a:r>
                <a:rPr lang="en-US" sz="1600" b="1" dirty="0" smtClean="0">
                  <a:solidFill>
                    <a:schemeClr val="bg1"/>
                  </a:solidFill>
                </a:rPr>
                <a:t>unexpected</a:t>
              </a:r>
              <a:r>
                <a:rPr lang="en-US" sz="1600" dirty="0" smtClean="0">
                  <a:solidFill>
                    <a:schemeClr val="bg1"/>
                  </a:solidFill>
                </a:rPr>
                <a:t>.”</a:t>
              </a:r>
              <a:endParaRPr lang="en-US" sz="1600" dirty="0">
                <a:solidFill>
                  <a:srgbClr val="FFFFFF"/>
                </a:solidFill>
              </a:endParaRPr>
            </a:p>
          </p:txBody>
        </p:sp>
      </p:grpSp>
    </p:spTree>
    <p:extLst>
      <p:ext uri="{BB962C8B-B14F-4D97-AF65-F5344CB8AC3E}">
        <p14:creationId xmlns:p14="http://schemas.microsoft.com/office/powerpoint/2010/main" val="38652835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42"/>
                                        </p:tgtEl>
                                        <p:attrNameLst>
                                          <p:attrName>style.visibility</p:attrName>
                                        </p:attrNameLst>
                                      </p:cBhvr>
                                      <p:to>
                                        <p:strVal val="visible"/>
                                      </p:to>
                                    </p:set>
                                    <p:animEffect transition="in" filter="fade">
                                      <p:cBhvr>
                                        <p:cTn id="7" dur="1000"/>
                                        <p:tgtEl>
                                          <p:spTgt spid="42"/>
                                        </p:tgtEl>
                                      </p:cBhvr>
                                    </p:animEffect>
                                    <p:anim calcmode="lin" valueType="num">
                                      <p:cBhvr>
                                        <p:cTn id="8" dur="1000" fill="hold"/>
                                        <p:tgtEl>
                                          <p:spTgt spid="42"/>
                                        </p:tgtEl>
                                        <p:attrNameLst>
                                          <p:attrName>ppt_x</p:attrName>
                                        </p:attrNameLst>
                                      </p:cBhvr>
                                      <p:tavLst>
                                        <p:tav tm="0">
                                          <p:val>
                                            <p:strVal val="#ppt_x"/>
                                          </p:val>
                                        </p:tav>
                                        <p:tav tm="100000">
                                          <p:val>
                                            <p:strVal val="#ppt_x"/>
                                          </p:val>
                                        </p:tav>
                                      </p:tavLst>
                                    </p:anim>
                                    <p:anim calcmode="lin" valueType="num">
                                      <p:cBhvr>
                                        <p:cTn id="9" dur="1000" fill="hold"/>
                                        <p:tgtEl>
                                          <p:spTgt spid="42"/>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250"/>
                                  </p:stCondLst>
                                  <p:childTnLst>
                                    <p:set>
                                      <p:cBhvr>
                                        <p:cTn id="11" dur="1" fill="hold">
                                          <p:stCondLst>
                                            <p:cond delay="0"/>
                                          </p:stCondLst>
                                        </p:cTn>
                                        <p:tgtEl>
                                          <p:spTgt spid="53"/>
                                        </p:tgtEl>
                                        <p:attrNameLst>
                                          <p:attrName>style.visibility</p:attrName>
                                        </p:attrNameLst>
                                      </p:cBhvr>
                                      <p:to>
                                        <p:strVal val="visible"/>
                                      </p:to>
                                    </p:set>
                                    <p:animEffect transition="in" filter="fade">
                                      <p:cBhvr>
                                        <p:cTn id="12" dur="1000"/>
                                        <p:tgtEl>
                                          <p:spTgt spid="53"/>
                                        </p:tgtEl>
                                      </p:cBhvr>
                                    </p:animEffect>
                                    <p:anim calcmode="lin" valueType="num">
                                      <p:cBhvr>
                                        <p:cTn id="13" dur="1000" fill="hold"/>
                                        <p:tgtEl>
                                          <p:spTgt spid="53"/>
                                        </p:tgtEl>
                                        <p:attrNameLst>
                                          <p:attrName>ppt_x</p:attrName>
                                        </p:attrNameLst>
                                      </p:cBhvr>
                                      <p:tavLst>
                                        <p:tav tm="0">
                                          <p:val>
                                            <p:strVal val="#ppt_x"/>
                                          </p:val>
                                        </p:tav>
                                        <p:tav tm="100000">
                                          <p:val>
                                            <p:strVal val="#ppt_x"/>
                                          </p:val>
                                        </p:tav>
                                      </p:tavLst>
                                    </p:anim>
                                    <p:anim calcmode="lin" valueType="num">
                                      <p:cBhvr>
                                        <p:cTn id="14" dur="1000" fill="hold"/>
                                        <p:tgtEl>
                                          <p:spTgt spid="53"/>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500"/>
                                  </p:stCondLst>
                                  <p:childTnLst>
                                    <p:set>
                                      <p:cBhvr>
                                        <p:cTn id="16" dur="1" fill="hold">
                                          <p:stCondLst>
                                            <p:cond delay="0"/>
                                          </p:stCondLst>
                                        </p:cTn>
                                        <p:tgtEl>
                                          <p:spTgt spid="56"/>
                                        </p:tgtEl>
                                        <p:attrNameLst>
                                          <p:attrName>style.visibility</p:attrName>
                                        </p:attrNameLst>
                                      </p:cBhvr>
                                      <p:to>
                                        <p:strVal val="visible"/>
                                      </p:to>
                                    </p:set>
                                    <p:animEffect transition="in" filter="fade">
                                      <p:cBhvr>
                                        <p:cTn id="17" dur="1000"/>
                                        <p:tgtEl>
                                          <p:spTgt spid="56"/>
                                        </p:tgtEl>
                                      </p:cBhvr>
                                    </p:animEffect>
                                    <p:anim calcmode="lin" valueType="num">
                                      <p:cBhvr>
                                        <p:cTn id="18" dur="1000" fill="hold"/>
                                        <p:tgtEl>
                                          <p:spTgt spid="56"/>
                                        </p:tgtEl>
                                        <p:attrNameLst>
                                          <p:attrName>ppt_x</p:attrName>
                                        </p:attrNameLst>
                                      </p:cBhvr>
                                      <p:tavLst>
                                        <p:tav tm="0">
                                          <p:val>
                                            <p:strVal val="#ppt_x"/>
                                          </p:val>
                                        </p:tav>
                                        <p:tav tm="100000">
                                          <p:val>
                                            <p:strVal val="#ppt_x"/>
                                          </p:val>
                                        </p:tav>
                                      </p:tavLst>
                                    </p:anim>
                                    <p:anim calcmode="lin" valueType="num">
                                      <p:cBhvr>
                                        <p:cTn id="19" dur="1000" fill="hold"/>
                                        <p:tgtEl>
                                          <p:spTgt spid="56"/>
                                        </p:tgtEl>
                                        <p:attrNameLst>
                                          <p:attrName>ppt_y</p:attrName>
                                        </p:attrNameLst>
                                      </p:cBhvr>
                                      <p:tavLst>
                                        <p:tav tm="0">
                                          <p:val>
                                            <p:strVal val="#ppt_y+.1"/>
                                          </p:val>
                                        </p:tav>
                                        <p:tav tm="100000">
                                          <p:val>
                                            <p:strVal val="#ppt_y"/>
                                          </p:val>
                                        </p:tav>
                                      </p:tavLst>
                                    </p:anim>
                                  </p:childTnLst>
                                </p:cTn>
                              </p:par>
                              <p:par>
                                <p:cTn id="20" presetID="42" presetClass="entr" presetSubtype="0" fill="hold" nodeType="withEffect">
                                  <p:stCondLst>
                                    <p:cond delay="750"/>
                                  </p:stCondLst>
                                  <p:childTnLst>
                                    <p:set>
                                      <p:cBhvr>
                                        <p:cTn id="21" dur="1" fill="hold">
                                          <p:stCondLst>
                                            <p:cond delay="0"/>
                                          </p:stCondLst>
                                        </p:cTn>
                                        <p:tgtEl>
                                          <p:spTgt spid="59"/>
                                        </p:tgtEl>
                                        <p:attrNameLst>
                                          <p:attrName>style.visibility</p:attrName>
                                        </p:attrNameLst>
                                      </p:cBhvr>
                                      <p:to>
                                        <p:strVal val="visible"/>
                                      </p:to>
                                    </p:set>
                                    <p:animEffect transition="in" filter="fade">
                                      <p:cBhvr>
                                        <p:cTn id="22" dur="1000"/>
                                        <p:tgtEl>
                                          <p:spTgt spid="59"/>
                                        </p:tgtEl>
                                      </p:cBhvr>
                                    </p:animEffect>
                                    <p:anim calcmode="lin" valueType="num">
                                      <p:cBhvr>
                                        <p:cTn id="23" dur="1000" fill="hold"/>
                                        <p:tgtEl>
                                          <p:spTgt spid="59"/>
                                        </p:tgtEl>
                                        <p:attrNameLst>
                                          <p:attrName>ppt_x</p:attrName>
                                        </p:attrNameLst>
                                      </p:cBhvr>
                                      <p:tavLst>
                                        <p:tav tm="0">
                                          <p:val>
                                            <p:strVal val="#ppt_x"/>
                                          </p:val>
                                        </p:tav>
                                        <p:tav tm="100000">
                                          <p:val>
                                            <p:strVal val="#ppt_x"/>
                                          </p:val>
                                        </p:tav>
                                      </p:tavLst>
                                    </p:anim>
                                    <p:anim calcmode="lin" valueType="num">
                                      <p:cBhvr>
                                        <p:cTn id="24" dur="1000" fill="hold"/>
                                        <p:tgtEl>
                                          <p:spTgt spid="59"/>
                                        </p:tgtEl>
                                        <p:attrNameLst>
                                          <p:attrName>ppt_y</p:attrName>
                                        </p:attrNameLst>
                                      </p:cBhvr>
                                      <p:tavLst>
                                        <p:tav tm="0">
                                          <p:val>
                                            <p:strVal val="#ppt_y+.1"/>
                                          </p:val>
                                        </p:tav>
                                        <p:tav tm="100000">
                                          <p:val>
                                            <p:strVal val="#ppt_y"/>
                                          </p:val>
                                        </p:tav>
                                      </p:tavLst>
                                    </p:anim>
                                  </p:childTnLst>
                                </p:cTn>
                              </p:par>
                              <p:par>
                                <p:cTn id="25" presetID="42" presetClass="entr" presetSubtype="0" fill="hold" grpId="0" nodeType="withEffect">
                                  <p:stCondLst>
                                    <p:cond delay="1000"/>
                                  </p:stCondLst>
                                  <p:childTnLst>
                                    <p:set>
                                      <p:cBhvr>
                                        <p:cTn id="26" dur="1" fill="hold">
                                          <p:stCondLst>
                                            <p:cond delay="0"/>
                                          </p:stCondLst>
                                        </p:cTn>
                                        <p:tgtEl>
                                          <p:spTgt spid="49"/>
                                        </p:tgtEl>
                                        <p:attrNameLst>
                                          <p:attrName>style.visibility</p:attrName>
                                        </p:attrNameLst>
                                      </p:cBhvr>
                                      <p:to>
                                        <p:strVal val="visible"/>
                                      </p:to>
                                    </p:set>
                                    <p:animEffect transition="in" filter="fade">
                                      <p:cBhvr>
                                        <p:cTn id="27" dur="1000"/>
                                        <p:tgtEl>
                                          <p:spTgt spid="49"/>
                                        </p:tgtEl>
                                      </p:cBhvr>
                                    </p:animEffect>
                                    <p:anim calcmode="lin" valueType="num">
                                      <p:cBhvr>
                                        <p:cTn id="28" dur="1000" fill="hold"/>
                                        <p:tgtEl>
                                          <p:spTgt spid="49"/>
                                        </p:tgtEl>
                                        <p:attrNameLst>
                                          <p:attrName>ppt_x</p:attrName>
                                        </p:attrNameLst>
                                      </p:cBhvr>
                                      <p:tavLst>
                                        <p:tav tm="0">
                                          <p:val>
                                            <p:strVal val="#ppt_x"/>
                                          </p:val>
                                        </p:tav>
                                        <p:tav tm="100000">
                                          <p:val>
                                            <p:strVal val="#ppt_x"/>
                                          </p:val>
                                        </p:tav>
                                      </p:tavLst>
                                    </p:anim>
                                    <p:anim calcmode="lin" valueType="num">
                                      <p:cBhvr>
                                        <p:cTn id="29" dur="1000" fill="hold"/>
                                        <p:tgtEl>
                                          <p:spTgt spid="49"/>
                                        </p:tgtEl>
                                        <p:attrNameLst>
                                          <p:attrName>ppt_y</p:attrName>
                                        </p:attrNameLst>
                                      </p:cBhvr>
                                      <p:tavLst>
                                        <p:tav tm="0">
                                          <p:val>
                                            <p:strVal val="#ppt_y+.1"/>
                                          </p:val>
                                        </p:tav>
                                        <p:tav tm="100000">
                                          <p:val>
                                            <p:strVal val="#ppt_y"/>
                                          </p:val>
                                        </p:tav>
                                      </p:tavLst>
                                    </p:anim>
                                  </p:childTnLst>
                                </p:cTn>
                              </p:par>
                              <p:par>
                                <p:cTn id="30" presetID="42" presetClass="entr" presetSubtype="0" fill="hold" grpId="0" nodeType="withEffect">
                                  <p:stCondLst>
                                    <p:cond delay="1250"/>
                                  </p:stCondLst>
                                  <p:childTnLst>
                                    <p:set>
                                      <p:cBhvr>
                                        <p:cTn id="31" dur="1" fill="hold">
                                          <p:stCondLst>
                                            <p:cond delay="0"/>
                                          </p:stCondLst>
                                        </p:cTn>
                                        <p:tgtEl>
                                          <p:spTgt spid="48"/>
                                        </p:tgtEl>
                                        <p:attrNameLst>
                                          <p:attrName>style.visibility</p:attrName>
                                        </p:attrNameLst>
                                      </p:cBhvr>
                                      <p:to>
                                        <p:strVal val="visible"/>
                                      </p:to>
                                    </p:set>
                                    <p:animEffect transition="in" filter="fade">
                                      <p:cBhvr>
                                        <p:cTn id="32" dur="1000"/>
                                        <p:tgtEl>
                                          <p:spTgt spid="48"/>
                                        </p:tgtEl>
                                      </p:cBhvr>
                                    </p:animEffect>
                                    <p:anim calcmode="lin" valueType="num">
                                      <p:cBhvr>
                                        <p:cTn id="33" dur="1000" fill="hold"/>
                                        <p:tgtEl>
                                          <p:spTgt spid="48"/>
                                        </p:tgtEl>
                                        <p:attrNameLst>
                                          <p:attrName>ppt_x</p:attrName>
                                        </p:attrNameLst>
                                      </p:cBhvr>
                                      <p:tavLst>
                                        <p:tav tm="0">
                                          <p:val>
                                            <p:strVal val="#ppt_x"/>
                                          </p:val>
                                        </p:tav>
                                        <p:tav tm="100000">
                                          <p:val>
                                            <p:strVal val="#ppt_x"/>
                                          </p:val>
                                        </p:tav>
                                      </p:tavLst>
                                    </p:anim>
                                    <p:anim calcmode="lin" valueType="num">
                                      <p:cBhvr>
                                        <p:cTn id="34" dur="1000" fill="hold"/>
                                        <p:tgtEl>
                                          <p:spTgt spid="48"/>
                                        </p:tgtEl>
                                        <p:attrNameLst>
                                          <p:attrName>ppt_y</p:attrName>
                                        </p:attrNameLst>
                                      </p:cBhvr>
                                      <p:tavLst>
                                        <p:tav tm="0">
                                          <p:val>
                                            <p:strVal val="#ppt_y+.1"/>
                                          </p:val>
                                        </p:tav>
                                        <p:tav tm="100000">
                                          <p:val>
                                            <p:strVal val="#ppt_y"/>
                                          </p:val>
                                        </p:tav>
                                      </p:tavLst>
                                    </p:anim>
                                  </p:childTnLst>
                                </p:cTn>
                              </p:par>
                              <p:par>
                                <p:cTn id="35" presetID="42" presetClass="entr" presetSubtype="0" fill="hold" nodeType="withEffect">
                                  <p:stCondLst>
                                    <p:cond delay="500"/>
                                  </p:stCondLst>
                                  <p:childTnLst>
                                    <p:set>
                                      <p:cBhvr>
                                        <p:cTn id="36" dur="1" fill="hold">
                                          <p:stCondLst>
                                            <p:cond delay="0"/>
                                          </p:stCondLst>
                                        </p:cTn>
                                        <p:tgtEl>
                                          <p:spTgt spid="62"/>
                                        </p:tgtEl>
                                        <p:attrNameLst>
                                          <p:attrName>style.visibility</p:attrName>
                                        </p:attrNameLst>
                                      </p:cBhvr>
                                      <p:to>
                                        <p:strVal val="visible"/>
                                      </p:to>
                                    </p:set>
                                    <p:animEffect transition="in" filter="fade">
                                      <p:cBhvr>
                                        <p:cTn id="37" dur="1000"/>
                                        <p:tgtEl>
                                          <p:spTgt spid="62"/>
                                        </p:tgtEl>
                                      </p:cBhvr>
                                    </p:animEffect>
                                    <p:anim calcmode="lin" valueType="num">
                                      <p:cBhvr>
                                        <p:cTn id="38" dur="1000" fill="hold"/>
                                        <p:tgtEl>
                                          <p:spTgt spid="62"/>
                                        </p:tgtEl>
                                        <p:attrNameLst>
                                          <p:attrName>ppt_x</p:attrName>
                                        </p:attrNameLst>
                                      </p:cBhvr>
                                      <p:tavLst>
                                        <p:tav tm="0">
                                          <p:val>
                                            <p:strVal val="#ppt_x"/>
                                          </p:val>
                                        </p:tav>
                                        <p:tav tm="100000">
                                          <p:val>
                                            <p:strVal val="#ppt_x"/>
                                          </p:val>
                                        </p:tav>
                                      </p:tavLst>
                                    </p:anim>
                                    <p:anim calcmode="lin" valueType="num">
                                      <p:cBhvr>
                                        <p:cTn id="39" dur="1000" fill="hold"/>
                                        <p:tgtEl>
                                          <p:spTgt spid="62"/>
                                        </p:tgtEl>
                                        <p:attrNameLst>
                                          <p:attrName>ppt_y</p:attrName>
                                        </p:attrNameLst>
                                      </p:cBhvr>
                                      <p:tavLst>
                                        <p:tav tm="0">
                                          <p:val>
                                            <p:strVal val="#ppt_y+.1"/>
                                          </p:val>
                                        </p:tav>
                                        <p:tav tm="100000">
                                          <p:val>
                                            <p:strVal val="#ppt_y"/>
                                          </p:val>
                                        </p:tav>
                                      </p:tavLst>
                                    </p:anim>
                                  </p:childTnLst>
                                </p:cTn>
                              </p:par>
                              <p:par>
                                <p:cTn id="40" presetID="42" presetClass="entr" presetSubtype="0" fill="hold" nodeType="withEffect">
                                  <p:stCondLst>
                                    <p:cond delay="250"/>
                                  </p:stCondLst>
                                  <p:childTnLst>
                                    <p:set>
                                      <p:cBhvr>
                                        <p:cTn id="41" dur="1" fill="hold">
                                          <p:stCondLst>
                                            <p:cond delay="0"/>
                                          </p:stCondLst>
                                        </p:cTn>
                                        <p:tgtEl>
                                          <p:spTgt spid="50"/>
                                        </p:tgtEl>
                                        <p:attrNameLst>
                                          <p:attrName>style.visibility</p:attrName>
                                        </p:attrNameLst>
                                      </p:cBhvr>
                                      <p:to>
                                        <p:strVal val="visible"/>
                                      </p:to>
                                    </p:set>
                                    <p:animEffect transition="in" filter="fade">
                                      <p:cBhvr>
                                        <p:cTn id="42" dur="1000"/>
                                        <p:tgtEl>
                                          <p:spTgt spid="50"/>
                                        </p:tgtEl>
                                      </p:cBhvr>
                                    </p:animEffect>
                                    <p:anim calcmode="lin" valueType="num">
                                      <p:cBhvr>
                                        <p:cTn id="43" dur="1000" fill="hold"/>
                                        <p:tgtEl>
                                          <p:spTgt spid="50"/>
                                        </p:tgtEl>
                                        <p:attrNameLst>
                                          <p:attrName>ppt_x</p:attrName>
                                        </p:attrNameLst>
                                      </p:cBhvr>
                                      <p:tavLst>
                                        <p:tav tm="0">
                                          <p:val>
                                            <p:strVal val="#ppt_x"/>
                                          </p:val>
                                        </p:tav>
                                        <p:tav tm="100000">
                                          <p:val>
                                            <p:strVal val="#ppt_x"/>
                                          </p:val>
                                        </p:tav>
                                      </p:tavLst>
                                    </p:anim>
                                    <p:anim calcmode="lin" valueType="num">
                                      <p:cBhvr>
                                        <p:cTn id="44" dur="1000" fill="hold"/>
                                        <p:tgtEl>
                                          <p:spTgt spid="5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animBg="1"/>
      <p:bldP spid="49"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533042" y="6291947"/>
            <a:ext cx="11148351" cy="32244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2088" eaLnBrk="0" hangingPunct="0"/>
            <a:r>
              <a:rPr lang="en-US" sz="698" dirty="0">
                <a:solidFill>
                  <a:srgbClr val="797A7D"/>
                </a:solidFill>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2088" eaLnBrk="0" hangingPunct="0"/>
            <a:r>
              <a:rPr lang="en-US" sz="698" dirty="0">
                <a:solidFill>
                  <a:srgbClr val="797A7D"/>
                </a:solidFill>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a:t>
            </a:r>
            <a:br>
              <a:rPr lang="en-US" sz="698" dirty="0">
                <a:solidFill>
                  <a:srgbClr val="797A7D"/>
                </a:solidFill>
                <a:ea typeface="Segoe UI" pitchFamily="34" charset="0"/>
                <a:cs typeface="Segoe UI" pitchFamily="34" charset="0"/>
              </a:rPr>
            </a:br>
            <a:r>
              <a:rPr lang="en-US" sz="698" dirty="0">
                <a:solidFill>
                  <a:srgbClr val="797A7D"/>
                </a:solidFill>
                <a:ea typeface="Segoe UI" pitchFamily="34" charset="0"/>
                <a:cs typeface="Segoe UI" pitchFamily="34" charset="0"/>
              </a:rPr>
              <a:t>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092808303"/>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5" name="Title 4"/>
          <p:cNvSpPr txBox="1">
            <a:spLocks/>
          </p:cNvSpPr>
          <p:nvPr/>
        </p:nvSpPr>
        <p:spPr>
          <a:xfrm>
            <a:off x="476641" y="5445383"/>
            <a:ext cx="11149013" cy="1218795"/>
          </a:xfrm>
          <a:prstGeom prst="rect">
            <a:avLst/>
          </a:prstGeom>
        </p:spPr>
        <p:txBody>
          <a:bodyPr vert="horz" wrap="square" lIns="0" tIns="0" rIns="0" bIns="0" rtlCol="0" anchor="b" anchorCtr="0">
            <a:noAutofit/>
          </a:bodyPr>
          <a:lstStyle>
            <a:lvl1pPr algn="l" defTabSz="912078" rtl="0" eaLnBrk="1" latinLnBrk="0" hangingPunct="1">
              <a:lnSpc>
                <a:spcPct val="90000"/>
              </a:lnSpc>
              <a:spcBef>
                <a:spcPct val="0"/>
              </a:spcBef>
              <a:buNone/>
              <a:defRPr lang="en-US" sz="7200" b="0" kern="1200" cap="none" spc="-299" baseline="0">
                <a:ln w="3175">
                  <a:noFill/>
                </a:ln>
                <a:gradFill>
                  <a:gsLst>
                    <a:gs pos="100000">
                      <a:schemeClr val="bg1"/>
                    </a:gs>
                    <a:gs pos="0">
                      <a:schemeClr val="bg1"/>
                    </a:gs>
                  </a:gsLst>
                  <a:lin ang="5400000" scaled="0"/>
                </a:gradFill>
                <a:effectLst/>
                <a:latin typeface="+mj-lt"/>
                <a:ea typeface="+mn-ea"/>
                <a:cs typeface="Arial" charset="0"/>
              </a:defRPr>
            </a:lvl1pPr>
          </a:lstStyle>
          <a:p>
            <a:r>
              <a:rPr lang="en-US" smtClean="0"/>
              <a:t>Demo</a:t>
            </a:r>
            <a:endParaRPr lang="en-US" dirty="0"/>
          </a:p>
        </p:txBody>
      </p:sp>
      <p:sp>
        <p:nvSpPr>
          <p:cNvPr id="6" name="Rectangle 5"/>
          <p:cNvSpPr/>
          <p:nvPr/>
        </p:nvSpPr>
        <p:spPr>
          <a:xfrm>
            <a:off x="-14068" y="0"/>
            <a:ext cx="12202893" cy="6994525"/>
          </a:xfrm>
          <a:prstGeom prst="rect">
            <a:avLst/>
          </a:prstGeom>
          <a:solidFill>
            <a:srgbClr val="45ACC8"/>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7" name="Title 4"/>
          <p:cNvSpPr txBox="1">
            <a:spLocks/>
          </p:cNvSpPr>
          <p:nvPr/>
        </p:nvSpPr>
        <p:spPr>
          <a:xfrm>
            <a:off x="559533" y="2584272"/>
            <a:ext cx="4771119" cy="1389190"/>
          </a:xfrm>
          <a:prstGeom prst="rect">
            <a:avLst/>
          </a:prstGeom>
        </p:spPr>
        <p:txBody>
          <a:bodyPr vert="horz" wrap="square" lIns="0" tIns="0" rIns="0" bIns="0" rtlCol="0" anchor="b" anchorCtr="0">
            <a:noAutofit/>
          </a:bodyPr>
          <a:lstStyle>
            <a:lvl1pPr algn="l" defTabSz="912078" rtl="0" eaLnBrk="1" latinLnBrk="0" hangingPunct="1">
              <a:lnSpc>
                <a:spcPct val="90000"/>
              </a:lnSpc>
              <a:spcBef>
                <a:spcPct val="0"/>
              </a:spcBef>
              <a:buNone/>
              <a:defRPr lang="en-US" sz="7200" b="0" kern="1200" cap="none" spc="-299" baseline="0">
                <a:ln w="3175">
                  <a:noFill/>
                </a:ln>
                <a:gradFill>
                  <a:gsLst>
                    <a:gs pos="100000">
                      <a:schemeClr val="bg1"/>
                    </a:gs>
                    <a:gs pos="0">
                      <a:schemeClr val="bg1"/>
                    </a:gs>
                  </a:gsLst>
                  <a:lin ang="5400000" scaled="0"/>
                </a:gradFill>
                <a:effectLst/>
                <a:latin typeface="+mj-lt"/>
                <a:ea typeface="+mn-ea"/>
                <a:cs typeface="Arial" charset="0"/>
              </a:defRPr>
            </a:lvl1pPr>
          </a:lstStyle>
          <a:p>
            <a:r>
              <a:rPr lang="en-US" sz="8000" dirty="0" smtClean="0">
                <a:latin typeface="Segoe UI Bold" panose="020B0802040204020203" pitchFamily="34" charset="0"/>
                <a:ea typeface="Segoe UI Bold" panose="020B0802040204020203" pitchFamily="34" charset="0"/>
                <a:cs typeface="Segoe UI Bold" panose="020B0802040204020203" pitchFamily="34" charset="0"/>
              </a:rPr>
              <a:t>APPENDIX</a:t>
            </a:r>
            <a:endParaRPr lang="en-US" sz="8000" dirty="0">
              <a:latin typeface="Segoe UI Bold" panose="020B0802040204020203" pitchFamily="34" charset="0"/>
              <a:ea typeface="Segoe UI Bold" panose="020B0802040204020203" pitchFamily="34" charset="0"/>
              <a:cs typeface="Segoe UI Bold" panose="020B0802040204020203" pitchFamily="34" charset="0"/>
            </a:endParaRPr>
          </a:p>
        </p:txBody>
      </p:sp>
    </p:spTree>
    <p:extLst>
      <p:ext uri="{BB962C8B-B14F-4D97-AF65-F5344CB8AC3E}">
        <p14:creationId xmlns:p14="http://schemas.microsoft.com/office/powerpoint/2010/main" val="3886242744"/>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rgbClr val="002060"/>
                </a:solidFill>
                <a:latin typeface="Segoe UI Semibold" panose="020B0702040204020203" pitchFamily="34" charset="0"/>
                <a:cs typeface="Segoe UI Semibold" panose="020B0702040204020203" pitchFamily="34" charset="0"/>
              </a:rPr>
              <a:t>Full plan lineup</a:t>
            </a:r>
            <a:endParaRPr lang="en-US" dirty="0">
              <a:solidFill>
                <a:srgbClr val="002060"/>
              </a:solidFill>
              <a:latin typeface="Segoe UI Semibold" panose="020B0702040204020203" pitchFamily="34" charset="0"/>
              <a:cs typeface="Segoe UI Semibold" panose="020B0702040204020203" pitchFamily="34" charset="0"/>
            </a:endParaRPr>
          </a:p>
        </p:txBody>
      </p:sp>
      <p:graphicFrame>
        <p:nvGraphicFramePr>
          <p:cNvPr id="3" name="Table 4"/>
          <p:cNvGraphicFramePr>
            <a:graphicFrameLocks noGrp="1"/>
          </p:cNvGraphicFramePr>
          <p:nvPr>
            <p:extLst>
              <p:ext uri="{D42A27DB-BD31-4B8C-83A1-F6EECF244321}">
                <p14:modId xmlns:p14="http://schemas.microsoft.com/office/powerpoint/2010/main" val="3037479437"/>
              </p:ext>
            </p:extLst>
          </p:nvPr>
        </p:nvGraphicFramePr>
        <p:xfrm>
          <a:off x="658597" y="228605"/>
          <a:ext cx="10619002" cy="6267441"/>
        </p:xfrm>
        <a:graphic>
          <a:graphicData uri="http://schemas.openxmlformats.org/drawingml/2006/table">
            <a:tbl>
              <a:tblPr firstRow="1" bandRow="1">
                <a:tableStyleId>{2D5ABB26-0587-4C30-8999-92F81FD0307C}</a:tableStyleId>
              </a:tblPr>
              <a:tblGrid>
                <a:gridCol w="463372"/>
                <a:gridCol w="4252782"/>
                <a:gridCol w="983808"/>
                <a:gridCol w="983808"/>
                <a:gridCol w="983808"/>
                <a:gridCol w="983808"/>
                <a:gridCol w="983808"/>
                <a:gridCol w="983808"/>
              </a:tblGrid>
              <a:tr h="282567">
                <a:tc rowSpan="2" gridSpan="2">
                  <a:txBody>
                    <a:bodyPr/>
                    <a:lstStyle/>
                    <a:p>
                      <a:pPr marL="0" marR="0" indent="0" algn="l" defTabSz="1075751" rtl="0" eaLnBrk="1" fontAlgn="auto" latinLnBrk="0" hangingPunct="1">
                        <a:lnSpc>
                          <a:spcPct val="100000"/>
                        </a:lnSpc>
                        <a:spcBef>
                          <a:spcPts val="0"/>
                        </a:spcBef>
                        <a:spcAft>
                          <a:spcPts val="0"/>
                        </a:spcAft>
                        <a:buClrTx/>
                        <a:buSzTx/>
                        <a:buFontTx/>
                        <a:buNone/>
                        <a:tabLst/>
                        <a:defRPr/>
                      </a:pPr>
                      <a:endParaRPr lang="en-US" sz="1200" dirty="0"/>
                    </a:p>
                  </a:txBody>
                  <a:tcPr marL="0" marR="86085" marT="43043" marB="43043" anchor="b">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tcPr>
                </a:tc>
                <a:tc rowSpan="2" hMerge="1">
                  <a:txBody>
                    <a:bodyPr/>
                    <a:lstStyle/>
                    <a:p>
                      <a:endParaRPr lang="en-US" sz="900" dirty="0"/>
                    </a:p>
                  </a:txBody>
                  <a:tcPr>
                    <a:lnR w="19050" cap="flat" cmpd="sng" algn="ctr">
                      <a:solidFill>
                        <a:schemeClr val="bg1"/>
                      </a:solidFill>
                      <a:prstDash val="solid"/>
                      <a:round/>
                      <a:headEnd type="none" w="med" len="med"/>
                      <a:tailEnd type="none" w="med" len="med"/>
                    </a:lnR>
                    <a:lnB w="19050" cap="flat" cmpd="sng" algn="ctr">
                      <a:solidFill>
                        <a:schemeClr val="bg1"/>
                      </a:solidFill>
                      <a:prstDash val="solid"/>
                      <a:round/>
                      <a:headEnd type="none" w="med" len="med"/>
                      <a:tailEnd type="none" w="med" len="med"/>
                    </a:lnB>
                  </a:tcPr>
                </a:tc>
                <a:tc gridSpan="3">
                  <a:txBody>
                    <a:bodyPr/>
                    <a:lstStyle/>
                    <a:p>
                      <a:pPr algn="ctr"/>
                      <a:r>
                        <a:rPr lang="en-US" sz="1200" dirty="0" smtClean="0">
                          <a:solidFill>
                            <a:schemeClr val="bg1"/>
                          </a:solidFill>
                        </a:rPr>
                        <a:t>Business</a:t>
                      </a:r>
                      <a:endParaRPr lang="en-US" sz="1200" dirty="0">
                        <a:solidFill>
                          <a:schemeClr val="bg1"/>
                        </a:solidFill>
                      </a:endParaRPr>
                    </a:p>
                  </a:txBody>
                  <a:tcPr marL="43043" marR="43043" marT="43043" marB="43043"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2D82FF"/>
                    </a:solidFill>
                  </a:tcPr>
                </a:tc>
                <a:tc hMerge="1">
                  <a:txBody>
                    <a:bodyPr/>
                    <a:lstStyle/>
                    <a:p>
                      <a:pPr algn="ctr"/>
                      <a:endParaRPr lang="en-US" sz="1200" dirty="0">
                        <a:solidFill>
                          <a:schemeClr val="bg1"/>
                        </a:solidFill>
                      </a:endParaRPr>
                    </a:p>
                  </a:txBody>
                  <a:tcPr marL="43918" marR="43918" marT="43918" marB="43918"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hMerge="1">
                  <a:txBody>
                    <a:bodyPr/>
                    <a:lstStyle/>
                    <a:p>
                      <a:pPr algn="ctr"/>
                      <a:endParaRPr lang="en-US" sz="1200" dirty="0">
                        <a:solidFill>
                          <a:schemeClr val="bg1"/>
                        </a:solidFill>
                      </a:endParaRPr>
                    </a:p>
                  </a:txBody>
                  <a:tcPr marL="43918" marR="43918" marT="43918" marB="43918"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gridSpan="3">
                  <a:txBody>
                    <a:bodyPr/>
                    <a:lstStyle/>
                    <a:p>
                      <a:pPr algn="ctr"/>
                      <a:r>
                        <a:rPr lang="en-US" sz="1200" dirty="0" smtClean="0">
                          <a:solidFill>
                            <a:schemeClr val="bg1"/>
                          </a:solidFill>
                        </a:rPr>
                        <a:t>Enterprise</a:t>
                      </a:r>
                      <a:endParaRPr lang="en-US" sz="1200" dirty="0">
                        <a:solidFill>
                          <a:schemeClr val="bg1"/>
                        </a:solidFill>
                      </a:endParaRPr>
                    </a:p>
                  </a:txBody>
                  <a:tcPr marL="43043" marR="43043" marT="43043" marB="43043" anchor="ctr">
                    <a:lnL w="381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hMerge="1">
                  <a:txBody>
                    <a:bodyPr/>
                    <a:lstStyle/>
                    <a:p>
                      <a:endParaRPr lang="en-US" dirty="0"/>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hMerge="1">
                  <a:txBody>
                    <a:bodyPr/>
                    <a:lstStyle/>
                    <a:p>
                      <a:endParaRPr lang="en-US" dirty="0"/>
                    </a:p>
                  </a:txBody>
                  <a:tcPr marL="45720" marR="45720" anchor="ctr">
                    <a:lnL w="381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r>
              <a:tr h="541190">
                <a:tc gridSpan="2" vMerge="1">
                  <a:txBody>
                    <a:bodyPr/>
                    <a:lstStyle/>
                    <a:p>
                      <a:endParaRPr lang="en-US"/>
                    </a:p>
                  </a:txBody>
                  <a:tcPr/>
                </a:tc>
                <a:tc hMerge="1" vMerge="1">
                  <a:txBody>
                    <a:bodyPr/>
                    <a:lstStyle/>
                    <a:p>
                      <a:endParaRPr lang="en-US"/>
                    </a:p>
                  </a:txBody>
                  <a:tcPr/>
                </a:tc>
                <a:tc>
                  <a:txBody>
                    <a:bodyPr/>
                    <a:lstStyle/>
                    <a:p>
                      <a:pPr algn="ctr"/>
                      <a:r>
                        <a:rPr lang="en-US" sz="1200" dirty="0" smtClean="0">
                          <a:solidFill>
                            <a:schemeClr val="bg1"/>
                          </a:solidFill>
                        </a:rPr>
                        <a:t>Business</a:t>
                      </a:r>
                    </a:p>
                  </a:txBody>
                  <a:tcPr marL="43043" marR="43043" marT="43043" marB="43043" anchor="ctr">
                    <a:lnL w="381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2D82FF"/>
                    </a:solidFill>
                  </a:tcPr>
                </a:tc>
                <a:tc>
                  <a:txBody>
                    <a:bodyPr/>
                    <a:lstStyle/>
                    <a:p>
                      <a:pPr algn="ctr"/>
                      <a:r>
                        <a:rPr lang="en-US" sz="1200" dirty="0" smtClean="0">
                          <a:solidFill>
                            <a:schemeClr val="bg1"/>
                          </a:solidFill>
                        </a:rPr>
                        <a:t>Business</a:t>
                      </a:r>
                      <a:r>
                        <a:rPr lang="en-US" sz="1200" baseline="0" dirty="0" smtClean="0">
                          <a:solidFill>
                            <a:schemeClr val="bg1"/>
                          </a:solidFill>
                        </a:rPr>
                        <a:t> Essentials</a:t>
                      </a:r>
                      <a:endParaRPr lang="en-US" sz="1200" dirty="0" smtClean="0">
                        <a:solidFill>
                          <a:schemeClr val="bg1"/>
                        </a:solidFill>
                      </a:endParaRPr>
                    </a:p>
                  </a:txBody>
                  <a:tcPr marL="43043" marR="43043" marT="43043" marB="4304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2D82FF"/>
                    </a:solidFill>
                  </a:tcPr>
                </a:tc>
                <a:tc>
                  <a:txBody>
                    <a:bodyPr/>
                    <a:lstStyle/>
                    <a:p>
                      <a:pPr algn="ctr"/>
                      <a:r>
                        <a:rPr lang="en-US" sz="1200" dirty="0" smtClean="0">
                          <a:solidFill>
                            <a:schemeClr val="bg1"/>
                          </a:solidFill>
                        </a:rPr>
                        <a:t>Business Premium</a:t>
                      </a:r>
                    </a:p>
                  </a:txBody>
                  <a:tcPr marL="43043" marR="43043" marT="43043" marB="43043" anchor="ctr">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2D82FF"/>
                    </a:solidFill>
                  </a:tcPr>
                </a:tc>
                <a:tc>
                  <a:txBody>
                    <a:bodyPr/>
                    <a:lstStyle/>
                    <a:p>
                      <a:pPr algn="ctr"/>
                      <a:r>
                        <a:rPr lang="en-US" sz="1200" baseline="0" dirty="0" smtClean="0">
                          <a:solidFill>
                            <a:schemeClr val="bg1"/>
                          </a:solidFill>
                        </a:rPr>
                        <a:t>ProPlus</a:t>
                      </a:r>
                      <a:endParaRPr lang="en-US" sz="1200" dirty="0" smtClean="0">
                        <a:solidFill>
                          <a:schemeClr val="bg1"/>
                        </a:solidFill>
                      </a:endParaRPr>
                    </a:p>
                  </a:txBody>
                  <a:tcPr marL="43043" marR="43043" marT="43043" marB="43043" anchor="ctr">
                    <a:lnL w="381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2"/>
                    </a:solidFill>
                  </a:tcPr>
                </a:tc>
                <a:tc>
                  <a:txBody>
                    <a:bodyPr/>
                    <a:lstStyle/>
                    <a:p>
                      <a:pPr algn="ctr"/>
                      <a:r>
                        <a:rPr lang="en-US" sz="1200" dirty="0" smtClean="0">
                          <a:solidFill>
                            <a:schemeClr val="bg1"/>
                          </a:solidFill>
                        </a:rPr>
                        <a:t>E1</a:t>
                      </a:r>
                      <a:endParaRPr lang="en-US" sz="1200" dirty="0">
                        <a:solidFill>
                          <a:schemeClr val="bg1"/>
                        </a:solidFill>
                      </a:endParaRPr>
                    </a:p>
                  </a:txBody>
                  <a:tcPr marL="43043" marR="43043" marT="43043" marB="4304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2"/>
                    </a:solidFill>
                  </a:tcPr>
                </a:tc>
                <a:tc>
                  <a:txBody>
                    <a:bodyPr/>
                    <a:lstStyle/>
                    <a:p>
                      <a:pPr algn="ctr"/>
                      <a:r>
                        <a:rPr lang="en-US" sz="1200" dirty="0" smtClean="0">
                          <a:solidFill>
                            <a:schemeClr val="bg1"/>
                          </a:solidFill>
                        </a:rPr>
                        <a:t>E3</a:t>
                      </a:r>
                      <a:endParaRPr lang="en-US" sz="1200" dirty="0">
                        <a:solidFill>
                          <a:schemeClr val="bg1"/>
                        </a:solidFill>
                      </a:endParaRPr>
                    </a:p>
                  </a:txBody>
                  <a:tcPr marL="43043" marR="43043" marT="43043" marB="4304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2"/>
                    </a:solidFill>
                  </a:tcPr>
                </a:tc>
              </a:tr>
              <a:tr h="302724">
                <a:tc rowSpan="3">
                  <a:txBody>
                    <a:bodyPr/>
                    <a:lstStyle/>
                    <a:p>
                      <a:pPr algn="l"/>
                      <a:r>
                        <a:rPr lang="en-US" sz="1100" b="1" dirty="0" smtClean="0">
                          <a:solidFill>
                            <a:schemeClr val="bg1"/>
                          </a:solidFill>
                        </a:rPr>
                        <a:t>Target </a:t>
                      </a:r>
                    </a:p>
                    <a:p>
                      <a:pPr algn="l"/>
                      <a:r>
                        <a:rPr lang="en-US" sz="1100" b="1" dirty="0" smtClean="0">
                          <a:solidFill>
                            <a:schemeClr val="bg1"/>
                          </a:solidFill>
                        </a:rPr>
                        <a:t>customer</a:t>
                      </a:r>
                      <a:endParaRPr lang="en-US" sz="1100" b="1" dirty="0">
                        <a:solidFill>
                          <a:schemeClr val="bg1"/>
                        </a:solidFill>
                      </a:endParaRPr>
                    </a:p>
                  </a:txBody>
                  <a:tcPr marL="86085" marR="86085" marT="17217" marB="179238" vert="vert27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lumMod val="75000"/>
                      </a:schemeClr>
                    </a:solidFill>
                  </a:tcPr>
                </a:tc>
                <a:tc>
                  <a:txBody>
                    <a:bodyPr/>
                    <a:lstStyle/>
                    <a:p>
                      <a:r>
                        <a:rPr lang="en-US" sz="1200" dirty="0" smtClean="0"/>
                        <a:t>Price</a:t>
                      </a:r>
                      <a:endParaRPr lang="en-US" sz="1200" dirty="0"/>
                    </a:p>
                  </a:txBody>
                  <a:tcPr marL="43043" marR="86085" marT="17217" marB="17217"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ltUpDiag">
                      <a:fgClr>
                        <a:schemeClr val="bg1">
                          <a:lumMod val="85000"/>
                        </a:schemeClr>
                      </a:fgClr>
                      <a:bgClr>
                        <a:schemeClr val="bg1"/>
                      </a:bgClr>
                    </a:pattFill>
                  </a:tcPr>
                </a:tc>
                <a:tc>
                  <a:txBody>
                    <a:bodyPr/>
                    <a:lstStyle/>
                    <a:p>
                      <a:pPr algn="ctr"/>
                      <a:r>
                        <a:rPr lang="en-US" sz="1200" dirty="0" smtClean="0"/>
                        <a:t>$8.25</a:t>
                      </a:r>
                      <a:endParaRPr lang="en-US" sz="1200" dirty="0"/>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0000"/>
                        <a:lumOff val="80000"/>
                      </a:schemeClr>
                    </a:solidFill>
                  </a:tcPr>
                </a:tc>
                <a:tc>
                  <a:txBody>
                    <a:bodyPr/>
                    <a:lstStyle/>
                    <a:p>
                      <a:pPr algn="ctr"/>
                      <a:r>
                        <a:rPr lang="en-US" sz="1200" dirty="0" smtClean="0"/>
                        <a:t>$5</a:t>
                      </a:r>
                      <a:endParaRPr lang="en-US" sz="1200" dirty="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0000"/>
                        <a:lumOff val="80000"/>
                      </a:schemeClr>
                    </a:solidFill>
                  </a:tcPr>
                </a:tc>
                <a:tc>
                  <a:txBody>
                    <a:bodyPr/>
                    <a:lstStyle/>
                    <a:p>
                      <a:pPr algn="ctr"/>
                      <a:r>
                        <a:rPr lang="en-US" sz="1200" dirty="0" smtClean="0"/>
                        <a:t>$12.5</a:t>
                      </a:r>
                      <a:endParaRPr lang="en-US" sz="1200" dirty="0"/>
                    </a:p>
                  </a:txBody>
                  <a:tcPr marL="0" marR="0" marT="0" marB="0" anchor="ctr">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0000"/>
                        <a:lumOff val="80000"/>
                      </a:schemeClr>
                    </a:solidFill>
                  </a:tcPr>
                </a:tc>
                <a:tc>
                  <a:txBody>
                    <a:bodyPr/>
                    <a:lstStyle/>
                    <a:p>
                      <a:pPr algn="ctr"/>
                      <a:r>
                        <a:rPr lang="en-US" sz="1200" dirty="0" smtClean="0"/>
                        <a:t>$12</a:t>
                      </a:r>
                      <a:endParaRPr lang="en-US" sz="1200" dirty="0"/>
                    </a:p>
                  </a:txBody>
                  <a:tcPr marL="0" marR="0" marT="0" marB="0" anchor="ctr">
                    <a:lnL w="381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algn="ctr"/>
                      <a:r>
                        <a:rPr lang="en-US" sz="1200" dirty="0" smtClean="0"/>
                        <a:t>$8</a:t>
                      </a:r>
                      <a:endParaRPr lang="en-US" sz="1200" dirty="0"/>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algn="ctr"/>
                      <a:r>
                        <a:rPr lang="en-US" sz="1200" dirty="0" smtClean="0"/>
                        <a:t>$20</a:t>
                      </a:r>
                      <a:endParaRPr lang="en-US" sz="1200" dirty="0"/>
                    </a:p>
                  </a:txBody>
                  <a:tcPr marL="0" marR="0" marT="0" marB="0"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r>
              <a:tr h="302724">
                <a:tc vMerge="1">
                  <a:txBody>
                    <a:bodyPr/>
                    <a:lstStyle/>
                    <a:p>
                      <a:endParaRPr lang="en-US" sz="900" dirty="0"/>
                    </a:p>
                  </a:txBody>
                  <a:tcPr marT="18288" marB="18288" anchor="ctr"/>
                </a:tc>
                <a:tc>
                  <a:txBody>
                    <a:bodyPr/>
                    <a:lstStyle/>
                    <a:p>
                      <a:r>
                        <a:rPr lang="en-US" sz="1200" dirty="0" smtClean="0"/>
                        <a:t>Seat Cap</a:t>
                      </a:r>
                      <a:endParaRPr lang="en-US" sz="1200" dirty="0"/>
                    </a:p>
                  </a:txBody>
                  <a:tcPr marL="43043" marR="86085" marT="17217" marB="17217"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ltUpDiag">
                      <a:fgClr>
                        <a:schemeClr val="bg1">
                          <a:lumMod val="85000"/>
                        </a:schemeClr>
                      </a:fgClr>
                      <a:bgClr>
                        <a:schemeClr val="bg1"/>
                      </a:bgClr>
                    </a:pattFill>
                  </a:tcPr>
                </a:tc>
                <a:tc gridSpan="3">
                  <a:txBody>
                    <a:bodyPr/>
                    <a:lstStyle/>
                    <a:p>
                      <a:pPr algn="ctr"/>
                      <a:r>
                        <a:rPr lang="en-US" sz="1200" dirty="0" smtClean="0"/>
                        <a:t>300 (for each plan)</a:t>
                      </a:r>
                      <a:endParaRPr lang="en-US" sz="1200" dirty="0"/>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0000"/>
                        <a:lumOff val="80000"/>
                      </a:schemeClr>
                    </a:solidFill>
                  </a:tcPr>
                </a:tc>
                <a:tc hMerge="1">
                  <a:txBody>
                    <a:bodyPr/>
                    <a:lstStyle/>
                    <a:p>
                      <a:pPr algn="ctr"/>
                      <a:endParaRPr lang="en-US" sz="1200" dirty="0"/>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20000"/>
                        <a:lumOff val="80000"/>
                      </a:schemeClr>
                    </a:solidFill>
                  </a:tcPr>
                </a:tc>
                <a:tc hMerge="1">
                  <a:txBody>
                    <a:bodyPr/>
                    <a:lstStyle/>
                    <a:p>
                      <a:pPr algn="ctr"/>
                      <a:endParaRPr lang="en-US" sz="1200" dirty="0"/>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20000"/>
                        <a:lumOff val="80000"/>
                      </a:schemeClr>
                    </a:solidFill>
                  </a:tcPr>
                </a:tc>
                <a:tc gridSpan="3">
                  <a:txBody>
                    <a:bodyPr/>
                    <a:lstStyle/>
                    <a:p>
                      <a:pPr algn="ctr"/>
                      <a:r>
                        <a:rPr lang="en-US" sz="1200" dirty="0" smtClean="0"/>
                        <a:t>Unlimited</a:t>
                      </a:r>
                      <a:endParaRPr lang="en-US" sz="1200" dirty="0"/>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hMerge="1">
                  <a:txBody>
                    <a:bodyPr/>
                    <a:lstStyle/>
                    <a:p>
                      <a:pPr algn="ctr"/>
                      <a:endParaRPr lang="en-US" sz="1100" dirty="0"/>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D6C8"/>
                    </a:solidFill>
                  </a:tcPr>
                </a:tc>
                <a:tc hMerge="1">
                  <a:txBody>
                    <a:bodyPr/>
                    <a:lstStyle/>
                    <a:p>
                      <a:pPr algn="ctr"/>
                      <a:endParaRPr lang="en-US" sz="1100" dirty="0"/>
                    </a:p>
                  </a:txBody>
                  <a:tcPr marL="0" marR="0" marT="0" marB="0" anchor="ctr">
                    <a:lnL w="381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D6C8"/>
                    </a:solidFill>
                  </a:tcPr>
                </a:tc>
              </a:tr>
              <a:tr h="302724">
                <a:tc vMerge="1">
                  <a:txBody>
                    <a:bodyPr/>
                    <a:lstStyle/>
                    <a:p>
                      <a:endParaRPr lang="en-US"/>
                    </a:p>
                  </a:txBody>
                  <a:tcPr/>
                </a:tc>
                <a:tc>
                  <a:txBody>
                    <a:bodyPr/>
                    <a:lstStyle/>
                    <a:p>
                      <a:pPr marL="0" marR="0" indent="0" algn="l" defTabSz="1075751"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latin typeface="+mn-lt"/>
                          <a:ea typeface="+mn-ea"/>
                          <a:cs typeface="+mn-cs"/>
                        </a:rPr>
                        <a:t>24/7 phone support from Microsoft</a:t>
                      </a:r>
                      <a:endParaRPr lang="en-US" sz="1200" kern="1200" dirty="0">
                        <a:solidFill>
                          <a:schemeClr val="tx1"/>
                        </a:solidFill>
                        <a:latin typeface="+mn-lt"/>
                        <a:ea typeface="+mn-ea"/>
                        <a:cs typeface="+mn-cs"/>
                      </a:endParaRPr>
                    </a:p>
                  </a:txBody>
                  <a:tcPr marL="43043" marR="86085" marT="17217" marB="17217"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pattFill prst="ltUpDiag">
                      <a:fgClr>
                        <a:schemeClr val="bg1">
                          <a:lumMod val="85000"/>
                        </a:schemeClr>
                      </a:fgClr>
                      <a:bgClr>
                        <a:schemeClr val="bg1"/>
                      </a:bgClr>
                    </a:pattFill>
                  </a:tcPr>
                </a:tc>
                <a:tc gridSpan="3">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1200" dirty="0" smtClean="0">
                          <a:sym typeface="Wingdings" panose="05000000000000000000" pitchFamily="2" charset="2"/>
                        </a:rPr>
                        <a:t>Critical</a:t>
                      </a:r>
                      <a:r>
                        <a:rPr lang="en-US" sz="1200" baseline="0" dirty="0" smtClean="0">
                          <a:sym typeface="Wingdings" panose="05000000000000000000" pitchFamily="2" charset="2"/>
                        </a:rPr>
                        <a:t> issues</a:t>
                      </a:r>
                      <a:endParaRPr lang="en-US" sz="1200" dirty="0" smtClean="0"/>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1">
                        <a:lumMod val="20000"/>
                        <a:lumOff val="80000"/>
                      </a:schemeClr>
                    </a:solidFill>
                  </a:tcPr>
                </a:tc>
                <a:tc hMerge="1">
                  <a:txBody>
                    <a:bodyPr/>
                    <a:lstStyle/>
                    <a:p>
                      <a:pPr algn="ctr"/>
                      <a:endParaRPr lang="en-US" sz="1200" dirty="0"/>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2">
                        <a:lumMod val="20000"/>
                        <a:lumOff val="80000"/>
                      </a:schemeClr>
                    </a:solidFill>
                  </a:tcPr>
                </a:tc>
                <a:tc hMerge="1">
                  <a:txBody>
                    <a:bodyPr/>
                    <a:lstStyle/>
                    <a:p>
                      <a:pPr algn="ctr"/>
                      <a:endParaRPr lang="en-US" sz="1200" dirty="0"/>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2">
                        <a:lumMod val="20000"/>
                        <a:lumOff val="80000"/>
                      </a:schemeClr>
                    </a:solidFill>
                  </a:tcPr>
                </a:tc>
                <a:tc gridSpan="3">
                  <a:txBody>
                    <a:bodyPr/>
                    <a:lstStyle/>
                    <a:p>
                      <a:pPr algn="ctr"/>
                      <a:r>
                        <a:rPr lang="en-US" sz="1200" dirty="0" smtClean="0">
                          <a:sym typeface="Wingdings" panose="05000000000000000000" pitchFamily="2" charset="2"/>
                        </a:rPr>
                        <a:t>All</a:t>
                      </a:r>
                      <a:r>
                        <a:rPr lang="en-US" sz="1200" baseline="0" dirty="0" smtClean="0">
                          <a:sym typeface="Wingdings" panose="05000000000000000000" pitchFamily="2" charset="2"/>
                        </a:rPr>
                        <a:t> issues</a:t>
                      </a:r>
                      <a:endParaRPr lang="en-US" sz="1200" dirty="0"/>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20000"/>
                        <a:lumOff val="80000"/>
                      </a:schemeClr>
                    </a:solidFill>
                  </a:tcPr>
                </a:tc>
                <a:tc hMerge="1">
                  <a:txBody>
                    <a:bodyPr/>
                    <a:lstStyle/>
                    <a:p>
                      <a:pPr algn="ctr"/>
                      <a:endParaRPr lang="en-US" sz="1100" dirty="0"/>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FD6C8"/>
                    </a:solidFill>
                  </a:tcPr>
                </a:tc>
                <a:tc hMerge="1">
                  <a:txBody>
                    <a:bodyPr/>
                    <a:lstStyle/>
                    <a:p>
                      <a:pPr algn="ctr"/>
                      <a:endParaRPr lang="en-US" sz="1100" dirty="0"/>
                    </a:p>
                  </a:txBody>
                  <a:tcPr marL="0" marR="0" marT="0" marB="0" anchor="ctr">
                    <a:lnL w="381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FD6C8"/>
                    </a:solidFill>
                  </a:tcPr>
                </a:tc>
              </a:tr>
              <a:tr h="302724">
                <a:tc rowSpan="4">
                  <a:txBody>
                    <a:bodyPr/>
                    <a:lstStyle/>
                    <a:p>
                      <a:pPr marL="0" algn="l" defTabSz="932742" rtl="0" eaLnBrk="1" latinLnBrk="0" hangingPunct="1"/>
                      <a:r>
                        <a:rPr lang="en-US" sz="1100" b="1" kern="1200" dirty="0" smtClean="0">
                          <a:solidFill>
                            <a:schemeClr val="bg1"/>
                          </a:solidFill>
                          <a:latin typeface="+mn-lt"/>
                          <a:ea typeface="+mn-ea"/>
                          <a:cs typeface="+mn-cs"/>
                        </a:rPr>
                        <a:t>Office</a:t>
                      </a:r>
                      <a:endParaRPr lang="en-US" sz="1100" b="1" kern="1200" dirty="0">
                        <a:solidFill>
                          <a:schemeClr val="bg1"/>
                        </a:solidFill>
                        <a:latin typeface="+mn-lt"/>
                        <a:ea typeface="+mn-ea"/>
                        <a:cs typeface="+mn-cs"/>
                      </a:endParaRPr>
                    </a:p>
                  </a:txBody>
                  <a:tcPr marL="86085" marR="86085" marT="17217" marB="179238" vert="vert27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lumMod val="75000"/>
                      </a:schemeClr>
                    </a:solidFill>
                  </a:tcPr>
                </a:tc>
                <a:tc>
                  <a:txBody>
                    <a:bodyPr/>
                    <a:lstStyle/>
                    <a:p>
                      <a:r>
                        <a:rPr lang="en-US" sz="1200" kern="1200" dirty="0" smtClean="0">
                          <a:solidFill>
                            <a:schemeClr val="tx1"/>
                          </a:solidFill>
                          <a:latin typeface="+mn-lt"/>
                          <a:ea typeface="+mn-ea"/>
                          <a:cs typeface="+mn-cs"/>
                        </a:rPr>
                        <a:t>Word, PowerPoint, Excel, Outlook, OneNote, Publisher</a:t>
                      </a:r>
                    </a:p>
                  </a:txBody>
                  <a:tcPr marL="43918" marR="87834" marT="17567" marB="17567"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ltUpDiag">
                      <a:fgClr>
                        <a:schemeClr val="bg1">
                          <a:lumMod val="85000"/>
                        </a:schemeClr>
                      </a:fgClr>
                      <a:bgClr>
                        <a:schemeClr val="bg1"/>
                      </a:bgClr>
                    </a:patt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1200" dirty="0" smtClean="0">
                          <a:sym typeface="Wingdings" panose="05000000000000000000" pitchFamily="2" charset="2"/>
                        </a:rPr>
                        <a:t></a:t>
                      </a:r>
                      <a:endParaRPr lang="en-US" sz="1200" dirty="0" smtClean="0"/>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0000"/>
                        <a:lumOff val="80000"/>
                      </a:schemeClr>
                    </a:solidFill>
                  </a:tcPr>
                </a:tc>
                <a:tc>
                  <a:txBody>
                    <a:bodyPr/>
                    <a:lstStyle/>
                    <a:p>
                      <a:pPr algn="ctr"/>
                      <a:endParaRPr lang="en-US" sz="1200" dirty="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0000"/>
                        <a:lumOff val="80000"/>
                      </a:schemeClr>
                    </a:solid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1200" dirty="0" smtClean="0">
                          <a:sym typeface="Wingdings" panose="05000000000000000000" pitchFamily="2" charset="2"/>
                        </a:rPr>
                        <a:t></a:t>
                      </a:r>
                      <a:endParaRPr lang="en-US" sz="1200" dirty="0" smtClean="0"/>
                    </a:p>
                  </a:txBody>
                  <a:tcPr marL="0" marR="0" marT="0" marB="0" anchor="ctr">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0000"/>
                        <a:lumOff val="80000"/>
                      </a:schemeClr>
                    </a:solid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1200" dirty="0" smtClean="0">
                          <a:sym typeface="Wingdings" panose="05000000000000000000" pitchFamily="2" charset="2"/>
                        </a:rPr>
                        <a:t></a:t>
                      </a:r>
                      <a:r>
                        <a:rPr lang="en-US" sz="1200" baseline="30000" dirty="0" smtClean="0">
                          <a:sym typeface="Wingdings" panose="05000000000000000000" pitchFamily="2" charset="2"/>
                        </a:rPr>
                        <a:t>2</a:t>
                      </a:r>
                      <a:endParaRPr lang="en-US" sz="1200" dirty="0" smtClean="0"/>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0" marR="0" indent="0" algn="ctr" defTabSz="1075751" rtl="0" eaLnBrk="1" fontAlgn="auto" latinLnBrk="0" hangingPunct="1">
                        <a:lnSpc>
                          <a:spcPct val="100000"/>
                        </a:lnSpc>
                        <a:spcBef>
                          <a:spcPts val="0"/>
                        </a:spcBef>
                        <a:spcAft>
                          <a:spcPts val="0"/>
                        </a:spcAft>
                        <a:buClrTx/>
                        <a:buSzTx/>
                        <a:buFontTx/>
                        <a:buNone/>
                        <a:tabLst/>
                        <a:defRPr/>
                      </a:pPr>
                      <a:endParaRPr lang="en-US" sz="1200" dirty="0" smtClean="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1200" dirty="0" smtClean="0">
                          <a:sym typeface="Wingdings" panose="05000000000000000000" pitchFamily="2" charset="2"/>
                        </a:rPr>
                        <a:t></a:t>
                      </a:r>
                      <a:r>
                        <a:rPr lang="en-US" sz="1200" baseline="30000" dirty="0" smtClean="0">
                          <a:sym typeface="Wingdings" panose="05000000000000000000" pitchFamily="2" charset="2"/>
                        </a:rPr>
                        <a:t>2</a:t>
                      </a:r>
                      <a:endParaRPr lang="en-US" sz="1200" dirty="0" smtClean="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r>
              <a:tr h="302724">
                <a:tc vMerge="1">
                  <a:txBody>
                    <a:bodyPr/>
                    <a:lstStyle/>
                    <a:p>
                      <a:endParaRPr lang="en-US"/>
                    </a:p>
                  </a:txBody>
                  <a:tcPr/>
                </a:tc>
                <a:tc>
                  <a:txBody>
                    <a:bodyPr/>
                    <a:lstStyle/>
                    <a:p>
                      <a:pPr marL="0" marR="0" indent="0" algn="l" defTabSz="1075751" rtl="0" eaLnBrk="1" fontAlgn="auto" latinLnBrk="0" hangingPunct="1">
                        <a:lnSpc>
                          <a:spcPct val="100000"/>
                        </a:lnSpc>
                        <a:spcBef>
                          <a:spcPts val="0"/>
                        </a:spcBef>
                        <a:spcAft>
                          <a:spcPts val="0"/>
                        </a:spcAft>
                        <a:buClrTx/>
                        <a:buSzTx/>
                        <a:buFontTx/>
                        <a:buNone/>
                        <a:tabLst/>
                        <a:defRPr/>
                      </a:pPr>
                      <a:r>
                        <a:rPr lang="en-US" sz="1200" dirty="0" smtClean="0"/>
                        <a:t>iPad, Windows RT &amp; smartphone</a:t>
                      </a:r>
                      <a:r>
                        <a:rPr lang="en-US" sz="1200" baseline="0" dirty="0" smtClean="0"/>
                        <a:t> apps</a:t>
                      </a:r>
                      <a:endParaRPr lang="en-US" sz="1200" dirty="0" smtClean="0"/>
                    </a:p>
                  </a:txBody>
                  <a:tcPr marL="43918" marR="87834" marT="17567" marB="17567"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ltUpDiag">
                      <a:fgClr>
                        <a:schemeClr val="bg1">
                          <a:lumMod val="85000"/>
                        </a:schemeClr>
                      </a:fgClr>
                      <a:bgClr>
                        <a:schemeClr val="bg1"/>
                      </a:bgClr>
                    </a:patt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1200" dirty="0" smtClean="0">
                          <a:sym typeface="Wingdings" panose="05000000000000000000" pitchFamily="2" charset="2"/>
                        </a:rPr>
                        <a:t></a:t>
                      </a:r>
                      <a:endParaRPr lang="en-US" sz="1200" dirty="0" smtClean="0"/>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0000"/>
                        <a:lumOff val="80000"/>
                      </a:schemeClr>
                    </a:solid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endParaRPr lang="en-US" sz="1200" dirty="0" smtClean="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0000"/>
                        <a:lumOff val="80000"/>
                      </a:schemeClr>
                    </a:solid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1200" dirty="0" smtClean="0">
                          <a:sym typeface="Wingdings" panose="05000000000000000000" pitchFamily="2" charset="2"/>
                        </a:rPr>
                        <a:t></a:t>
                      </a:r>
                      <a:endParaRPr lang="en-US" sz="1200" dirty="0" smtClean="0"/>
                    </a:p>
                  </a:txBody>
                  <a:tcPr marL="0" marR="0" marT="0" marB="0" anchor="ctr">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0000"/>
                        <a:lumOff val="80000"/>
                      </a:schemeClr>
                    </a:solid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1200" dirty="0" smtClean="0">
                          <a:sym typeface="Wingdings" panose="05000000000000000000" pitchFamily="2" charset="2"/>
                        </a:rPr>
                        <a:t></a:t>
                      </a:r>
                      <a:endParaRPr lang="en-US" sz="1200" dirty="0" smtClean="0"/>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endParaRPr lang="en-US" sz="1200" dirty="0" smtClean="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1200" dirty="0" smtClean="0">
                          <a:sym typeface="Wingdings" panose="05000000000000000000" pitchFamily="2" charset="2"/>
                        </a:rPr>
                        <a:t></a:t>
                      </a:r>
                      <a:endParaRPr lang="en-US" sz="1200" dirty="0" smtClean="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r>
              <a:tr h="302724">
                <a:tc vMerge="1">
                  <a:txBody>
                    <a:bodyPr/>
                    <a:lstStyle/>
                    <a:p>
                      <a:endParaRPr lang="en-US"/>
                    </a:p>
                  </a:txBody>
                  <a:tcPr/>
                </a:tc>
                <a:tc>
                  <a:txBody>
                    <a:bodyPr/>
                    <a:lstStyle/>
                    <a:p>
                      <a:pPr marL="0" marR="0" indent="0" algn="l" defTabSz="1075751" rtl="0" eaLnBrk="1" fontAlgn="auto" latinLnBrk="0" hangingPunct="1">
                        <a:lnSpc>
                          <a:spcPct val="100000"/>
                        </a:lnSpc>
                        <a:spcBef>
                          <a:spcPts val="0"/>
                        </a:spcBef>
                        <a:spcAft>
                          <a:spcPts val="0"/>
                        </a:spcAft>
                        <a:buClrTx/>
                        <a:buSzTx/>
                        <a:buFontTx/>
                        <a:buNone/>
                        <a:tabLst/>
                        <a:defRPr/>
                      </a:pPr>
                      <a:r>
                        <a:rPr lang="en-US" sz="1200" dirty="0" smtClean="0"/>
                        <a:t>Office Online</a:t>
                      </a:r>
                    </a:p>
                  </a:txBody>
                  <a:tcPr marL="43918" marR="87834" marT="17567" marB="17567"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ltUpDiag">
                      <a:fgClr>
                        <a:schemeClr val="bg1">
                          <a:lumMod val="85000"/>
                        </a:schemeClr>
                      </a:fgClr>
                      <a:bgClr>
                        <a:schemeClr val="bg1"/>
                      </a:bgClr>
                    </a:patt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1200" dirty="0" smtClean="0">
                          <a:sym typeface="Wingdings" panose="05000000000000000000" pitchFamily="2" charset="2"/>
                        </a:rPr>
                        <a:t></a:t>
                      </a:r>
                      <a:endParaRPr lang="en-US" sz="1200" dirty="0" smtClean="0"/>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0000"/>
                        <a:lumOff val="80000"/>
                      </a:schemeClr>
                    </a:solid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1200" dirty="0" smtClean="0">
                          <a:sym typeface="Wingdings" panose="05000000000000000000" pitchFamily="2" charset="2"/>
                        </a:rPr>
                        <a:t></a:t>
                      </a:r>
                      <a:endParaRPr lang="en-US" sz="1200" dirty="0" smtClean="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0000"/>
                        <a:lumOff val="80000"/>
                      </a:schemeClr>
                    </a:solid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1200" dirty="0" smtClean="0">
                          <a:sym typeface="Wingdings" panose="05000000000000000000" pitchFamily="2" charset="2"/>
                        </a:rPr>
                        <a:t></a:t>
                      </a:r>
                      <a:endParaRPr lang="en-US" sz="1200" dirty="0" smtClean="0"/>
                    </a:p>
                  </a:txBody>
                  <a:tcPr marL="0" marR="0" marT="0" marB="0" anchor="ctr">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0000"/>
                        <a:lumOff val="80000"/>
                      </a:schemeClr>
                    </a:solid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1200" dirty="0" smtClean="0">
                          <a:sym typeface="Wingdings" panose="05000000000000000000" pitchFamily="2" charset="2"/>
                        </a:rPr>
                        <a:t></a:t>
                      </a:r>
                      <a:endParaRPr lang="en-US" sz="1200" dirty="0" smtClean="0"/>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1200" dirty="0" smtClean="0">
                          <a:sym typeface="Wingdings" panose="05000000000000000000" pitchFamily="2" charset="2"/>
                        </a:rPr>
                        <a:t></a:t>
                      </a:r>
                      <a:endParaRPr lang="en-US" sz="1200" dirty="0" smtClean="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1200" dirty="0" smtClean="0">
                          <a:sym typeface="Wingdings" panose="05000000000000000000" pitchFamily="2" charset="2"/>
                        </a:rPr>
                        <a:t></a:t>
                      </a:r>
                      <a:endParaRPr lang="en-US" sz="1200" dirty="0" smtClean="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r>
              <a:tr h="302724">
                <a:tc vMerge="1">
                  <a:txBody>
                    <a:bodyPr/>
                    <a:lstStyle/>
                    <a:p>
                      <a:pPr algn="l"/>
                      <a:endParaRPr lang="en-US" sz="1100" b="1" dirty="0">
                        <a:solidFill>
                          <a:schemeClr val="bg1"/>
                        </a:solidFill>
                      </a:endParaRPr>
                    </a:p>
                  </a:txBody>
                  <a:tcPr marL="87834" marR="87834" marT="17567" marB="182880" vert="vert27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1"/>
                    </a:solidFill>
                  </a:tcPr>
                </a:tc>
                <a:tc>
                  <a:txBody>
                    <a:bodyPr/>
                    <a:lstStyle/>
                    <a:p>
                      <a:pPr marL="0" marR="0" indent="0" algn="l" defTabSz="1075751" rtl="0" eaLnBrk="1" fontAlgn="auto" latinLnBrk="0" hangingPunct="1">
                        <a:lnSpc>
                          <a:spcPct val="100000"/>
                        </a:lnSpc>
                        <a:spcBef>
                          <a:spcPts val="0"/>
                        </a:spcBef>
                        <a:spcAft>
                          <a:spcPts val="0"/>
                        </a:spcAft>
                        <a:buClrTx/>
                        <a:buSzTx/>
                        <a:buFontTx/>
                        <a:buNone/>
                        <a:tabLst/>
                        <a:defRPr/>
                      </a:pPr>
                      <a:r>
                        <a:rPr lang="en-US" sz="1200" dirty="0" smtClean="0"/>
                        <a:t>Access</a:t>
                      </a:r>
                    </a:p>
                  </a:txBody>
                  <a:tcPr marL="43918" marR="87834" marT="17567" marB="17567"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pattFill prst="ltUpDiag">
                      <a:fgClr>
                        <a:schemeClr val="bg1">
                          <a:lumMod val="85000"/>
                        </a:schemeClr>
                      </a:fgClr>
                      <a:bgClr>
                        <a:schemeClr val="bg1"/>
                      </a:bgClr>
                    </a:patt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endParaRPr lang="en-US" sz="1200" dirty="0" smtClean="0"/>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1">
                        <a:lumMod val="20000"/>
                        <a:lumOff val="80000"/>
                      </a:schemeClr>
                    </a:solid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endParaRPr lang="en-US" sz="1200" dirty="0" smtClean="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1">
                        <a:lumMod val="20000"/>
                        <a:lumOff val="80000"/>
                      </a:schemeClr>
                    </a:solid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endParaRPr lang="en-US" sz="1200" dirty="0" smtClean="0"/>
                    </a:p>
                  </a:txBody>
                  <a:tcPr marL="0" marR="0" marT="0" marB="0" anchor="ctr">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1">
                        <a:lumMod val="20000"/>
                        <a:lumOff val="80000"/>
                      </a:schemeClr>
                    </a:solid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1200" dirty="0" smtClean="0">
                          <a:sym typeface="Wingdings" panose="05000000000000000000" pitchFamily="2" charset="2"/>
                        </a:rPr>
                        <a:t></a:t>
                      </a:r>
                      <a:endParaRPr lang="en-US" sz="1200" dirty="0" smtClean="0"/>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endParaRPr lang="en-US" sz="1200" dirty="0" smtClean="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1200" dirty="0" smtClean="0">
                          <a:sym typeface="Wingdings" panose="05000000000000000000" pitchFamily="2" charset="2"/>
                        </a:rPr>
                        <a:t></a:t>
                      </a:r>
                      <a:endParaRPr lang="en-US" sz="1200" dirty="0" smtClean="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20000"/>
                        <a:lumOff val="80000"/>
                      </a:schemeClr>
                    </a:solidFill>
                  </a:tcPr>
                </a:tc>
              </a:tr>
              <a:tr h="302724">
                <a:tc rowSpan="5">
                  <a:txBody>
                    <a:bodyPr/>
                    <a:lstStyle/>
                    <a:p>
                      <a:pPr algn="l"/>
                      <a:r>
                        <a:rPr lang="en-US" sz="1100" b="1" dirty="0" smtClean="0">
                          <a:solidFill>
                            <a:schemeClr val="bg1"/>
                          </a:solidFill>
                        </a:rPr>
                        <a:t>Standard </a:t>
                      </a:r>
                    </a:p>
                    <a:p>
                      <a:pPr algn="l"/>
                      <a:r>
                        <a:rPr lang="en-US" sz="1100" b="1" dirty="0" smtClean="0">
                          <a:solidFill>
                            <a:schemeClr val="bg1"/>
                          </a:solidFill>
                        </a:rPr>
                        <a:t>services</a:t>
                      </a:r>
                      <a:endParaRPr lang="en-US" sz="1100" b="1" dirty="0">
                        <a:solidFill>
                          <a:schemeClr val="bg1"/>
                        </a:solidFill>
                      </a:endParaRPr>
                    </a:p>
                  </a:txBody>
                  <a:tcPr marL="86085" marR="86085" marT="17217" marB="179238" vert="vert27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lumMod val="75000"/>
                      </a:schemeClr>
                    </a:solidFill>
                  </a:tcPr>
                </a:tc>
                <a:tc>
                  <a:txBody>
                    <a:bodyPr/>
                    <a:lstStyle/>
                    <a:p>
                      <a:pPr marL="0" marR="0" indent="0" algn="l" defTabSz="1075751"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latin typeface="+mn-lt"/>
                          <a:ea typeface="+mn-ea"/>
                          <a:cs typeface="+mn-cs"/>
                        </a:rPr>
                        <a:t>1TB</a:t>
                      </a:r>
                      <a:r>
                        <a:rPr lang="en-US" sz="1200" kern="1200" baseline="0" dirty="0" smtClean="0">
                          <a:solidFill>
                            <a:schemeClr val="tx1"/>
                          </a:solidFill>
                          <a:latin typeface="+mn-lt"/>
                          <a:ea typeface="+mn-ea"/>
                          <a:cs typeface="+mn-cs"/>
                        </a:rPr>
                        <a:t> c</a:t>
                      </a:r>
                      <a:r>
                        <a:rPr lang="en-US" sz="1200" kern="1200" dirty="0" smtClean="0">
                          <a:solidFill>
                            <a:schemeClr val="tx1"/>
                          </a:solidFill>
                          <a:latin typeface="+mn-lt"/>
                          <a:ea typeface="+mn-ea"/>
                          <a:cs typeface="+mn-cs"/>
                        </a:rPr>
                        <a:t>loud storage (OneDrive for</a:t>
                      </a:r>
                      <a:r>
                        <a:rPr lang="en-US" sz="1200" kern="1200" baseline="0" dirty="0" smtClean="0">
                          <a:solidFill>
                            <a:schemeClr val="tx1"/>
                          </a:solidFill>
                          <a:latin typeface="+mn-lt"/>
                          <a:ea typeface="+mn-ea"/>
                          <a:cs typeface="+mn-cs"/>
                        </a:rPr>
                        <a:t> Business)</a:t>
                      </a:r>
                      <a:endParaRPr lang="en-US" sz="1200" kern="1200" dirty="0" smtClean="0">
                        <a:solidFill>
                          <a:schemeClr val="tx1"/>
                        </a:solidFill>
                        <a:latin typeface="+mn-lt"/>
                        <a:ea typeface="+mn-ea"/>
                        <a:cs typeface="+mn-cs"/>
                      </a:endParaRPr>
                    </a:p>
                  </a:txBody>
                  <a:tcPr marL="43918" marR="87834" marT="17567" marB="17567"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ltUpDiag">
                      <a:fgClr>
                        <a:schemeClr val="bg1">
                          <a:lumMod val="85000"/>
                        </a:schemeClr>
                      </a:fgClr>
                      <a:bgClr>
                        <a:schemeClr val="bg1"/>
                      </a:bgClr>
                    </a:patt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1200" dirty="0" smtClean="0">
                          <a:sym typeface="Wingdings" panose="05000000000000000000" pitchFamily="2" charset="2"/>
                        </a:rPr>
                        <a:t></a:t>
                      </a:r>
                      <a:endParaRPr lang="en-US" sz="1200" dirty="0" smtClean="0"/>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0000"/>
                        <a:lumOff val="80000"/>
                      </a:schemeClr>
                    </a:solid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1200" dirty="0" smtClean="0">
                          <a:sym typeface="Wingdings" panose="05000000000000000000" pitchFamily="2" charset="2"/>
                        </a:rPr>
                        <a:t></a:t>
                      </a:r>
                      <a:endParaRPr lang="en-US" sz="1200" dirty="0" smtClean="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0000"/>
                        <a:lumOff val="80000"/>
                      </a:schemeClr>
                    </a:solid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1200" dirty="0" smtClean="0">
                          <a:sym typeface="Wingdings" panose="05000000000000000000" pitchFamily="2" charset="2"/>
                        </a:rPr>
                        <a:t></a:t>
                      </a:r>
                      <a:endParaRPr lang="en-US" sz="1200" dirty="0" smtClean="0"/>
                    </a:p>
                  </a:txBody>
                  <a:tcPr marL="0" marR="0" marT="0" marB="0" anchor="ctr">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0000"/>
                        <a:lumOff val="80000"/>
                      </a:schemeClr>
                    </a:solid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1200" smtClean="0">
                          <a:sym typeface="Wingdings" panose="05000000000000000000" pitchFamily="2" charset="2"/>
                        </a:rPr>
                        <a:t></a:t>
                      </a:r>
                      <a:endParaRPr lang="en-US" sz="1200" dirty="0" smtClean="0"/>
                    </a:p>
                  </a:txBody>
                  <a:tcPr marL="0" marR="0" marT="0" marB="0" anchor="ctr">
                    <a:lnL w="381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1200" smtClean="0">
                          <a:sym typeface="Wingdings" panose="05000000000000000000" pitchFamily="2" charset="2"/>
                        </a:rPr>
                        <a:t></a:t>
                      </a:r>
                      <a:endParaRPr lang="en-US" sz="1200" dirty="0" smtClean="0"/>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1200" dirty="0" smtClean="0">
                          <a:sym typeface="Wingdings" panose="05000000000000000000" pitchFamily="2" charset="2"/>
                        </a:rPr>
                        <a:t></a:t>
                      </a:r>
                      <a:endParaRPr lang="en-US" sz="1200" dirty="0" smtClean="0"/>
                    </a:p>
                  </a:txBody>
                  <a:tcPr marL="0" marR="0" marT="0" marB="0"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r>
              <a:tr h="302724">
                <a:tc vMerge="1">
                  <a:txBody>
                    <a:bodyPr/>
                    <a:lstStyle/>
                    <a:p>
                      <a:endParaRPr lang="en-US"/>
                    </a:p>
                  </a:txBody>
                  <a:tcPr/>
                </a:tc>
                <a:tc>
                  <a:txBody>
                    <a:bodyPr/>
                    <a:lstStyle/>
                    <a:p>
                      <a:pPr marL="0" marR="0" indent="0" algn="l" defTabSz="1075751"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latin typeface="+mn-lt"/>
                          <a:ea typeface="+mn-ea"/>
                          <a:cs typeface="+mn-cs"/>
                        </a:rPr>
                        <a:t>Email, calendar (Exchange)</a:t>
                      </a:r>
                    </a:p>
                  </a:txBody>
                  <a:tcPr marL="43918" marR="87834" marT="17567" marB="17567"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ltUpDiag">
                      <a:fgClr>
                        <a:schemeClr val="bg1">
                          <a:lumMod val="85000"/>
                        </a:schemeClr>
                      </a:fgClr>
                      <a:bgClr>
                        <a:schemeClr val="bg1"/>
                      </a:bgClr>
                    </a:pattFill>
                  </a:tcPr>
                </a:tc>
                <a:tc>
                  <a:txBody>
                    <a:bodyPr/>
                    <a:lstStyle/>
                    <a:p>
                      <a:pPr marL="0" marR="0" indent="0" algn="ctr" defTabSz="1075751" rtl="0" eaLnBrk="1" fontAlgn="auto" latinLnBrk="0" hangingPunct="1">
                        <a:lnSpc>
                          <a:spcPct val="100000"/>
                        </a:lnSpc>
                        <a:spcBef>
                          <a:spcPts val="0"/>
                        </a:spcBef>
                        <a:spcAft>
                          <a:spcPts val="0"/>
                        </a:spcAft>
                        <a:buClrTx/>
                        <a:buSzTx/>
                        <a:buFontTx/>
                        <a:buNone/>
                        <a:tabLst/>
                        <a:defRPr/>
                      </a:pPr>
                      <a:endParaRPr lang="en-US" sz="1200" dirty="0" smtClean="0"/>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0000"/>
                        <a:lumOff val="80000"/>
                      </a:schemeClr>
                    </a:solid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1200" dirty="0" smtClean="0">
                          <a:sym typeface="Wingdings" panose="05000000000000000000" pitchFamily="2" charset="2"/>
                        </a:rPr>
                        <a:t></a:t>
                      </a:r>
                      <a:endParaRPr lang="en-US" sz="1200" dirty="0" smtClean="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0000"/>
                        <a:lumOff val="80000"/>
                      </a:schemeClr>
                    </a:solid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1200" dirty="0" smtClean="0">
                          <a:sym typeface="Wingdings" panose="05000000000000000000" pitchFamily="2" charset="2"/>
                        </a:rPr>
                        <a:t></a:t>
                      </a:r>
                      <a:endParaRPr lang="en-US" sz="1200" dirty="0" smtClean="0"/>
                    </a:p>
                  </a:txBody>
                  <a:tcPr marL="0" marR="0" marT="0" marB="0" anchor="ctr">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0000"/>
                        <a:lumOff val="80000"/>
                      </a:schemeClr>
                    </a:solidFill>
                  </a:tcPr>
                </a:tc>
                <a:tc>
                  <a:txBody>
                    <a:bodyPr/>
                    <a:lstStyle/>
                    <a:p>
                      <a:pPr marL="0" marR="0" indent="0" algn="ctr" defTabSz="1075751" rtl="0" eaLnBrk="1" fontAlgn="auto" latinLnBrk="0" hangingPunct="1">
                        <a:lnSpc>
                          <a:spcPct val="100000"/>
                        </a:lnSpc>
                        <a:spcBef>
                          <a:spcPts val="0"/>
                        </a:spcBef>
                        <a:spcAft>
                          <a:spcPts val="0"/>
                        </a:spcAft>
                        <a:buClrTx/>
                        <a:buSzTx/>
                        <a:buFontTx/>
                        <a:buNone/>
                        <a:tabLst/>
                        <a:defRPr/>
                      </a:pPr>
                      <a:endParaRPr lang="en-US" sz="1200" dirty="0" smtClean="0"/>
                    </a:p>
                  </a:txBody>
                  <a:tcPr marL="0" marR="0" marT="0" marB="0" anchor="ctr">
                    <a:lnL w="381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algn="ctr"/>
                      <a:r>
                        <a:rPr lang="en-US" sz="1200" dirty="0" smtClean="0">
                          <a:sym typeface="Wingdings" panose="05000000000000000000" pitchFamily="2" charset="2"/>
                        </a:rPr>
                        <a:t></a:t>
                      </a:r>
                      <a:endParaRPr lang="en-US" sz="1200" dirty="0"/>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algn="ctr"/>
                      <a:r>
                        <a:rPr lang="en-US" sz="1200" dirty="0" smtClean="0">
                          <a:sym typeface="Wingdings" panose="05000000000000000000" pitchFamily="2" charset="2"/>
                        </a:rPr>
                        <a:t></a:t>
                      </a:r>
                      <a:endParaRPr lang="en-US" sz="1200" dirty="0"/>
                    </a:p>
                  </a:txBody>
                  <a:tcPr marL="0" marR="0" marT="0" marB="0"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r>
              <a:tr h="302724">
                <a:tc vMerge="1">
                  <a:txBody>
                    <a:bodyPr/>
                    <a:lstStyle/>
                    <a:p>
                      <a:pPr algn="ctr"/>
                      <a:endParaRPr lang="en-US" sz="1400" b="1" dirty="0">
                        <a:solidFill>
                          <a:schemeClr val="bg1"/>
                        </a:solidFill>
                      </a:endParaRPr>
                    </a:p>
                  </a:txBody>
                  <a:tcPr marT="18288" marB="18288" vert="vert270" anchor="ctr">
                    <a:lnL w="190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solidFill>
                      <a:schemeClr val="bg2"/>
                    </a:solidFill>
                  </a:tcPr>
                </a:tc>
                <a:tc>
                  <a:txBody>
                    <a:bodyPr/>
                    <a:lstStyle/>
                    <a:p>
                      <a:pPr marL="0" marR="0" indent="0" algn="l" defTabSz="1075751"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latin typeface="+mn-lt"/>
                          <a:ea typeface="+mn-ea"/>
                          <a:cs typeface="+mn-cs"/>
                        </a:rPr>
                        <a:t>Online meetings, IM (Lync)</a:t>
                      </a:r>
                    </a:p>
                  </a:txBody>
                  <a:tcPr marL="43918" marR="87834" marT="17567" marB="17567"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ltUpDiag">
                      <a:fgClr>
                        <a:schemeClr val="bg1">
                          <a:lumMod val="85000"/>
                        </a:schemeClr>
                      </a:fgClr>
                      <a:bgClr>
                        <a:schemeClr val="bg1"/>
                      </a:bgClr>
                    </a:pattFill>
                  </a:tcPr>
                </a:tc>
                <a:tc>
                  <a:txBody>
                    <a:bodyPr/>
                    <a:lstStyle/>
                    <a:p>
                      <a:pPr marL="0" marR="0" indent="0" algn="ctr" defTabSz="1075751" rtl="0" eaLnBrk="1" fontAlgn="auto" latinLnBrk="0" hangingPunct="1">
                        <a:lnSpc>
                          <a:spcPct val="100000"/>
                        </a:lnSpc>
                        <a:spcBef>
                          <a:spcPts val="0"/>
                        </a:spcBef>
                        <a:spcAft>
                          <a:spcPts val="0"/>
                        </a:spcAft>
                        <a:buClrTx/>
                        <a:buSzTx/>
                        <a:buFontTx/>
                        <a:buNone/>
                        <a:tabLst/>
                        <a:defRPr/>
                      </a:pPr>
                      <a:endParaRPr lang="en-US" sz="1200" dirty="0" smtClean="0"/>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0000"/>
                        <a:lumOff val="80000"/>
                      </a:schemeClr>
                    </a:solid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1200" dirty="0" smtClean="0">
                          <a:sym typeface="Wingdings" panose="05000000000000000000" pitchFamily="2" charset="2"/>
                        </a:rPr>
                        <a:t></a:t>
                      </a:r>
                      <a:endParaRPr lang="en-US" sz="1200" dirty="0" smtClean="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0000"/>
                        <a:lumOff val="80000"/>
                      </a:schemeClr>
                    </a:solid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1200" dirty="0" smtClean="0">
                          <a:sym typeface="Wingdings" panose="05000000000000000000" pitchFamily="2" charset="2"/>
                        </a:rPr>
                        <a:t></a:t>
                      </a:r>
                      <a:endParaRPr lang="en-US" sz="1200" dirty="0" smtClean="0"/>
                    </a:p>
                  </a:txBody>
                  <a:tcPr marL="0" marR="0" marT="0" marB="0" anchor="ctr">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0000"/>
                        <a:lumOff val="80000"/>
                      </a:schemeClr>
                    </a:solidFill>
                  </a:tcPr>
                </a:tc>
                <a:tc>
                  <a:txBody>
                    <a:bodyPr/>
                    <a:lstStyle/>
                    <a:p>
                      <a:pPr marL="0" marR="0" indent="0" algn="ctr" defTabSz="1075751" rtl="0" eaLnBrk="1" fontAlgn="auto" latinLnBrk="0" hangingPunct="1">
                        <a:lnSpc>
                          <a:spcPct val="100000"/>
                        </a:lnSpc>
                        <a:spcBef>
                          <a:spcPts val="0"/>
                        </a:spcBef>
                        <a:spcAft>
                          <a:spcPts val="0"/>
                        </a:spcAft>
                        <a:buClrTx/>
                        <a:buSzTx/>
                        <a:buFontTx/>
                        <a:buNone/>
                        <a:tabLst/>
                        <a:defRPr/>
                      </a:pPr>
                      <a:endParaRPr lang="en-US" sz="1200" dirty="0" smtClean="0"/>
                    </a:p>
                  </a:txBody>
                  <a:tcPr marL="0" marR="0" marT="0" marB="0" anchor="ctr">
                    <a:lnL w="381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algn="ctr"/>
                      <a:r>
                        <a:rPr lang="en-US" sz="1200" dirty="0" smtClean="0">
                          <a:sym typeface="Wingdings" panose="05000000000000000000" pitchFamily="2" charset="2"/>
                        </a:rPr>
                        <a:t></a:t>
                      </a:r>
                      <a:endParaRPr lang="en-US" sz="1200" dirty="0"/>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algn="ctr"/>
                      <a:r>
                        <a:rPr lang="en-US" sz="1200" dirty="0" smtClean="0">
                          <a:sym typeface="Wingdings" panose="05000000000000000000" pitchFamily="2" charset="2"/>
                        </a:rPr>
                        <a:t></a:t>
                      </a:r>
                      <a:endParaRPr lang="en-US" sz="1200" dirty="0"/>
                    </a:p>
                  </a:txBody>
                  <a:tcPr marL="0" marR="0" marT="0" marB="0"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r>
              <a:tr h="302724">
                <a:tc vMerge="1">
                  <a:txBody>
                    <a:bodyPr/>
                    <a:lstStyle/>
                    <a:p>
                      <a:pPr algn="ctr"/>
                      <a:endParaRPr lang="en-US" sz="1400" b="1" dirty="0">
                        <a:solidFill>
                          <a:schemeClr val="bg1"/>
                        </a:solidFill>
                      </a:endParaRPr>
                    </a:p>
                  </a:txBody>
                  <a:tcPr marT="18288" marB="18288" vert="vert270" anchor="ctr">
                    <a:lnL w="190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solidFill>
                      <a:schemeClr val="bg2"/>
                    </a:solidFill>
                  </a:tcPr>
                </a:tc>
                <a:tc>
                  <a:txBody>
                    <a:bodyPr/>
                    <a:lstStyle/>
                    <a:p>
                      <a:pPr marL="0" marR="0" indent="0" algn="l" defTabSz="1075751"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latin typeface="+mn-lt"/>
                          <a:ea typeface="+mn-ea"/>
                          <a:cs typeface="+mn-cs"/>
                        </a:rPr>
                        <a:t>Team sites, internal portals (SharePoint)</a:t>
                      </a:r>
                    </a:p>
                  </a:txBody>
                  <a:tcPr marL="43918" marR="87834" marT="17567" marB="17567"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ltUpDiag">
                      <a:fgClr>
                        <a:schemeClr val="bg1">
                          <a:lumMod val="85000"/>
                        </a:schemeClr>
                      </a:fgClr>
                      <a:bgClr>
                        <a:schemeClr val="bg1"/>
                      </a:bgClr>
                    </a:pattFill>
                  </a:tcPr>
                </a:tc>
                <a:tc>
                  <a:txBody>
                    <a:bodyPr/>
                    <a:lstStyle/>
                    <a:p>
                      <a:pPr marL="0" marR="0" indent="0" algn="ctr" defTabSz="1075751" rtl="0" eaLnBrk="1" fontAlgn="auto" latinLnBrk="0" hangingPunct="1">
                        <a:lnSpc>
                          <a:spcPct val="100000"/>
                        </a:lnSpc>
                        <a:spcBef>
                          <a:spcPts val="0"/>
                        </a:spcBef>
                        <a:spcAft>
                          <a:spcPts val="0"/>
                        </a:spcAft>
                        <a:buClrTx/>
                        <a:buSzTx/>
                        <a:buFontTx/>
                        <a:buNone/>
                        <a:tabLst/>
                        <a:defRPr/>
                      </a:pPr>
                      <a:endParaRPr lang="en-US" sz="1200" dirty="0" smtClean="0"/>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0000"/>
                        <a:lumOff val="80000"/>
                      </a:schemeClr>
                    </a:solid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1200" dirty="0" smtClean="0">
                          <a:sym typeface="Wingdings" panose="05000000000000000000" pitchFamily="2" charset="2"/>
                        </a:rPr>
                        <a:t></a:t>
                      </a:r>
                      <a:endParaRPr lang="en-US" sz="1200" dirty="0" smtClean="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0000"/>
                        <a:lumOff val="80000"/>
                      </a:schemeClr>
                    </a:solid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1200" dirty="0" smtClean="0">
                          <a:sym typeface="Wingdings" panose="05000000000000000000" pitchFamily="2" charset="2"/>
                        </a:rPr>
                        <a:t></a:t>
                      </a:r>
                      <a:endParaRPr lang="en-US" sz="1200" dirty="0" smtClean="0"/>
                    </a:p>
                  </a:txBody>
                  <a:tcPr marL="0" marR="0" marT="0" marB="0" anchor="ctr">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0000"/>
                        <a:lumOff val="80000"/>
                      </a:schemeClr>
                    </a:solidFill>
                  </a:tcPr>
                </a:tc>
                <a:tc>
                  <a:txBody>
                    <a:bodyPr/>
                    <a:lstStyle/>
                    <a:p>
                      <a:pPr marL="0" marR="0" indent="0" algn="ctr" defTabSz="1075751" rtl="0" eaLnBrk="1" fontAlgn="auto" latinLnBrk="0" hangingPunct="1">
                        <a:lnSpc>
                          <a:spcPct val="100000"/>
                        </a:lnSpc>
                        <a:spcBef>
                          <a:spcPts val="0"/>
                        </a:spcBef>
                        <a:spcAft>
                          <a:spcPts val="0"/>
                        </a:spcAft>
                        <a:buClrTx/>
                        <a:buSzTx/>
                        <a:buFontTx/>
                        <a:buNone/>
                        <a:tabLst/>
                        <a:defRPr/>
                      </a:pPr>
                      <a:endParaRPr lang="en-US" sz="1200" dirty="0" smtClean="0"/>
                    </a:p>
                  </a:txBody>
                  <a:tcPr marL="0" marR="0" marT="0" marB="0" anchor="ctr">
                    <a:lnL w="381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algn="ctr"/>
                      <a:r>
                        <a:rPr lang="en-US" sz="1200" dirty="0" smtClean="0">
                          <a:sym typeface="Wingdings" panose="05000000000000000000" pitchFamily="2" charset="2"/>
                        </a:rPr>
                        <a:t></a:t>
                      </a:r>
                      <a:endParaRPr lang="en-US" sz="1200" dirty="0"/>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algn="ctr"/>
                      <a:r>
                        <a:rPr lang="en-US" sz="1200" dirty="0" smtClean="0">
                          <a:sym typeface="Wingdings" panose="05000000000000000000" pitchFamily="2" charset="2"/>
                        </a:rPr>
                        <a:t></a:t>
                      </a:r>
                      <a:endParaRPr lang="en-US" sz="1200" dirty="0"/>
                    </a:p>
                  </a:txBody>
                  <a:tcPr marL="0" marR="0" marT="0" marB="0"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r>
              <a:tr h="302724">
                <a:tc vMerge="1">
                  <a:txBody>
                    <a:bodyPr/>
                    <a:lstStyle/>
                    <a:p>
                      <a:endParaRPr lang="en-US"/>
                    </a:p>
                  </a:txBody>
                  <a:tcPr/>
                </a:tc>
                <a:tc>
                  <a:txBody>
                    <a:bodyPr/>
                    <a:lstStyle/>
                    <a:p>
                      <a:pPr marL="0" marR="0" indent="0" algn="l" defTabSz="1075751"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latin typeface="+mn-lt"/>
                          <a:ea typeface="+mn-ea"/>
                          <a:cs typeface="+mn-cs"/>
                        </a:rPr>
                        <a:t>Enterprise social (Yammer)</a:t>
                      </a:r>
                    </a:p>
                  </a:txBody>
                  <a:tcPr marL="43918" marR="87834" marT="17567" marB="17567"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pattFill prst="ltUpDiag">
                      <a:fgClr>
                        <a:schemeClr val="bg1">
                          <a:lumMod val="85000"/>
                        </a:schemeClr>
                      </a:fgClr>
                      <a:bgClr>
                        <a:schemeClr val="bg1"/>
                      </a:bgClr>
                    </a:pattFill>
                  </a:tcPr>
                </a:tc>
                <a:tc>
                  <a:txBody>
                    <a:bodyPr/>
                    <a:lstStyle/>
                    <a:p>
                      <a:pPr marL="0" marR="0" indent="0" algn="ctr" defTabSz="1075751" rtl="0" eaLnBrk="1" fontAlgn="auto" latinLnBrk="0" hangingPunct="1">
                        <a:lnSpc>
                          <a:spcPct val="100000"/>
                        </a:lnSpc>
                        <a:spcBef>
                          <a:spcPts val="0"/>
                        </a:spcBef>
                        <a:spcAft>
                          <a:spcPts val="0"/>
                        </a:spcAft>
                        <a:buClrTx/>
                        <a:buSzTx/>
                        <a:buFontTx/>
                        <a:buNone/>
                        <a:tabLst/>
                        <a:defRPr/>
                      </a:pPr>
                      <a:endParaRPr lang="en-US" sz="1200" dirty="0" smtClean="0"/>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1">
                        <a:lumMod val="20000"/>
                        <a:lumOff val="80000"/>
                      </a:schemeClr>
                    </a:solidFill>
                  </a:tcPr>
                </a:tc>
                <a:tc>
                  <a:txBody>
                    <a:bodyPr/>
                    <a:lstStyle/>
                    <a:p>
                      <a:pPr marL="0" marR="0" indent="0" algn="ctr" defTabSz="1075751" rtl="0" eaLnBrk="1" fontAlgn="auto" latinLnBrk="0" hangingPunct="1">
                        <a:lnSpc>
                          <a:spcPct val="100000"/>
                        </a:lnSpc>
                        <a:spcBef>
                          <a:spcPts val="0"/>
                        </a:spcBef>
                        <a:spcAft>
                          <a:spcPts val="0"/>
                        </a:spcAft>
                        <a:buClrTx/>
                        <a:buSzTx/>
                        <a:buFontTx/>
                        <a:buNone/>
                        <a:tabLst/>
                        <a:defRPr/>
                      </a:pPr>
                      <a:r>
                        <a:rPr lang="en-US" sz="1200" dirty="0" smtClean="0">
                          <a:sym typeface="Wingdings" panose="05000000000000000000" pitchFamily="2" charset="2"/>
                        </a:rPr>
                        <a:t></a:t>
                      </a:r>
                      <a:endParaRPr lang="en-US" sz="1200" dirty="0" smtClean="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1">
                        <a:lumMod val="20000"/>
                        <a:lumOff val="80000"/>
                      </a:schemeClr>
                    </a:solid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1200" dirty="0" smtClean="0">
                          <a:sym typeface="Wingdings" panose="05000000000000000000" pitchFamily="2" charset="2"/>
                        </a:rPr>
                        <a:t></a:t>
                      </a:r>
                      <a:endParaRPr lang="en-US" sz="1200" dirty="0" smtClean="0"/>
                    </a:p>
                  </a:txBody>
                  <a:tcPr marL="0" marR="0" marT="0" marB="0" anchor="ctr">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1">
                        <a:lumMod val="20000"/>
                        <a:lumOff val="80000"/>
                      </a:schemeClr>
                    </a:solidFill>
                  </a:tcPr>
                </a:tc>
                <a:tc>
                  <a:txBody>
                    <a:bodyPr/>
                    <a:lstStyle/>
                    <a:p>
                      <a:pPr marL="0" marR="0" indent="0" algn="ctr" defTabSz="1075751" rtl="0" eaLnBrk="1" fontAlgn="auto" latinLnBrk="0" hangingPunct="1">
                        <a:lnSpc>
                          <a:spcPct val="100000"/>
                        </a:lnSpc>
                        <a:spcBef>
                          <a:spcPts val="0"/>
                        </a:spcBef>
                        <a:spcAft>
                          <a:spcPts val="0"/>
                        </a:spcAft>
                        <a:buClrTx/>
                        <a:buSzTx/>
                        <a:buFontTx/>
                        <a:buNone/>
                        <a:tabLst/>
                        <a:defRPr/>
                      </a:pPr>
                      <a:endParaRPr lang="en-US" sz="1200" dirty="0" smtClean="0"/>
                    </a:p>
                  </a:txBody>
                  <a:tcPr marL="0" marR="0" marT="0" marB="0" anchor="ctr">
                    <a:lnL w="381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algn="ctr"/>
                      <a:r>
                        <a:rPr lang="en-US" sz="1200" dirty="0" smtClean="0">
                          <a:sym typeface="Wingdings" panose="05000000000000000000" pitchFamily="2" charset="2"/>
                        </a:rPr>
                        <a:t></a:t>
                      </a:r>
                      <a:endParaRPr lang="en-US" sz="1200" dirty="0"/>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algn="ctr"/>
                      <a:r>
                        <a:rPr lang="en-US" sz="1200" dirty="0" smtClean="0">
                          <a:sym typeface="Wingdings" panose="05000000000000000000" pitchFamily="2" charset="2"/>
                        </a:rPr>
                        <a:t></a:t>
                      </a:r>
                      <a:endParaRPr lang="en-US" sz="1200" dirty="0"/>
                    </a:p>
                  </a:txBody>
                  <a:tcPr marL="0" marR="0" marT="0" marB="0"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20000"/>
                        <a:lumOff val="80000"/>
                      </a:schemeClr>
                    </a:solidFill>
                  </a:tcPr>
                </a:tc>
              </a:tr>
              <a:tr h="302724">
                <a:tc rowSpan="6">
                  <a:txBody>
                    <a:bodyPr/>
                    <a:lstStyle/>
                    <a:p>
                      <a:pPr algn="l"/>
                      <a:r>
                        <a:rPr lang="en-US" sz="1100" b="1" dirty="0" smtClean="0">
                          <a:solidFill>
                            <a:schemeClr val="bg1"/>
                          </a:solidFill>
                        </a:rPr>
                        <a:t>Advanced</a:t>
                      </a:r>
                    </a:p>
                    <a:p>
                      <a:pPr algn="l"/>
                      <a:r>
                        <a:rPr lang="en-US" sz="1100" b="1" dirty="0" smtClean="0">
                          <a:solidFill>
                            <a:schemeClr val="bg1"/>
                          </a:solidFill>
                        </a:rPr>
                        <a:t>services</a:t>
                      </a:r>
                      <a:endParaRPr lang="en-US" sz="1100" b="1" dirty="0">
                        <a:solidFill>
                          <a:schemeClr val="bg1"/>
                        </a:solidFill>
                      </a:endParaRPr>
                    </a:p>
                  </a:txBody>
                  <a:tcPr marL="86085" marR="86085" marT="17217" marB="179238" vert="vert27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lumMod val="75000"/>
                      </a:schemeClr>
                    </a:solidFill>
                  </a:tcPr>
                </a:tc>
                <a:tc>
                  <a:txBody>
                    <a:bodyPr/>
                    <a:lstStyle/>
                    <a:p>
                      <a:pPr marL="0" marR="0" indent="0" algn="l" defTabSz="1075751"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latin typeface="+mn-lt"/>
                          <a:ea typeface="+mn-ea"/>
                          <a:cs typeface="+mn-cs"/>
                        </a:rPr>
                        <a:t>Active Directory integration</a:t>
                      </a:r>
                    </a:p>
                  </a:txBody>
                  <a:tcPr marL="43043" marR="86085" marT="17217" marB="17217"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ltUpDiag">
                      <a:fgClr>
                        <a:schemeClr val="bg1">
                          <a:lumMod val="85000"/>
                        </a:schemeClr>
                      </a:fgClr>
                      <a:bgClr>
                        <a:schemeClr val="bg1"/>
                      </a:bgClr>
                    </a:patt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1200" dirty="0" smtClean="0">
                          <a:sym typeface="Wingdings" panose="05000000000000000000" pitchFamily="2" charset="2"/>
                        </a:rPr>
                        <a:t></a:t>
                      </a:r>
                      <a:endParaRPr lang="en-US" sz="1200" dirty="0" smtClean="0"/>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0000"/>
                        <a:lumOff val="80000"/>
                      </a:schemeClr>
                    </a:solid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1200" dirty="0" smtClean="0">
                          <a:sym typeface="Wingdings" panose="05000000000000000000" pitchFamily="2" charset="2"/>
                        </a:rPr>
                        <a:t></a:t>
                      </a:r>
                      <a:endParaRPr lang="en-US" sz="1200" dirty="0" smtClean="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0000"/>
                        <a:lumOff val="80000"/>
                      </a:schemeClr>
                    </a:solid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1200" dirty="0" smtClean="0">
                          <a:sym typeface="Wingdings" panose="05000000000000000000" pitchFamily="2" charset="2"/>
                        </a:rPr>
                        <a:t></a:t>
                      </a:r>
                      <a:endParaRPr lang="en-US" sz="1200" dirty="0" smtClean="0"/>
                    </a:p>
                  </a:txBody>
                  <a:tcPr marL="0" marR="0" marT="0" marB="0" anchor="ctr">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0000"/>
                        <a:lumOff val="80000"/>
                      </a:schemeClr>
                    </a:solidFill>
                  </a:tcPr>
                </a:tc>
                <a:tc>
                  <a:txBody>
                    <a:bodyPr/>
                    <a:lstStyle/>
                    <a:p>
                      <a:pPr algn="ctr"/>
                      <a:r>
                        <a:rPr lang="en-US" sz="1200" dirty="0" smtClean="0">
                          <a:sym typeface="Wingdings" panose="05000000000000000000" pitchFamily="2" charset="2"/>
                        </a:rPr>
                        <a:t></a:t>
                      </a:r>
                      <a:endParaRPr lang="en-US" sz="1200" dirty="0"/>
                    </a:p>
                  </a:txBody>
                  <a:tcPr marL="0" marR="0" marT="0" marB="0" anchor="ctr">
                    <a:lnL w="381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algn="ctr"/>
                      <a:r>
                        <a:rPr lang="en-US" sz="1200" dirty="0" smtClean="0">
                          <a:sym typeface="Wingdings" panose="05000000000000000000" pitchFamily="2" charset="2"/>
                        </a:rPr>
                        <a:t></a:t>
                      </a:r>
                      <a:endParaRPr lang="en-US" sz="1200" dirty="0"/>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algn="ctr"/>
                      <a:r>
                        <a:rPr lang="en-US" sz="1200" dirty="0" smtClean="0">
                          <a:sym typeface="Wingdings" panose="05000000000000000000" pitchFamily="2" charset="2"/>
                        </a:rPr>
                        <a:t></a:t>
                      </a:r>
                      <a:endParaRPr lang="en-US" sz="1200" dirty="0"/>
                    </a:p>
                  </a:txBody>
                  <a:tcPr marL="0" marR="0" marT="0" marB="0"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r>
              <a:tr h="302724">
                <a:tc vMerge="1">
                  <a:txBody>
                    <a:bodyPr/>
                    <a:lstStyle/>
                    <a:p>
                      <a:pPr algn="ctr"/>
                      <a:endParaRPr lang="en-US" sz="1400" b="1" dirty="0">
                        <a:solidFill>
                          <a:schemeClr val="bg1"/>
                        </a:solidFill>
                      </a:endParaRPr>
                    </a:p>
                  </a:txBody>
                  <a:tcPr marT="18288" marB="18288" vert="vert270" anchor="ctr">
                    <a:lnL w="190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solidFill>
                      <a:schemeClr val="bg2"/>
                    </a:solidFill>
                  </a:tcPr>
                </a:tc>
                <a:tc>
                  <a:txBody>
                    <a:bodyPr/>
                    <a:lstStyle/>
                    <a:p>
                      <a:pPr marL="0" marR="0" indent="0" algn="l" defTabSz="1075751"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latin typeface="+mn-lt"/>
                          <a:ea typeface="+mn-ea"/>
                          <a:cs typeface="+mn-cs"/>
                        </a:rPr>
                        <a:t>Supports</a:t>
                      </a:r>
                      <a:r>
                        <a:rPr lang="en-US" sz="1200" kern="1200" baseline="0" dirty="0" smtClean="0">
                          <a:solidFill>
                            <a:schemeClr val="tx1"/>
                          </a:solidFill>
                          <a:latin typeface="+mn-lt"/>
                          <a:ea typeface="+mn-ea"/>
                          <a:cs typeface="+mn-cs"/>
                        </a:rPr>
                        <a:t> h</a:t>
                      </a:r>
                      <a:r>
                        <a:rPr lang="en-US" sz="1200" kern="1200" dirty="0" smtClean="0">
                          <a:solidFill>
                            <a:schemeClr val="tx1"/>
                          </a:solidFill>
                          <a:latin typeface="+mn-lt"/>
                          <a:ea typeface="+mn-ea"/>
                          <a:cs typeface="+mn-cs"/>
                        </a:rPr>
                        <a:t>ybrid deployment</a:t>
                      </a:r>
                    </a:p>
                  </a:txBody>
                  <a:tcPr marL="43043" marR="86085" marT="17217" marB="17217"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ltUpDiag">
                      <a:fgClr>
                        <a:schemeClr val="bg1">
                          <a:lumMod val="85000"/>
                        </a:schemeClr>
                      </a:fgClr>
                      <a:bgClr>
                        <a:schemeClr val="bg1"/>
                      </a:bgClr>
                    </a:pattFill>
                  </a:tcPr>
                </a:tc>
                <a:tc>
                  <a:txBody>
                    <a:bodyPr/>
                    <a:lstStyle/>
                    <a:p>
                      <a:pPr algn="ctr"/>
                      <a:endParaRPr lang="en-US" sz="1200" dirty="0"/>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0000"/>
                        <a:lumOff val="80000"/>
                      </a:schemeClr>
                    </a:solidFill>
                  </a:tcPr>
                </a:tc>
                <a:tc>
                  <a:txBody>
                    <a:bodyPr/>
                    <a:lstStyle/>
                    <a:p>
                      <a:pPr algn="ctr"/>
                      <a:endParaRPr lang="en-US" sz="1200" dirty="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0000"/>
                        <a:lumOff val="80000"/>
                      </a:schemeClr>
                    </a:solidFill>
                  </a:tcPr>
                </a:tc>
                <a:tc>
                  <a:txBody>
                    <a:bodyPr/>
                    <a:lstStyle/>
                    <a:p>
                      <a:pPr algn="ctr"/>
                      <a:endParaRPr lang="en-US" sz="1200" dirty="0"/>
                    </a:p>
                  </a:txBody>
                  <a:tcPr marL="0" marR="0" marT="0" marB="0" anchor="ctr">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0000"/>
                        <a:lumOff val="80000"/>
                      </a:schemeClr>
                    </a:solidFill>
                  </a:tcPr>
                </a:tc>
                <a:tc>
                  <a:txBody>
                    <a:bodyPr/>
                    <a:lstStyle/>
                    <a:p>
                      <a:pPr algn="ctr"/>
                      <a:r>
                        <a:rPr lang="en-US" sz="1200" dirty="0" smtClean="0">
                          <a:sym typeface="Wingdings" panose="05000000000000000000" pitchFamily="2" charset="2"/>
                        </a:rPr>
                        <a:t></a:t>
                      </a:r>
                      <a:endParaRPr lang="en-US" sz="1200" dirty="0"/>
                    </a:p>
                  </a:txBody>
                  <a:tcPr marL="0" marR="0" marT="0" marB="0" anchor="ctr">
                    <a:lnL w="381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algn="ctr"/>
                      <a:r>
                        <a:rPr lang="en-US" sz="1200" dirty="0" smtClean="0">
                          <a:sym typeface="Wingdings" panose="05000000000000000000" pitchFamily="2" charset="2"/>
                        </a:rPr>
                        <a:t></a:t>
                      </a:r>
                      <a:endParaRPr lang="en-US" sz="1200" dirty="0"/>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algn="ctr"/>
                      <a:r>
                        <a:rPr lang="en-US" sz="1200" dirty="0" smtClean="0">
                          <a:sym typeface="Wingdings" panose="05000000000000000000" pitchFamily="2" charset="2"/>
                        </a:rPr>
                        <a:t></a:t>
                      </a:r>
                      <a:endParaRPr lang="en-US" sz="1200" dirty="0"/>
                    </a:p>
                  </a:txBody>
                  <a:tcPr marL="0" marR="0" marT="0" marB="0"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r>
              <a:tr h="302724">
                <a:tc vMerge="1">
                  <a:txBody>
                    <a:bodyPr/>
                    <a:lstStyle/>
                    <a:p>
                      <a:endParaRPr lang="en-US"/>
                    </a:p>
                  </a:txBody>
                  <a:tcPr/>
                </a:tc>
                <a:tc>
                  <a:txBody>
                    <a:bodyPr/>
                    <a:lstStyle/>
                    <a:p>
                      <a:pPr marL="0" marR="0" indent="0" algn="l" defTabSz="1075751"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latin typeface="+mn-lt"/>
                          <a:ea typeface="+mn-ea"/>
                          <a:cs typeface="+mn-cs"/>
                        </a:rPr>
                        <a:t>Office shared computer activation support</a:t>
                      </a:r>
                      <a:r>
                        <a:rPr lang="en-US" sz="1200" kern="1200" baseline="0" dirty="0" smtClean="0">
                          <a:solidFill>
                            <a:schemeClr val="tx1"/>
                          </a:solidFill>
                          <a:latin typeface="+mn-lt"/>
                          <a:ea typeface="+mn-ea"/>
                          <a:cs typeface="+mn-cs"/>
                        </a:rPr>
                        <a:t> (RDS)</a:t>
                      </a:r>
                      <a:endParaRPr lang="en-US" sz="1200" kern="1200" dirty="0" smtClean="0">
                        <a:solidFill>
                          <a:schemeClr val="tx1"/>
                        </a:solidFill>
                        <a:latin typeface="+mn-lt"/>
                        <a:ea typeface="+mn-ea"/>
                        <a:cs typeface="+mn-cs"/>
                      </a:endParaRPr>
                    </a:p>
                  </a:txBody>
                  <a:tcPr marL="43043" marR="86085" marT="17217" marB="17217"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ltUpDiag">
                      <a:fgClr>
                        <a:schemeClr val="bg1">
                          <a:lumMod val="85000"/>
                        </a:schemeClr>
                      </a:fgClr>
                      <a:bgClr>
                        <a:schemeClr val="bg1"/>
                      </a:bgClr>
                    </a:pattFill>
                  </a:tcPr>
                </a:tc>
                <a:tc>
                  <a:txBody>
                    <a:bodyPr/>
                    <a:lstStyle/>
                    <a:p>
                      <a:pPr algn="ctr"/>
                      <a:endParaRPr lang="en-US" sz="1200" dirty="0"/>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0000"/>
                        <a:lumOff val="80000"/>
                      </a:schemeClr>
                    </a:solidFill>
                  </a:tcPr>
                </a:tc>
                <a:tc>
                  <a:txBody>
                    <a:bodyPr/>
                    <a:lstStyle/>
                    <a:p>
                      <a:pPr algn="ctr"/>
                      <a:endParaRPr lang="en-US" sz="1200" dirty="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0000"/>
                        <a:lumOff val="80000"/>
                      </a:schemeClr>
                    </a:solidFill>
                  </a:tcPr>
                </a:tc>
                <a:tc>
                  <a:txBody>
                    <a:bodyPr/>
                    <a:lstStyle/>
                    <a:p>
                      <a:pPr algn="ctr"/>
                      <a:endParaRPr lang="en-US" sz="1200" dirty="0"/>
                    </a:p>
                  </a:txBody>
                  <a:tcPr marL="0" marR="0" marT="0" marB="0" anchor="ctr">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0000"/>
                        <a:lumOff val="80000"/>
                      </a:schemeClr>
                    </a:solidFill>
                  </a:tcPr>
                </a:tc>
                <a:tc>
                  <a:txBody>
                    <a:bodyPr/>
                    <a:lstStyle/>
                    <a:p>
                      <a:pPr marL="0" marR="0" indent="0" algn="ctr" defTabSz="932742" rtl="0" eaLnBrk="1" fontAlgn="auto" latinLnBrk="0" hangingPunct="1">
                        <a:lnSpc>
                          <a:spcPct val="100000"/>
                        </a:lnSpc>
                        <a:spcBef>
                          <a:spcPts val="0"/>
                        </a:spcBef>
                        <a:spcAft>
                          <a:spcPts val="0"/>
                        </a:spcAft>
                        <a:buClrTx/>
                        <a:buSzTx/>
                        <a:buFontTx/>
                        <a:buNone/>
                        <a:tabLst/>
                        <a:defRPr/>
                      </a:pPr>
                      <a:r>
                        <a:rPr lang="en-US" sz="1200" dirty="0" smtClean="0">
                          <a:sym typeface="Wingdings" panose="05000000000000000000" pitchFamily="2" charset="2"/>
                        </a:rPr>
                        <a:t></a:t>
                      </a:r>
                      <a:endParaRPr lang="en-US" sz="1200" dirty="0" smtClean="0"/>
                    </a:p>
                  </a:txBody>
                  <a:tcPr marL="0" marR="0" marT="0" marB="0" anchor="ctr">
                    <a:lnL w="381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algn="ctr"/>
                      <a:endParaRPr lang="en-US" sz="1200" dirty="0"/>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0" marR="0" indent="0" algn="ctr" defTabSz="932742" rtl="0" eaLnBrk="1" fontAlgn="auto" latinLnBrk="0" hangingPunct="1">
                        <a:lnSpc>
                          <a:spcPct val="100000"/>
                        </a:lnSpc>
                        <a:spcBef>
                          <a:spcPts val="0"/>
                        </a:spcBef>
                        <a:spcAft>
                          <a:spcPts val="0"/>
                        </a:spcAft>
                        <a:buClrTx/>
                        <a:buSzTx/>
                        <a:buFontTx/>
                        <a:buNone/>
                        <a:tabLst/>
                        <a:defRPr/>
                      </a:pPr>
                      <a:r>
                        <a:rPr lang="en-US" sz="1200" dirty="0" smtClean="0">
                          <a:sym typeface="Wingdings" panose="05000000000000000000" pitchFamily="2" charset="2"/>
                        </a:rPr>
                        <a:t></a:t>
                      </a:r>
                      <a:endParaRPr lang="en-US" sz="1200" dirty="0" smtClean="0"/>
                    </a:p>
                  </a:txBody>
                  <a:tcPr marL="0" marR="0" marT="0" marB="0"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r>
              <a:tr h="302724">
                <a:tc vMerge="1">
                  <a:txBody>
                    <a:bodyPr/>
                    <a:lstStyle/>
                    <a:p>
                      <a:endParaRPr lang="en-US"/>
                    </a:p>
                  </a:txBody>
                  <a:tcPr/>
                </a:tc>
                <a:tc>
                  <a:txBody>
                    <a:bodyPr/>
                    <a:lstStyle/>
                    <a:p>
                      <a:pPr marL="0" marR="0" indent="0" algn="l" defTabSz="1075751"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latin typeface="+mn-lt"/>
                          <a:ea typeface="+mn-ea"/>
                          <a:cs typeface="+mn-cs"/>
                        </a:rPr>
                        <a:t>Upcoming</a:t>
                      </a:r>
                      <a:r>
                        <a:rPr lang="en-US" sz="1200" kern="1200" baseline="0" dirty="0" smtClean="0">
                          <a:solidFill>
                            <a:schemeClr val="tx1"/>
                          </a:solidFill>
                          <a:latin typeface="+mn-lt"/>
                          <a:ea typeface="+mn-ea"/>
                          <a:cs typeface="+mn-cs"/>
                        </a:rPr>
                        <a:t> services – Video content management</a:t>
                      </a:r>
                      <a:endParaRPr lang="en-US" sz="1200" kern="1200" dirty="0" smtClean="0">
                        <a:solidFill>
                          <a:schemeClr val="tx1"/>
                        </a:solidFill>
                        <a:latin typeface="+mn-lt"/>
                        <a:ea typeface="+mn-ea"/>
                        <a:cs typeface="+mn-cs"/>
                      </a:endParaRPr>
                    </a:p>
                  </a:txBody>
                  <a:tcPr marL="43043" marR="86085" marT="17217" marB="17217"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ltUpDiag">
                      <a:fgClr>
                        <a:schemeClr val="bg1">
                          <a:lumMod val="85000"/>
                        </a:schemeClr>
                      </a:fgClr>
                      <a:bgClr>
                        <a:schemeClr val="bg1"/>
                      </a:bgClr>
                    </a:pattFill>
                  </a:tcPr>
                </a:tc>
                <a:tc>
                  <a:txBody>
                    <a:bodyPr/>
                    <a:lstStyle/>
                    <a:p>
                      <a:pPr algn="ctr"/>
                      <a:endParaRPr lang="en-US" sz="1200" dirty="0"/>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0000"/>
                        <a:lumOff val="80000"/>
                      </a:schemeClr>
                    </a:solidFill>
                  </a:tcPr>
                </a:tc>
                <a:tc>
                  <a:txBody>
                    <a:bodyPr/>
                    <a:lstStyle/>
                    <a:p>
                      <a:pPr algn="ctr"/>
                      <a:endParaRPr lang="en-US" sz="1200" dirty="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0000"/>
                        <a:lumOff val="80000"/>
                      </a:schemeClr>
                    </a:solidFill>
                  </a:tcPr>
                </a:tc>
                <a:tc>
                  <a:txBody>
                    <a:bodyPr/>
                    <a:lstStyle/>
                    <a:p>
                      <a:pPr algn="ctr"/>
                      <a:endParaRPr lang="en-US" sz="1200" dirty="0"/>
                    </a:p>
                  </a:txBody>
                  <a:tcPr marL="0" marR="0" marT="0" marB="0" anchor="ctr">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0000"/>
                        <a:lumOff val="80000"/>
                      </a:schemeClr>
                    </a:solidFill>
                  </a:tcPr>
                </a:tc>
                <a:tc>
                  <a:txBody>
                    <a:bodyPr/>
                    <a:lstStyle/>
                    <a:p>
                      <a:pPr algn="ctr"/>
                      <a:endParaRPr lang="en-US" sz="1200" dirty="0"/>
                    </a:p>
                  </a:txBody>
                  <a:tcPr marL="0" marR="0" marT="0" marB="0" anchor="ctr">
                    <a:lnL w="381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algn="ctr"/>
                      <a:r>
                        <a:rPr lang="en-US" sz="1200" dirty="0" smtClean="0">
                          <a:sym typeface="Wingdings" panose="05000000000000000000" pitchFamily="2" charset="2"/>
                        </a:rPr>
                        <a:t></a:t>
                      </a:r>
                      <a:endParaRPr lang="en-US" sz="1200" dirty="0"/>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algn="ctr"/>
                      <a:r>
                        <a:rPr lang="en-US" sz="1200" dirty="0" smtClean="0">
                          <a:sym typeface="Wingdings" panose="05000000000000000000" pitchFamily="2" charset="2"/>
                        </a:rPr>
                        <a:t></a:t>
                      </a:r>
                      <a:endParaRPr lang="en-US" sz="1200" dirty="0"/>
                    </a:p>
                  </a:txBody>
                  <a:tcPr marL="0" marR="0" marT="0" marB="0"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r>
              <a:tr h="300050">
                <a:tc vMerge="1">
                  <a:txBody>
                    <a:bodyPr/>
                    <a:lstStyle/>
                    <a:p>
                      <a:pPr algn="ctr"/>
                      <a:endParaRPr lang="en-US" sz="1400" b="1" dirty="0">
                        <a:solidFill>
                          <a:schemeClr val="bg1"/>
                        </a:solidFill>
                      </a:endParaRPr>
                    </a:p>
                  </a:txBody>
                  <a:tcPr marT="18288" marB="18288" vert="vert270" anchor="ctr">
                    <a:lnL w="190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solidFill>
                      <a:schemeClr val="bg2"/>
                    </a:solidFill>
                  </a:tcPr>
                </a:tc>
                <a:tc>
                  <a:txBody>
                    <a:bodyPr/>
                    <a:lstStyle/>
                    <a:p>
                      <a:pPr marL="0" marR="0" indent="0" algn="l" defTabSz="1075751" rtl="0" eaLnBrk="1" fontAlgn="auto" latinLnBrk="0" hangingPunct="1">
                        <a:lnSpc>
                          <a:spcPct val="100000"/>
                        </a:lnSpc>
                        <a:spcBef>
                          <a:spcPts val="0"/>
                        </a:spcBef>
                        <a:spcAft>
                          <a:spcPts val="0"/>
                        </a:spcAft>
                        <a:buClrTx/>
                        <a:buSzTx/>
                        <a:buFontTx/>
                        <a:buNone/>
                        <a:tabLst/>
                        <a:defRPr/>
                      </a:pPr>
                      <a:r>
                        <a:rPr lang="en-US" sz="1200" dirty="0" smtClean="0"/>
                        <a:t>Compliance</a:t>
                      </a:r>
                      <a:r>
                        <a:rPr lang="en-US" sz="1200" baseline="0" dirty="0" smtClean="0"/>
                        <a:t> – </a:t>
                      </a:r>
                      <a:r>
                        <a:rPr lang="en-US" sz="1200" dirty="0" smtClean="0"/>
                        <a:t>Archiving, eDiscovery, mailbox hold</a:t>
                      </a:r>
                    </a:p>
                  </a:txBody>
                  <a:tcPr marL="43043" marR="86085" marT="17217" marB="17217"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pattFill prst="ltUpDiag">
                      <a:fgClr>
                        <a:schemeClr val="bg1">
                          <a:lumMod val="85000"/>
                        </a:schemeClr>
                      </a:fgClr>
                      <a:bgClr>
                        <a:schemeClr val="bg1"/>
                      </a:bgClr>
                    </a:pattFill>
                  </a:tcPr>
                </a:tc>
                <a:tc>
                  <a:txBody>
                    <a:bodyPr/>
                    <a:lstStyle/>
                    <a:p>
                      <a:pPr marL="0" marR="0" indent="0" algn="ctr" defTabSz="1075751" rtl="0" eaLnBrk="1" fontAlgn="auto" latinLnBrk="0" hangingPunct="1">
                        <a:lnSpc>
                          <a:spcPct val="100000"/>
                        </a:lnSpc>
                        <a:spcBef>
                          <a:spcPts val="0"/>
                        </a:spcBef>
                        <a:spcAft>
                          <a:spcPts val="0"/>
                        </a:spcAft>
                        <a:buClrTx/>
                        <a:buSzTx/>
                        <a:buFontTx/>
                        <a:buNone/>
                        <a:tabLst/>
                        <a:defRPr/>
                      </a:pPr>
                      <a:endParaRPr lang="en-US" sz="1200" dirty="0" smtClean="0"/>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0000"/>
                        <a:lumOff val="80000"/>
                      </a:schemeClr>
                    </a:solidFill>
                  </a:tcPr>
                </a:tc>
                <a:tc>
                  <a:txBody>
                    <a:bodyPr/>
                    <a:lstStyle/>
                    <a:p>
                      <a:pPr marL="0" marR="0" indent="0" algn="ctr" defTabSz="1075751" rtl="0" eaLnBrk="1" fontAlgn="auto" latinLnBrk="0" hangingPunct="1">
                        <a:lnSpc>
                          <a:spcPct val="100000"/>
                        </a:lnSpc>
                        <a:spcBef>
                          <a:spcPts val="0"/>
                        </a:spcBef>
                        <a:spcAft>
                          <a:spcPts val="0"/>
                        </a:spcAft>
                        <a:buClrTx/>
                        <a:buSzTx/>
                        <a:buFontTx/>
                        <a:buNone/>
                        <a:tabLst/>
                        <a:defRPr/>
                      </a:pPr>
                      <a:endParaRPr lang="en-US" sz="1200" dirty="0" smtClean="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0000"/>
                        <a:lumOff val="80000"/>
                      </a:schemeClr>
                    </a:solidFill>
                  </a:tcPr>
                </a:tc>
                <a:tc>
                  <a:txBody>
                    <a:bodyPr/>
                    <a:lstStyle/>
                    <a:p>
                      <a:pPr marL="0" marR="0" indent="0" algn="ctr" defTabSz="1075751" rtl="0" eaLnBrk="1" fontAlgn="auto" latinLnBrk="0" hangingPunct="1">
                        <a:lnSpc>
                          <a:spcPct val="100000"/>
                        </a:lnSpc>
                        <a:spcBef>
                          <a:spcPts val="0"/>
                        </a:spcBef>
                        <a:spcAft>
                          <a:spcPts val="0"/>
                        </a:spcAft>
                        <a:buClrTx/>
                        <a:buSzTx/>
                        <a:buFontTx/>
                        <a:buNone/>
                        <a:tabLst/>
                        <a:defRPr/>
                      </a:pPr>
                      <a:endParaRPr lang="en-US" sz="1200" dirty="0" smtClean="0"/>
                    </a:p>
                  </a:txBody>
                  <a:tcPr marL="0" marR="0" marT="0" marB="0" anchor="ctr">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1">
                        <a:lumMod val="20000"/>
                        <a:lumOff val="80000"/>
                      </a:schemeClr>
                    </a:solidFill>
                  </a:tcPr>
                </a:tc>
                <a:tc>
                  <a:txBody>
                    <a:bodyPr/>
                    <a:lstStyle/>
                    <a:p>
                      <a:pPr marL="0" marR="0" indent="0" algn="ctr" defTabSz="1075751" rtl="0" eaLnBrk="1" fontAlgn="auto" latinLnBrk="0" hangingPunct="1">
                        <a:lnSpc>
                          <a:spcPct val="100000"/>
                        </a:lnSpc>
                        <a:spcBef>
                          <a:spcPts val="0"/>
                        </a:spcBef>
                        <a:spcAft>
                          <a:spcPts val="0"/>
                        </a:spcAft>
                        <a:buClrTx/>
                        <a:buSzTx/>
                        <a:buFontTx/>
                        <a:buNone/>
                        <a:tabLst/>
                        <a:defRPr/>
                      </a:pPr>
                      <a:endParaRPr lang="en-US" sz="1200" dirty="0" smtClean="0"/>
                    </a:p>
                  </a:txBody>
                  <a:tcPr marL="0" marR="0" marT="0" marB="0" anchor="ctr">
                    <a:lnL w="381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0" marR="0" indent="0" algn="ctr" defTabSz="1075751" rtl="0" eaLnBrk="1" fontAlgn="auto" latinLnBrk="0" hangingPunct="1">
                        <a:lnSpc>
                          <a:spcPct val="100000"/>
                        </a:lnSpc>
                        <a:spcBef>
                          <a:spcPts val="0"/>
                        </a:spcBef>
                        <a:spcAft>
                          <a:spcPts val="0"/>
                        </a:spcAft>
                        <a:buClrTx/>
                        <a:buSzTx/>
                        <a:buFontTx/>
                        <a:buNone/>
                        <a:tabLst/>
                        <a:defRPr/>
                      </a:pPr>
                      <a:endParaRPr lang="en-US" sz="1200" dirty="0" smtClean="0"/>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algn="ctr"/>
                      <a:r>
                        <a:rPr lang="en-US" sz="1200" dirty="0" smtClean="0">
                          <a:sym typeface="Wingdings" panose="05000000000000000000" pitchFamily="2" charset="2"/>
                        </a:rPr>
                        <a:t></a:t>
                      </a:r>
                      <a:endParaRPr lang="en-US" sz="1200" dirty="0"/>
                    </a:p>
                  </a:txBody>
                  <a:tcPr marL="0" marR="0" marT="0" marB="0"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r>
              <a:tr h="300050">
                <a:tc vMerge="1">
                  <a:txBody>
                    <a:bodyPr/>
                    <a:lstStyle/>
                    <a:p>
                      <a:pPr algn="ctr"/>
                      <a:endParaRPr lang="en-US" sz="1400" b="1" dirty="0">
                        <a:solidFill>
                          <a:schemeClr val="bg1"/>
                        </a:solidFill>
                      </a:endParaRPr>
                    </a:p>
                  </a:txBody>
                  <a:tcPr marT="18288" marB="18288" vert="vert270" anchor="ctr">
                    <a:lnL w="1905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solidFill>
                      <a:schemeClr val="bg2"/>
                    </a:solidFill>
                  </a:tcPr>
                </a:tc>
                <a:tc>
                  <a:txBody>
                    <a:bodyPr/>
                    <a:lstStyle/>
                    <a:p>
                      <a:pPr marL="0" marR="0" indent="0" algn="l" defTabSz="1075751"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latin typeface="+mn-lt"/>
                          <a:ea typeface="+mn-ea"/>
                          <a:cs typeface="+mn-cs"/>
                        </a:rPr>
                        <a:t>Information protection – message encryption, RMS, DLP</a:t>
                      </a:r>
                    </a:p>
                  </a:txBody>
                  <a:tcPr marL="43043" marR="86085" marT="17217" marB="17217"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pattFill prst="ltUpDiag">
                      <a:fgClr>
                        <a:schemeClr val="bg1">
                          <a:lumMod val="85000"/>
                        </a:schemeClr>
                      </a:fgClr>
                      <a:bgClr>
                        <a:schemeClr val="bg1"/>
                      </a:bgClr>
                    </a:pattFill>
                  </a:tcPr>
                </a:tc>
                <a:tc>
                  <a:txBody>
                    <a:bodyPr/>
                    <a:lstStyle/>
                    <a:p>
                      <a:pPr marL="0" marR="0" indent="0" algn="ctr" defTabSz="1075751" rtl="0" eaLnBrk="1" fontAlgn="auto" latinLnBrk="0" hangingPunct="1">
                        <a:lnSpc>
                          <a:spcPct val="100000"/>
                        </a:lnSpc>
                        <a:spcBef>
                          <a:spcPts val="0"/>
                        </a:spcBef>
                        <a:spcAft>
                          <a:spcPts val="0"/>
                        </a:spcAft>
                        <a:buClrTx/>
                        <a:buSzTx/>
                        <a:buFontTx/>
                        <a:buNone/>
                        <a:tabLst/>
                        <a:defRPr/>
                      </a:pPr>
                      <a:endParaRPr lang="en-US" sz="1200" dirty="0" smtClean="0"/>
                    </a:p>
                  </a:txBody>
                  <a:tcPr marL="0" marR="0" marT="0" marB="0" anchor="ctr">
                    <a:lnL w="381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1">
                        <a:lumMod val="20000"/>
                        <a:lumOff val="80000"/>
                      </a:schemeClr>
                    </a:solidFill>
                  </a:tcPr>
                </a:tc>
                <a:tc>
                  <a:txBody>
                    <a:bodyPr/>
                    <a:lstStyle/>
                    <a:p>
                      <a:pPr marL="0" marR="0" indent="0" algn="ctr" defTabSz="1075751" rtl="0" eaLnBrk="1" fontAlgn="auto" latinLnBrk="0" hangingPunct="1">
                        <a:lnSpc>
                          <a:spcPct val="100000"/>
                        </a:lnSpc>
                        <a:spcBef>
                          <a:spcPts val="0"/>
                        </a:spcBef>
                        <a:spcAft>
                          <a:spcPts val="0"/>
                        </a:spcAft>
                        <a:buClrTx/>
                        <a:buSzTx/>
                        <a:buFontTx/>
                        <a:buNone/>
                        <a:tabLst/>
                        <a:defRPr/>
                      </a:pPr>
                      <a:endParaRPr lang="en-US" sz="1200" dirty="0" smtClean="0"/>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1">
                        <a:lumMod val="20000"/>
                        <a:lumOff val="80000"/>
                      </a:schemeClr>
                    </a:solidFill>
                  </a:tcPr>
                </a:tc>
                <a:tc>
                  <a:txBody>
                    <a:bodyPr/>
                    <a:lstStyle/>
                    <a:p>
                      <a:pPr marL="0" marR="0" indent="0" algn="ctr" defTabSz="1075751" rtl="0" eaLnBrk="1" fontAlgn="auto" latinLnBrk="0" hangingPunct="1">
                        <a:lnSpc>
                          <a:spcPct val="100000"/>
                        </a:lnSpc>
                        <a:spcBef>
                          <a:spcPts val="0"/>
                        </a:spcBef>
                        <a:spcAft>
                          <a:spcPts val="0"/>
                        </a:spcAft>
                        <a:buClrTx/>
                        <a:buSzTx/>
                        <a:buFontTx/>
                        <a:buNone/>
                        <a:tabLst/>
                        <a:defRPr/>
                      </a:pPr>
                      <a:endParaRPr lang="en-US" sz="1200" dirty="0" smtClean="0"/>
                    </a:p>
                  </a:txBody>
                  <a:tcPr marL="0" marR="0" marT="0" marB="0" anchor="ctr">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1">
                        <a:lumMod val="20000"/>
                        <a:lumOff val="80000"/>
                      </a:schemeClr>
                    </a:solidFill>
                  </a:tcPr>
                </a:tc>
                <a:tc>
                  <a:txBody>
                    <a:bodyPr/>
                    <a:lstStyle/>
                    <a:p>
                      <a:pPr marL="0" marR="0" indent="0" algn="ctr" defTabSz="1075751" rtl="0" eaLnBrk="1" fontAlgn="auto" latinLnBrk="0" hangingPunct="1">
                        <a:lnSpc>
                          <a:spcPct val="100000"/>
                        </a:lnSpc>
                        <a:spcBef>
                          <a:spcPts val="0"/>
                        </a:spcBef>
                        <a:spcAft>
                          <a:spcPts val="0"/>
                        </a:spcAft>
                        <a:buClrTx/>
                        <a:buSzTx/>
                        <a:buFontTx/>
                        <a:buNone/>
                        <a:tabLst/>
                        <a:defRPr/>
                      </a:pPr>
                      <a:endParaRPr lang="en-US" sz="1200" dirty="0" smtClean="0"/>
                    </a:p>
                  </a:txBody>
                  <a:tcPr marL="0" marR="0" marT="0" marB="0" anchor="ctr">
                    <a:lnL w="3810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0" marR="0" indent="0" algn="ctr" defTabSz="1075751" rtl="0" eaLnBrk="1" fontAlgn="auto" latinLnBrk="0" hangingPunct="1">
                        <a:lnSpc>
                          <a:spcPct val="100000"/>
                        </a:lnSpc>
                        <a:spcBef>
                          <a:spcPts val="0"/>
                        </a:spcBef>
                        <a:spcAft>
                          <a:spcPts val="0"/>
                        </a:spcAft>
                        <a:buClrTx/>
                        <a:buSzTx/>
                        <a:buFontTx/>
                        <a:buNone/>
                        <a:tabLst/>
                        <a:defRPr/>
                      </a:pPr>
                      <a:endParaRPr lang="en-US" sz="1200" dirty="0" smtClean="0"/>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algn="ctr"/>
                      <a:r>
                        <a:rPr lang="en-US" sz="1200" dirty="0" smtClean="0">
                          <a:sym typeface="Wingdings" panose="05000000000000000000" pitchFamily="2" charset="2"/>
                        </a:rPr>
                        <a:t></a:t>
                      </a:r>
                      <a:endParaRPr lang="en-US" sz="1200" dirty="0"/>
                    </a:p>
                  </a:txBody>
                  <a:tcPr marL="0" marR="0" marT="0" marB="0" anchor="ctr">
                    <a:lnL w="190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20000"/>
                        <a:lumOff val="80000"/>
                      </a:schemeClr>
                    </a:solidFill>
                  </a:tcPr>
                </a:tc>
              </a:tr>
            </a:tbl>
          </a:graphicData>
        </a:graphic>
      </p:graphicFrame>
    </p:spTree>
    <p:extLst>
      <p:ext uri="{BB962C8B-B14F-4D97-AF65-F5344CB8AC3E}">
        <p14:creationId xmlns:p14="http://schemas.microsoft.com/office/powerpoint/2010/main" val="3533688488"/>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p:cNvSpPr/>
          <p:nvPr/>
        </p:nvSpPr>
        <p:spPr>
          <a:xfrm>
            <a:off x="-14068" y="0"/>
            <a:ext cx="12202893" cy="6994525"/>
          </a:xfrm>
          <a:prstGeom prst="rect">
            <a:avLst/>
          </a:prstGeom>
          <a:solidFill>
            <a:srgbClr val="45ACC8"/>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43" name="Picture 42"/>
          <p:cNvPicPr>
            <a:picLocks noChangeAspect="1"/>
          </p:cNvPicPr>
          <p:nvPr/>
        </p:nvPicPr>
        <p:blipFill rotWithShape="1">
          <a:blip r:embed="rId3"/>
          <a:srcRect b="243"/>
          <a:stretch/>
        </p:blipFill>
        <p:spPr>
          <a:xfrm>
            <a:off x="5836553" y="1077376"/>
            <a:ext cx="4924462" cy="2625560"/>
          </a:xfrm>
          <a:prstGeom prst="rect">
            <a:avLst/>
          </a:prstGeom>
          <a:noFill/>
          <a:ln>
            <a:solidFill>
              <a:srgbClr val="0072C6"/>
            </a:solidFill>
          </a:ln>
        </p:spPr>
      </p:pic>
      <p:pic>
        <p:nvPicPr>
          <p:cNvPr id="3" name="Picture 2"/>
          <p:cNvPicPr>
            <a:picLocks noChangeAspect="1"/>
          </p:cNvPicPr>
          <p:nvPr/>
        </p:nvPicPr>
        <p:blipFill rotWithShape="1">
          <a:blip r:embed="rId4" cstate="screen">
            <a:extLst>
              <a:ext uri="{28A0092B-C50C-407E-A947-70E740481C1C}">
                <a14:useLocalDpi xmlns:a14="http://schemas.microsoft.com/office/drawing/2010/main" val="0"/>
              </a:ext>
            </a:extLst>
          </a:blip>
          <a:srcRect/>
          <a:stretch/>
        </p:blipFill>
        <p:spPr>
          <a:xfrm>
            <a:off x="1210449" y="1213150"/>
            <a:ext cx="4378911" cy="2638653"/>
          </a:xfrm>
          <a:prstGeom prst="rect">
            <a:avLst/>
          </a:prstGeom>
          <a:noFill/>
          <a:ln>
            <a:solidFill>
              <a:srgbClr val="007233"/>
            </a:solidFill>
          </a:ln>
        </p:spPr>
      </p:pic>
      <p:sp>
        <p:nvSpPr>
          <p:cNvPr id="30" name="Rectangular Callout 29"/>
          <p:cNvSpPr/>
          <p:nvPr/>
        </p:nvSpPr>
        <p:spPr bwMode="auto">
          <a:xfrm>
            <a:off x="784840" y="2263666"/>
            <a:ext cx="1662229" cy="1277785"/>
          </a:xfrm>
          <a:prstGeom prst="wedgeRectCallout">
            <a:avLst>
              <a:gd name="adj1" fmla="val 77578"/>
              <a:gd name="adj2" fmla="val -45156"/>
            </a:avLst>
          </a:prstGeom>
          <a:solidFill>
            <a:schemeClr val="bg1">
              <a:lumMod val="95000"/>
            </a:schemeClr>
          </a:solidFill>
          <a:ln w="28575">
            <a:solidFill>
              <a:srgbClr val="007233"/>
            </a:solidFill>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91395" tIns="45699" rIns="91395" bIns="45699" numCol="1" spcCol="0" rtlCol="0" fromWordArt="0" anchor="ctr" anchorCtr="0" forceAA="0" compatLnSpc="1">
            <a:prstTxWarp prst="textNoShape">
              <a:avLst/>
            </a:prstTxWarp>
            <a:noAutofit/>
          </a:bodyPr>
          <a:lstStyle/>
          <a:p>
            <a:pPr defTabSz="913925"/>
            <a:r>
              <a:rPr lang="en-US" sz="2000" b="1" dirty="0">
                <a:solidFill>
                  <a:srgbClr val="007233"/>
                </a:solidFill>
                <a:latin typeface="Segoe UI Light"/>
              </a:rPr>
              <a:t>Excel 2013</a:t>
            </a:r>
          </a:p>
          <a:p>
            <a:pPr defTabSz="913925"/>
            <a:r>
              <a:rPr lang="en-US" sz="1568" dirty="0">
                <a:solidFill>
                  <a:srgbClr val="797A7D"/>
                </a:solidFill>
                <a:latin typeface="Segoe UI Light"/>
              </a:rPr>
              <a:t>Recommended </a:t>
            </a:r>
            <a:r>
              <a:rPr lang="en-US" sz="1568" dirty="0" smtClean="0">
                <a:solidFill>
                  <a:srgbClr val="797A7D"/>
                </a:solidFill>
                <a:latin typeface="Segoe UI Light"/>
              </a:rPr>
              <a:t>charts based on data pattern</a:t>
            </a:r>
            <a:endParaRPr lang="en-US" sz="1568" dirty="0">
              <a:solidFill>
                <a:srgbClr val="797A7D"/>
              </a:solidFill>
              <a:latin typeface="Segoe UI Light"/>
            </a:endParaRPr>
          </a:p>
        </p:txBody>
      </p:sp>
      <p:pic>
        <p:nvPicPr>
          <p:cNvPr id="6" name="Picture 5"/>
          <p:cNvPicPr>
            <a:picLocks noChangeAspect="1"/>
          </p:cNvPicPr>
          <p:nvPr/>
        </p:nvPicPr>
        <p:blipFill rotWithShape="1">
          <a:blip r:embed="rId5" cstate="screen">
            <a:extLst>
              <a:ext uri="{28A0092B-C50C-407E-A947-70E740481C1C}">
                <a14:useLocalDpi xmlns:a14="http://schemas.microsoft.com/office/drawing/2010/main" val="0"/>
              </a:ext>
            </a:extLst>
          </a:blip>
          <a:srcRect l="-788" r="46044"/>
          <a:stretch/>
        </p:blipFill>
        <p:spPr>
          <a:xfrm>
            <a:off x="556240" y="2065287"/>
            <a:ext cx="457201" cy="457201"/>
          </a:xfrm>
          <a:prstGeom prst="rect">
            <a:avLst/>
          </a:prstGeom>
        </p:spPr>
      </p:pic>
      <p:sp>
        <p:nvSpPr>
          <p:cNvPr id="32" name="Rectangular Callout 31"/>
          <p:cNvSpPr/>
          <p:nvPr/>
        </p:nvSpPr>
        <p:spPr bwMode="auto">
          <a:xfrm>
            <a:off x="8442337" y="2032376"/>
            <a:ext cx="1662229" cy="1277785"/>
          </a:xfrm>
          <a:prstGeom prst="wedgeRectCallout">
            <a:avLst>
              <a:gd name="adj1" fmla="val 72421"/>
              <a:gd name="adj2" fmla="val -31738"/>
            </a:avLst>
          </a:prstGeom>
          <a:solidFill>
            <a:schemeClr val="bg1">
              <a:lumMod val="95000"/>
            </a:schemeClr>
          </a:solidFill>
          <a:ln w="28575">
            <a:solidFill>
              <a:srgbClr val="0072C6"/>
            </a:solidFill>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91395" tIns="45699" rIns="91395" bIns="45699" numCol="1" spcCol="0" rtlCol="0" fromWordArt="0" anchor="ctr" anchorCtr="0" forceAA="0" compatLnSpc="1">
            <a:prstTxWarp prst="textNoShape">
              <a:avLst/>
            </a:prstTxWarp>
            <a:noAutofit/>
          </a:bodyPr>
          <a:lstStyle/>
          <a:p>
            <a:pPr defTabSz="913925"/>
            <a:r>
              <a:rPr lang="en-US" sz="2000" b="1" dirty="0" smtClean="0">
                <a:solidFill>
                  <a:srgbClr val="0072C6"/>
                </a:solidFill>
                <a:latin typeface="Segoe UI Light"/>
              </a:rPr>
              <a:t>Outlook 2013</a:t>
            </a:r>
            <a:endParaRPr lang="en-US" sz="2000" b="1" dirty="0">
              <a:solidFill>
                <a:srgbClr val="0072C6"/>
              </a:solidFill>
              <a:latin typeface="Segoe UI Light"/>
            </a:endParaRPr>
          </a:p>
          <a:p>
            <a:pPr defTabSz="913925"/>
            <a:r>
              <a:rPr lang="en-US" sz="1568" dirty="0" smtClean="0">
                <a:solidFill>
                  <a:srgbClr val="797A7D"/>
                </a:solidFill>
                <a:latin typeface="Segoe UI Light"/>
              </a:rPr>
              <a:t>Quick commands in touch mode</a:t>
            </a:r>
            <a:endParaRPr lang="en-US" sz="1568" dirty="0">
              <a:solidFill>
                <a:srgbClr val="797A7D"/>
              </a:solidFill>
              <a:latin typeface="Segoe UI Light"/>
            </a:endParaRPr>
          </a:p>
        </p:txBody>
      </p:sp>
      <p:pic>
        <p:nvPicPr>
          <p:cNvPr id="19" name="Picture 18"/>
          <p:cNvPicPr>
            <a:picLocks noChangeAspect="1"/>
          </p:cNvPicPr>
          <p:nvPr/>
        </p:nvPicPr>
        <p:blipFill rotWithShape="1">
          <a:blip r:embed="rId6" cstate="screen">
            <a:extLst>
              <a:ext uri="{28A0092B-C50C-407E-A947-70E740481C1C}">
                <a14:useLocalDpi xmlns:a14="http://schemas.microsoft.com/office/drawing/2010/main" val="0"/>
              </a:ext>
            </a:extLst>
          </a:blip>
          <a:srcRect l="-744" r="57392"/>
          <a:stretch/>
        </p:blipFill>
        <p:spPr>
          <a:xfrm>
            <a:off x="8213736" y="1833996"/>
            <a:ext cx="457201" cy="457201"/>
          </a:xfrm>
          <a:prstGeom prst="rect">
            <a:avLst/>
          </a:prstGeom>
        </p:spPr>
      </p:pic>
      <p:pic>
        <p:nvPicPr>
          <p:cNvPr id="39" name="Picture 38" descr="WordInlineComments.png"/>
          <p:cNvPicPr>
            <a:picLocks noChangeAspect="1"/>
          </p:cNvPicPr>
          <p:nvPr/>
        </p:nvPicPr>
        <p:blipFill rotWithShape="1">
          <a:blip r:embed="rId7" cstate="screen">
            <a:extLst>
              <a:ext uri="{28A0092B-C50C-407E-A947-70E740481C1C}">
                <a14:useLocalDpi xmlns:a14="http://schemas.microsoft.com/office/drawing/2010/main" val="0"/>
              </a:ext>
            </a:extLst>
          </a:blip>
          <a:srcRect/>
          <a:stretch/>
        </p:blipFill>
        <p:spPr>
          <a:xfrm>
            <a:off x="1679132" y="4089466"/>
            <a:ext cx="4432178" cy="2361290"/>
          </a:xfrm>
          <a:prstGeom prst="rect">
            <a:avLst/>
          </a:prstGeom>
          <a:noFill/>
          <a:ln>
            <a:solidFill>
              <a:srgbClr val="00188F"/>
            </a:solidFill>
          </a:ln>
        </p:spPr>
      </p:pic>
      <p:sp>
        <p:nvSpPr>
          <p:cNvPr id="40" name="Rectangular Callout 39"/>
          <p:cNvSpPr/>
          <p:nvPr/>
        </p:nvSpPr>
        <p:spPr bwMode="auto">
          <a:xfrm>
            <a:off x="3572752" y="5405607"/>
            <a:ext cx="1512200" cy="1264897"/>
          </a:xfrm>
          <a:prstGeom prst="wedgeRectCallout">
            <a:avLst>
              <a:gd name="adj1" fmla="val 37326"/>
              <a:gd name="adj2" fmla="val -71337"/>
            </a:avLst>
          </a:prstGeom>
          <a:solidFill>
            <a:schemeClr val="bg1">
              <a:lumMod val="95000"/>
            </a:schemeClr>
          </a:solidFill>
          <a:ln w="28575">
            <a:solidFill>
              <a:srgbClr val="00188F"/>
            </a:solidFill>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91395" tIns="45699" rIns="91395" bIns="45699" numCol="1" spcCol="0" rtlCol="0" fromWordArt="0" anchor="ctr" anchorCtr="0" forceAA="0" compatLnSpc="1">
            <a:prstTxWarp prst="textNoShape">
              <a:avLst/>
            </a:prstTxWarp>
            <a:noAutofit/>
          </a:bodyPr>
          <a:lstStyle/>
          <a:p>
            <a:pPr defTabSz="913925"/>
            <a:r>
              <a:rPr lang="en-US" sz="2000" b="1" dirty="0" smtClean="0">
                <a:solidFill>
                  <a:srgbClr val="00188F"/>
                </a:solidFill>
                <a:latin typeface="Segoe UI Light"/>
              </a:rPr>
              <a:t>Word 2013</a:t>
            </a:r>
            <a:endParaRPr lang="en-US" sz="2000" b="1" dirty="0">
              <a:solidFill>
                <a:srgbClr val="00188F"/>
              </a:solidFill>
              <a:latin typeface="Segoe UI Light"/>
            </a:endParaRPr>
          </a:p>
          <a:p>
            <a:pPr defTabSz="913925"/>
            <a:r>
              <a:rPr lang="en-US" sz="1568" dirty="0" smtClean="0">
                <a:solidFill>
                  <a:srgbClr val="797A7D"/>
                </a:solidFill>
                <a:latin typeface="Segoe UI Light"/>
              </a:rPr>
              <a:t>Reply within comments</a:t>
            </a:r>
            <a:endParaRPr lang="en-US" sz="1568" dirty="0">
              <a:solidFill>
                <a:srgbClr val="797A7D"/>
              </a:solidFill>
              <a:latin typeface="Segoe UI Light"/>
            </a:endParaRPr>
          </a:p>
        </p:txBody>
      </p:sp>
      <p:pic>
        <p:nvPicPr>
          <p:cNvPr id="41" name="Picture 40"/>
          <p:cNvPicPr>
            <a:picLocks noChangeAspect="1"/>
          </p:cNvPicPr>
          <p:nvPr/>
        </p:nvPicPr>
        <p:blipFill rotWithShape="1">
          <a:blip r:embed="rId8" cstate="screen">
            <a:extLst>
              <a:ext uri="{28A0092B-C50C-407E-A947-70E740481C1C}">
                <a14:useLocalDpi xmlns:a14="http://schemas.microsoft.com/office/drawing/2010/main" val="0"/>
              </a:ext>
            </a:extLst>
          </a:blip>
          <a:srcRect/>
          <a:stretch/>
        </p:blipFill>
        <p:spPr>
          <a:xfrm>
            <a:off x="3344150" y="5177006"/>
            <a:ext cx="457201" cy="457201"/>
          </a:xfrm>
          <a:prstGeom prst="rect">
            <a:avLst/>
          </a:prstGeom>
        </p:spPr>
      </p:pic>
      <p:pic>
        <p:nvPicPr>
          <p:cNvPr id="44" name="Picture 43" descr="Welcome Back.png"/>
          <p:cNvPicPr>
            <a:picLocks noChangeAspect="1"/>
          </p:cNvPicPr>
          <p:nvPr/>
        </p:nvPicPr>
        <p:blipFill rotWithShape="1">
          <a:blip r:embed="rId9" cstate="screen">
            <a:extLst>
              <a:ext uri="{28A0092B-C50C-407E-A947-70E740481C1C}">
                <a14:useLocalDpi xmlns:a14="http://schemas.microsoft.com/office/drawing/2010/main" val="0"/>
              </a:ext>
            </a:extLst>
          </a:blip>
          <a:srcRect/>
          <a:stretch/>
        </p:blipFill>
        <p:spPr>
          <a:xfrm>
            <a:off x="6339912" y="3918649"/>
            <a:ext cx="4928140" cy="2632510"/>
          </a:xfrm>
          <a:prstGeom prst="rect">
            <a:avLst/>
          </a:prstGeom>
          <a:ln>
            <a:solidFill>
              <a:srgbClr val="DD5900"/>
            </a:solidFill>
          </a:ln>
        </p:spPr>
      </p:pic>
      <p:pic>
        <p:nvPicPr>
          <p:cNvPr id="46" name="Picture 45"/>
          <p:cNvPicPr>
            <a:picLocks noChangeAspect="1"/>
          </p:cNvPicPr>
          <p:nvPr/>
        </p:nvPicPr>
        <p:blipFill rotWithShape="1">
          <a:blip r:embed="rId10" cstate="screen">
            <a:extLst>
              <a:ext uri="{28A0092B-C50C-407E-A947-70E740481C1C}">
                <a14:useLocalDpi xmlns:a14="http://schemas.microsoft.com/office/drawing/2010/main" val="0"/>
              </a:ext>
            </a:extLst>
          </a:blip>
          <a:srcRect l="-258" t="-1156" r="63494" b="1156"/>
          <a:stretch/>
        </p:blipFill>
        <p:spPr>
          <a:xfrm>
            <a:off x="7974633" y="5307037"/>
            <a:ext cx="457201" cy="457201"/>
          </a:xfrm>
          <a:prstGeom prst="rect">
            <a:avLst/>
          </a:prstGeom>
        </p:spPr>
      </p:pic>
      <p:pic>
        <p:nvPicPr>
          <p:cNvPr id="9" name="Picture 8"/>
          <p:cNvPicPr>
            <a:picLocks noChangeAspect="1"/>
          </p:cNvPicPr>
          <p:nvPr/>
        </p:nvPicPr>
        <p:blipFill>
          <a:blip r:embed="rId11"/>
          <a:stretch>
            <a:fillRect/>
          </a:stretch>
        </p:blipFill>
        <p:spPr>
          <a:xfrm>
            <a:off x="7282246" y="4184924"/>
            <a:ext cx="3901782" cy="2195853"/>
          </a:xfrm>
          <a:prstGeom prst="rect">
            <a:avLst/>
          </a:prstGeom>
        </p:spPr>
      </p:pic>
      <p:sp>
        <p:nvSpPr>
          <p:cNvPr id="45" name="Rectangular Callout 44"/>
          <p:cNvSpPr/>
          <p:nvPr/>
        </p:nvSpPr>
        <p:spPr bwMode="auto">
          <a:xfrm>
            <a:off x="7892203" y="5586607"/>
            <a:ext cx="2004915" cy="1230827"/>
          </a:xfrm>
          <a:prstGeom prst="wedgeRectCallout">
            <a:avLst>
              <a:gd name="adj1" fmla="val 2957"/>
              <a:gd name="adj2" fmla="val -81809"/>
            </a:avLst>
          </a:prstGeom>
          <a:solidFill>
            <a:schemeClr val="bg1">
              <a:lumMod val="95000"/>
            </a:schemeClr>
          </a:solidFill>
          <a:ln w="28575">
            <a:solidFill>
              <a:srgbClr val="DD5900"/>
            </a:solidFill>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91395" tIns="45699" rIns="91395" bIns="45699" numCol="1" spcCol="0" rtlCol="0" fromWordArt="0" anchor="ctr" anchorCtr="0" forceAA="0" compatLnSpc="1">
            <a:prstTxWarp prst="textNoShape">
              <a:avLst/>
            </a:prstTxWarp>
            <a:noAutofit/>
          </a:bodyPr>
          <a:lstStyle/>
          <a:p>
            <a:pPr defTabSz="913925"/>
            <a:r>
              <a:rPr lang="en-US" sz="2000" b="1" dirty="0" smtClean="0">
                <a:solidFill>
                  <a:srgbClr val="DD5900"/>
                </a:solidFill>
                <a:latin typeface="Segoe UI Light"/>
              </a:rPr>
              <a:t>PowerPoint 2013</a:t>
            </a:r>
            <a:endParaRPr lang="en-US" sz="2000" b="1" dirty="0">
              <a:solidFill>
                <a:srgbClr val="DD5900"/>
              </a:solidFill>
              <a:latin typeface="Segoe UI Light"/>
            </a:endParaRPr>
          </a:p>
          <a:p>
            <a:pPr defTabSz="913925"/>
            <a:r>
              <a:rPr lang="en-US" sz="1568" dirty="0" smtClean="0">
                <a:solidFill>
                  <a:srgbClr val="797A7D"/>
                </a:solidFill>
                <a:latin typeface="Segoe UI Light"/>
              </a:rPr>
              <a:t>Alignment guides for easy slide design</a:t>
            </a:r>
            <a:endParaRPr lang="en-US" sz="1568" dirty="0">
              <a:solidFill>
                <a:srgbClr val="797A7D"/>
              </a:solidFill>
              <a:latin typeface="Segoe UI Light"/>
            </a:endParaRPr>
          </a:p>
        </p:txBody>
      </p:sp>
      <p:sp>
        <p:nvSpPr>
          <p:cNvPr id="17" name="TextBox 16"/>
          <p:cNvSpPr txBox="1"/>
          <p:nvPr/>
        </p:nvSpPr>
        <p:spPr>
          <a:xfrm>
            <a:off x="368879" y="394625"/>
            <a:ext cx="11274567" cy="621709"/>
          </a:xfrm>
          <a:prstGeom prst="rect">
            <a:avLst/>
          </a:prstGeom>
          <a:noFill/>
        </p:spPr>
        <p:txBody>
          <a:bodyPr wrap="square" bIns="0" rtlCol="0">
            <a:spAutoFit/>
          </a:bodyPr>
          <a:lstStyle/>
          <a:p>
            <a:pPr>
              <a:lnSpc>
                <a:spcPct val="85000"/>
              </a:lnSpc>
            </a:pPr>
            <a:r>
              <a:rPr lang="en-US" sz="4400" spc="-157" dirty="0" smtClean="0">
                <a:solidFill>
                  <a:schemeClr val="bg1"/>
                </a:solidFill>
                <a:latin typeface="Segoe UI Bold"/>
                <a:cs typeface="Segoe UI Bold"/>
              </a:rPr>
              <a:t>Exciting new features of Office 365 Business</a:t>
            </a:r>
            <a:endParaRPr lang="en-US" sz="4400" spc="-157" dirty="0">
              <a:solidFill>
                <a:schemeClr val="bg1"/>
              </a:solidFill>
              <a:latin typeface="Segoe UI Bold"/>
              <a:cs typeface="Segoe UI Bold"/>
            </a:endParaRPr>
          </a:p>
        </p:txBody>
      </p:sp>
    </p:spTree>
    <p:extLst>
      <p:ext uri="{BB962C8B-B14F-4D97-AF65-F5344CB8AC3E}">
        <p14:creationId xmlns:p14="http://schemas.microsoft.com/office/powerpoint/2010/main" val="3874893531"/>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p:cNvSpPr/>
          <p:nvPr/>
        </p:nvSpPr>
        <p:spPr>
          <a:xfrm>
            <a:off x="4723942" y="-31029"/>
            <a:ext cx="8268511" cy="6994525"/>
          </a:xfrm>
          <a:prstGeom prst="rect">
            <a:avLst/>
          </a:prstGeom>
          <a:solidFill>
            <a:srgbClr val="45ACC8"/>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 name="Text Placeholder 1"/>
          <p:cNvSpPr>
            <a:spLocks noGrp="1"/>
          </p:cNvSpPr>
          <p:nvPr>
            <p:ph type="body" idx="1"/>
          </p:nvPr>
        </p:nvSpPr>
        <p:spPr>
          <a:xfrm>
            <a:off x="541248" y="246105"/>
            <a:ext cx="3726204" cy="1816287"/>
          </a:xfrm>
        </p:spPr>
        <p:txBody>
          <a:bodyPr/>
          <a:lstStyle/>
          <a:p>
            <a:r>
              <a:rPr lang="en-US" dirty="0" smtClean="0"/>
              <a:t>Get more done without leaving your Office Apps</a:t>
            </a:r>
            <a:endParaRPr lang="en-US" dirty="0"/>
          </a:p>
        </p:txBody>
      </p:sp>
      <p:sp>
        <p:nvSpPr>
          <p:cNvPr id="3" name="Text Placeholder 2"/>
          <p:cNvSpPr>
            <a:spLocks noGrp="1"/>
          </p:cNvSpPr>
          <p:nvPr>
            <p:ph type="body" sz="quarter" idx="10"/>
          </p:nvPr>
        </p:nvSpPr>
        <p:spPr/>
        <p:txBody>
          <a:bodyPr/>
          <a:lstStyle/>
          <a:p>
            <a:pPr lvl="0"/>
            <a:r>
              <a:rPr lang="en-US" sz="1800" dirty="0"/>
              <a:t>Save time by signing or sending documents for </a:t>
            </a:r>
            <a:r>
              <a:rPr lang="en-US" sz="1800" dirty="0" err="1"/>
              <a:t>eSignature</a:t>
            </a:r>
            <a:r>
              <a:rPr lang="en-US" sz="1800" dirty="0"/>
              <a:t> without ever leaving Microsoft </a:t>
            </a:r>
            <a:r>
              <a:rPr lang="en-US" sz="1800" dirty="0" smtClean="0"/>
              <a:t>Word using </a:t>
            </a:r>
            <a:r>
              <a:rPr lang="en-US" sz="1800" dirty="0" err="1" smtClean="0"/>
              <a:t>DocuSign</a:t>
            </a:r>
            <a:r>
              <a:rPr lang="en-US" sz="1800" dirty="0"/>
              <a:t>.</a:t>
            </a:r>
            <a:r>
              <a:rPr lang="en-US" sz="1800" dirty="0" smtClean="0"/>
              <a:t> </a:t>
            </a:r>
            <a:endParaRPr lang="en-US" sz="1800" dirty="0"/>
          </a:p>
          <a:p>
            <a:pPr lvl="0"/>
            <a:r>
              <a:rPr lang="en-US" sz="1800" dirty="0" smtClean="0"/>
              <a:t>Use the PayPal Invoicing app in Excel to </a:t>
            </a:r>
            <a:r>
              <a:rPr lang="en-US" sz="1800" dirty="0"/>
              <a:t>c</a:t>
            </a:r>
            <a:r>
              <a:rPr lang="en-US" sz="1800" dirty="0" smtClean="0"/>
              <a:t>reate </a:t>
            </a:r>
            <a:r>
              <a:rPr lang="en-US" sz="1800" dirty="0"/>
              <a:t>and email professional invoices in just minutes, complete with a Pay button your customers can click to pay you online. </a:t>
            </a:r>
          </a:p>
          <a:p>
            <a:pPr lvl="0"/>
            <a:r>
              <a:rPr lang="en-US" sz="1800" dirty="0"/>
              <a:t>Easily see key information on the people you email and meet </a:t>
            </a:r>
            <a:r>
              <a:rPr lang="en-US" sz="1800" dirty="0" smtClean="0"/>
              <a:t>directly within Outlook using LinkedIn for Outlook.</a:t>
            </a:r>
            <a:endParaRPr lang="en-US" sz="1800" dirty="0"/>
          </a:p>
        </p:txBody>
      </p:sp>
      <p:grpSp>
        <p:nvGrpSpPr>
          <p:cNvPr id="23" name="Group 22"/>
          <p:cNvGrpSpPr/>
          <p:nvPr/>
        </p:nvGrpSpPr>
        <p:grpSpPr>
          <a:xfrm>
            <a:off x="4962828" y="2245821"/>
            <a:ext cx="7334249" cy="4342842"/>
            <a:chOff x="4962828" y="2302971"/>
            <a:chExt cx="7334249" cy="4342842"/>
          </a:xfrm>
        </p:grpSpPr>
        <p:grpSp>
          <p:nvGrpSpPr>
            <p:cNvPr id="22" name="Group 21"/>
            <p:cNvGrpSpPr/>
            <p:nvPr/>
          </p:nvGrpSpPr>
          <p:grpSpPr>
            <a:xfrm>
              <a:off x="4962828" y="2302971"/>
              <a:ext cx="7334249" cy="4342842"/>
              <a:chOff x="4962828" y="2322021"/>
              <a:chExt cx="7334249" cy="4342842"/>
            </a:xfrm>
          </p:grpSpPr>
          <p:sp>
            <p:nvSpPr>
              <p:cNvPr id="33" name="Freeform 7"/>
              <p:cNvSpPr>
                <a:spLocks noEditPoints="1"/>
              </p:cNvSpPr>
              <p:nvPr/>
            </p:nvSpPr>
            <p:spPr bwMode="auto">
              <a:xfrm>
                <a:off x="4962828" y="2322021"/>
                <a:ext cx="7334249" cy="4342842"/>
              </a:xfrm>
              <a:custGeom>
                <a:avLst/>
                <a:gdLst>
                  <a:gd name="T0" fmla="*/ 412 w 485"/>
                  <a:gd name="T1" fmla="*/ 0 h 260"/>
                  <a:gd name="T2" fmla="*/ 74 w 485"/>
                  <a:gd name="T3" fmla="*/ 0 h 260"/>
                  <a:gd name="T4" fmla="*/ 62 w 485"/>
                  <a:gd name="T5" fmla="*/ 12 h 260"/>
                  <a:gd name="T6" fmla="*/ 62 w 485"/>
                  <a:gd name="T7" fmla="*/ 220 h 260"/>
                  <a:gd name="T8" fmla="*/ 74 w 485"/>
                  <a:gd name="T9" fmla="*/ 232 h 260"/>
                  <a:gd name="T10" fmla="*/ 412 w 485"/>
                  <a:gd name="T11" fmla="*/ 232 h 260"/>
                  <a:gd name="T12" fmla="*/ 424 w 485"/>
                  <a:gd name="T13" fmla="*/ 220 h 260"/>
                  <a:gd name="T14" fmla="*/ 424 w 485"/>
                  <a:gd name="T15" fmla="*/ 12 h 260"/>
                  <a:gd name="T16" fmla="*/ 412 w 485"/>
                  <a:gd name="T17" fmla="*/ 0 h 260"/>
                  <a:gd name="T18" fmla="*/ 408 w 485"/>
                  <a:gd name="T19" fmla="*/ 218 h 260"/>
                  <a:gd name="T20" fmla="*/ 77 w 485"/>
                  <a:gd name="T21" fmla="*/ 218 h 260"/>
                  <a:gd name="T22" fmla="*/ 77 w 485"/>
                  <a:gd name="T23" fmla="*/ 13 h 260"/>
                  <a:gd name="T24" fmla="*/ 408 w 485"/>
                  <a:gd name="T25" fmla="*/ 13 h 260"/>
                  <a:gd name="T26" fmla="*/ 408 w 485"/>
                  <a:gd name="T27" fmla="*/ 218 h 260"/>
                  <a:gd name="T28" fmla="*/ 276 w 485"/>
                  <a:gd name="T29" fmla="*/ 241 h 260"/>
                  <a:gd name="T30" fmla="*/ 276 w 485"/>
                  <a:gd name="T31" fmla="*/ 243 h 260"/>
                  <a:gd name="T32" fmla="*/ 271 w 485"/>
                  <a:gd name="T33" fmla="*/ 247 h 260"/>
                  <a:gd name="T34" fmla="*/ 214 w 485"/>
                  <a:gd name="T35" fmla="*/ 247 h 260"/>
                  <a:gd name="T36" fmla="*/ 210 w 485"/>
                  <a:gd name="T37" fmla="*/ 243 h 260"/>
                  <a:gd name="T38" fmla="*/ 210 w 485"/>
                  <a:gd name="T39" fmla="*/ 241 h 260"/>
                  <a:gd name="T40" fmla="*/ 0 w 485"/>
                  <a:gd name="T41" fmla="*/ 241 h 260"/>
                  <a:gd name="T42" fmla="*/ 0 w 485"/>
                  <a:gd name="T43" fmla="*/ 253 h 260"/>
                  <a:gd name="T44" fmla="*/ 16 w 485"/>
                  <a:gd name="T45" fmla="*/ 260 h 260"/>
                  <a:gd name="T46" fmla="*/ 16 w 485"/>
                  <a:gd name="T47" fmla="*/ 260 h 260"/>
                  <a:gd name="T48" fmla="*/ 469 w 485"/>
                  <a:gd name="T49" fmla="*/ 260 h 260"/>
                  <a:gd name="T50" fmla="*/ 469 w 485"/>
                  <a:gd name="T51" fmla="*/ 260 h 260"/>
                  <a:gd name="T52" fmla="*/ 485 w 485"/>
                  <a:gd name="T53" fmla="*/ 253 h 260"/>
                  <a:gd name="T54" fmla="*/ 485 w 485"/>
                  <a:gd name="T55" fmla="*/ 241 h 260"/>
                  <a:gd name="T56" fmla="*/ 276 w 485"/>
                  <a:gd name="T57" fmla="*/ 241 h 260"/>
                  <a:gd name="T58" fmla="*/ 276 w 485"/>
                  <a:gd name="T59" fmla="*/ 241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85" h="260">
                    <a:moveTo>
                      <a:pt x="412" y="0"/>
                    </a:moveTo>
                    <a:cubicBezTo>
                      <a:pt x="74" y="0"/>
                      <a:pt x="74" y="0"/>
                      <a:pt x="74" y="0"/>
                    </a:cubicBezTo>
                    <a:cubicBezTo>
                      <a:pt x="68" y="0"/>
                      <a:pt x="62" y="5"/>
                      <a:pt x="62" y="12"/>
                    </a:cubicBezTo>
                    <a:cubicBezTo>
                      <a:pt x="62" y="220"/>
                      <a:pt x="62" y="220"/>
                      <a:pt x="62" y="220"/>
                    </a:cubicBezTo>
                    <a:cubicBezTo>
                      <a:pt x="62" y="227"/>
                      <a:pt x="68" y="232"/>
                      <a:pt x="74" y="232"/>
                    </a:cubicBezTo>
                    <a:cubicBezTo>
                      <a:pt x="412" y="232"/>
                      <a:pt x="412" y="232"/>
                      <a:pt x="412" y="232"/>
                    </a:cubicBezTo>
                    <a:cubicBezTo>
                      <a:pt x="419" y="232"/>
                      <a:pt x="424" y="227"/>
                      <a:pt x="424" y="220"/>
                    </a:cubicBezTo>
                    <a:cubicBezTo>
                      <a:pt x="424" y="12"/>
                      <a:pt x="424" y="12"/>
                      <a:pt x="424" y="12"/>
                    </a:cubicBezTo>
                    <a:cubicBezTo>
                      <a:pt x="424" y="5"/>
                      <a:pt x="419" y="0"/>
                      <a:pt x="412" y="0"/>
                    </a:cubicBezTo>
                    <a:close/>
                    <a:moveTo>
                      <a:pt x="408" y="218"/>
                    </a:moveTo>
                    <a:cubicBezTo>
                      <a:pt x="77" y="218"/>
                      <a:pt x="77" y="218"/>
                      <a:pt x="77" y="218"/>
                    </a:cubicBezTo>
                    <a:cubicBezTo>
                      <a:pt x="77" y="13"/>
                      <a:pt x="77" y="13"/>
                      <a:pt x="77" y="13"/>
                    </a:cubicBezTo>
                    <a:cubicBezTo>
                      <a:pt x="408" y="13"/>
                      <a:pt x="408" y="13"/>
                      <a:pt x="408" y="13"/>
                    </a:cubicBezTo>
                    <a:cubicBezTo>
                      <a:pt x="408" y="218"/>
                      <a:pt x="408" y="218"/>
                      <a:pt x="408" y="218"/>
                    </a:cubicBezTo>
                    <a:close/>
                    <a:moveTo>
                      <a:pt x="276" y="241"/>
                    </a:moveTo>
                    <a:cubicBezTo>
                      <a:pt x="276" y="243"/>
                      <a:pt x="276" y="243"/>
                      <a:pt x="276" y="243"/>
                    </a:cubicBezTo>
                    <a:cubicBezTo>
                      <a:pt x="276" y="246"/>
                      <a:pt x="274" y="247"/>
                      <a:pt x="271" y="247"/>
                    </a:cubicBezTo>
                    <a:cubicBezTo>
                      <a:pt x="214" y="247"/>
                      <a:pt x="214" y="247"/>
                      <a:pt x="214" y="247"/>
                    </a:cubicBezTo>
                    <a:cubicBezTo>
                      <a:pt x="212" y="247"/>
                      <a:pt x="210" y="246"/>
                      <a:pt x="210" y="243"/>
                    </a:cubicBezTo>
                    <a:cubicBezTo>
                      <a:pt x="210" y="241"/>
                      <a:pt x="210" y="241"/>
                      <a:pt x="210" y="241"/>
                    </a:cubicBezTo>
                    <a:cubicBezTo>
                      <a:pt x="0" y="241"/>
                      <a:pt x="0" y="241"/>
                      <a:pt x="0" y="241"/>
                    </a:cubicBezTo>
                    <a:cubicBezTo>
                      <a:pt x="0" y="253"/>
                      <a:pt x="0" y="253"/>
                      <a:pt x="0" y="253"/>
                    </a:cubicBezTo>
                    <a:cubicBezTo>
                      <a:pt x="0" y="253"/>
                      <a:pt x="11" y="260"/>
                      <a:pt x="16" y="260"/>
                    </a:cubicBezTo>
                    <a:cubicBezTo>
                      <a:pt x="16" y="260"/>
                      <a:pt x="16" y="260"/>
                      <a:pt x="16" y="260"/>
                    </a:cubicBezTo>
                    <a:cubicBezTo>
                      <a:pt x="469" y="260"/>
                      <a:pt x="469" y="260"/>
                      <a:pt x="469" y="260"/>
                    </a:cubicBezTo>
                    <a:cubicBezTo>
                      <a:pt x="469" y="260"/>
                      <a:pt x="469" y="260"/>
                      <a:pt x="469" y="260"/>
                    </a:cubicBezTo>
                    <a:cubicBezTo>
                      <a:pt x="474" y="260"/>
                      <a:pt x="485" y="253"/>
                      <a:pt x="485" y="253"/>
                    </a:cubicBezTo>
                    <a:cubicBezTo>
                      <a:pt x="485" y="241"/>
                      <a:pt x="485" y="241"/>
                      <a:pt x="485" y="241"/>
                    </a:cubicBezTo>
                    <a:cubicBezTo>
                      <a:pt x="276" y="241"/>
                      <a:pt x="276" y="241"/>
                      <a:pt x="276" y="241"/>
                    </a:cubicBezTo>
                    <a:cubicBezTo>
                      <a:pt x="276" y="241"/>
                      <a:pt x="276" y="241"/>
                      <a:pt x="276" y="241"/>
                    </a:cubicBezTo>
                    <a:close/>
                  </a:path>
                </a:pathLst>
              </a:custGeom>
              <a:solidFill>
                <a:srgbClr val="68217A"/>
              </a:solidFill>
              <a:ln>
                <a:noFill/>
              </a:ln>
            </p:spPr>
            <p:txBody>
              <a:bodyPr vert="horz" wrap="square" lIns="91440" tIns="45720" rIns="91440" bIns="45720" numCol="1" anchor="t" anchorCtr="0" compatLnSpc="1">
                <a:prstTxWarp prst="textNoShape">
                  <a:avLst/>
                </a:prstTxWarp>
              </a:bodyPr>
              <a:lstStyle/>
              <a:p>
                <a:pPr marL="0" marR="0" lvl="0" indent="0" defTabSz="932316"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34" name="Rectangle 33"/>
              <p:cNvSpPr/>
              <p:nvPr/>
            </p:nvSpPr>
            <p:spPr bwMode="auto">
              <a:xfrm>
                <a:off x="6075884" y="2401205"/>
                <a:ext cx="5186677" cy="3603088"/>
              </a:xfrm>
              <a:prstGeom prst="rect">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a typeface="Segoe UI" pitchFamily="34" charset="0"/>
                  <a:cs typeface="Segoe UI" pitchFamily="34" charset="0"/>
                </a:endParaRPr>
              </a:p>
            </p:txBody>
          </p:sp>
        </p:grpSp>
        <p:pic>
          <p:nvPicPr>
            <p:cNvPr id="5" name="Picture 4"/>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6096607" y="2571750"/>
              <a:ext cx="5070704" cy="3360139"/>
            </a:xfrm>
            <a:prstGeom prst="rect">
              <a:avLst/>
            </a:prstGeom>
          </p:spPr>
        </p:pic>
      </p:grpSp>
      <p:sp>
        <p:nvSpPr>
          <p:cNvPr id="9" name="Rectangle 8"/>
          <p:cNvSpPr/>
          <p:nvPr/>
        </p:nvSpPr>
        <p:spPr>
          <a:xfrm>
            <a:off x="5047941" y="1231395"/>
            <a:ext cx="2157398" cy="830997"/>
          </a:xfrm>
          <a:prstGeom prst="rect">
            <a:avLst/>
          </a:prstGeom>
        </p:spPr>
        <p:txBody>
          <a:bodyPr wrap="square">
            <a:spAutoFit/>
          </a:bodyPr>
          <a:lstStyle/>
          <a:p>
            <a:pPr defTabSz="914099" fontAlgn="base">
              <a:spcBef>
                <a:spcPct val="0"/>
              </a:spcBef>
              <a:spcAft>
                <a:spcPct val="0"/>
              </a:spcAft>
            </a:pPr>
            <a:r>
              <a:rPr lang="en-US" sz="1600" dirty="0">
                <a:solidFill>
                  <a:schemeClr val="bg1"/>
                </a:solidFill>
              </a:rPr>
              <a:t>Customize with your logo and business information</a:t>
            </a:r>
            <a:endParaRPr lang="en-US" sz="1600" dirty="0">
              <a:solidFill>
                <a:schemeClr val="bg1"/>
              </a:solidFill>
              <a:latin typeface="Segoe UI Light"/>
              <a:ea typeface="Segoe UI" pitchFamily="34" charset="0"/>
              <a:cs typeface="Segoe UI" pitchFamily="34" charset="0"/>
            </a:endParaRPr>
          </a:p>
        </p:txBody>
      </p:sp>
      <p:cxnSp>
        <p:nvCxnSpPr>
          <p:cNvPr id="10" name="Straight Connector 9"/>
          <p:cNvCxnSpPr/>
          <p:nvPr/>
        </p:nvCxnSpPr>
        <p:spPr>
          <a:xfrm>
            <a:off x="5570984" y="2101667"/>
            <a:ext cx="782898" cy="886476"/>
          </a:xfrm>
          <a:prstGeom prst="line">
            <a:avLst/>
          </a:prstGeom>
          <a:ln w="28575">
            <a:solidFill>
              <a:schemeClr val="tx2"/>
            </a:solidFill>
            <a:prstDash val="sysDash"/>
            <a:headEnd type="none"/>
            <a:tailEnd type="oval" w="med" len="med"/>
          </a:ln>
        </p:spPr>
        <p:style>
          <a:lnRef idx="1">
            <a:schemeClr val="accent1"/>
          </a:lnRef>
          <a:fillRef idx="0">
            <a:schemeClr val="accent1"/>
          </a:fillRef>
          <a:effectRef idx="0">
            <a:schemeClr val="accent1"/>
          </a:effectRef>
          <a:fontRef idx="minor">
            <a:schemeClr val="tx1"/>
          </a:fontRef>
        </p:style>
      </p:cxnSp>
      <p:grpSp>
        <p:nvGrpSpPr>
          <p:cNvPr id="26" name="Group 25"/>
          <p:cNvGrpSpPr/>
          <p:nvPr/>
        </p:nvGrpSpPr>
        <p:grpSpPr>
          <a:xfrm>
            <a:off x="7338765" y="1101507"/>
            <a:ext cx="3959960" cy="887435"/>
            <a:chOff x="7338765" y="1101507"/>
            <a:chExt cx="3959960" cy="887435"/>
          </a:xfrm>
        </p:grpSpPr>
        <p:sp>
          <p:nvSpPr>
            <p:cNvPr id="25" name="Rectangle 24"/>
            <p:cNvSpPr/>
            <p:nvPr/>
          </p:nvSpPr>
          <p:spPr bwMode="auto">
            <a:xfrm>
              <a:off x="10397159" y="1101507"/>
              <a:ext cx="901566" cy="887435"/>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6" name="Group 15"/>
            <p:cNvGrpSpPr/>
            <p:nvPr/>
          </p:nvGrpSpPr>
          <p:grpSpPr>
            <a:xfrm>
              <a:off x="7338765" y="1101507"/>
              <a:ext cx="3959960" cy="887435"/>
              <a:chOff x="7815020" y="1044356"/>
              <a:chExt cx="4392199" cy="984300"/>
            </a:xfrm>
          </p:grpSpPr>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12853" y="1044358"/>
                <a:ext cx="943170" cy="943170"/>
              </a:xfrm>
              <a:prstGeom prst="rect">
                <a:avLst/>
              </a:prstGeom>
            </p:spPr>
          </p:pic>
          <p:pic>
            <p:nvPicPr>
              <p:cNvPr id="7" name="Picture 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991209" y="1063408"/>
                <a:ext cx="924121" cy="924121"/>
              </a:xfrm>
              <a:prstGeom prst="rect">
                <a:avLst/>
              </a:prstGeom>
            </p:spPr>
          </p:pic>
          <p:grpSp>
            <p:nvGrpSpPr>
              <p:cNvPr id="13" name="Group 12"/>
              <p:cNvGrpSpPr/>
              <p:nvPr/>
            </p:nvGrpSpPr>
            <p:grpSpPr>
              <a:xfrm>
                <a:off x="7815020" y="1063408"/>
                <a:ext cx="1005919" cy="943170"/>
                <a:chOff x="8532182" y="358704"/>
                <a:chExt cx="1018537" cy="943170"/>
              </a:xfrm>
            </p:grpSpPr>
            <p:sp>
              <p:nvSpPr>
                <p:cNvPr id="12" name="Rectangle 11"/>
                <p:cNvSpPr/>
                <p:nvPr/>
              </p:nvSpPr>
              <p:spPr bwMode="auto">
                <a:xfrm>
                  <a:off x="8532182" y="358704"/>
                  <a:ext cx="1018537" cy="94317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583696" y="385940"/>
                  <a:ext cx="914528" cy="914529"/>
                </a:xfrm>
                <a:prstGeom prst="rect">
                  <a:avLst/>
                </a:prstGeom>
              </p:spPr>
            </p:pic>
          </p:grpSp>
          <p:pic>
            <p:nvPicPr>
              <p:cNvPr id="11" name="Picture 1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1222918" y="1044356"/>
                <a:ext cx="984301" cy="984300"/>
              </a:xfrm>
              <a:prstGeom prst="rect">
                <a:avLst/>
              </a:prstGeom>
            </p:spPr>
          </p:pic>
        </p:grpSp>
      </p:grpSp>
    </p:spTree>
    <p:extLst>
      <p:ext uri="{BB962C8B-B14F-4D97-AF65-F5344CB8AC3E}">
        <p14:creationId xmlns:p14="http://schemas.microsoft.com/office/powerpoint/2010/main" val="24742232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par>
                          <p:cTn id="8" fill="hold">
                            <p:stCondLst>
                              <p:cond delay="500"/>
                            </p:stCondLst>
                            <p:childTnLst>
                              <p:par>
                                <p:cTn id="9" presetID="22" presetClass="entr" presetSubtype="4" fill="hold"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wipe(down)">
                                      <p:cBhvr>
                                        <p:cTn id="11"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p:cNvGrpSpPr/>
          <p:nvPr/>
        </p:nvGrpSpPr>
        <p:grpSpPr>
          <a:xfrm>
            <a:off x="6388409" y="1407027"/>
            <a:ext cx="4554094" cy="4398802"/>
            <a:chOff x="7120036" y="1371680"/>
            <a:chExt cx="4554094" cy="4398802"/>
          </a:xfrm>
          <a:solidFill>
            <a:schemeClr val="accent6">
              <a:lumMod val="75000"/>
            </a:schemeClr>
          </a:solidFill>
        </p:grpSpPr>
        <p:sp>
          <p:nvSpPr>
            <p:cNvPr id="6" name="Rectangle 5"/>
            <p:cNvSpPr/>
            <p:nvPr/>
          </p:nvSpPr>
          <p:spPr bwMode="auto">
            <a:xfrm>
              <a:off x="7120036" y="1371680"/>
              <a:ext cx="4547998" cy="10489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r>
                <a:rPr lang="en-US" sz="2000" dirty="0"/>
                <a:t>Full, </a:t>
              </a:r>
              <a:r>
                <a:rPr lang="en-US" sz="2000" dirty="0" smtClean="0"/>
                <a:t>installed </a:t>
              </a:r>
              <a:r>
                <a:rPr lang="en-US" sz="2000" dirty="0"/>
                <a:t>Office applications on up to 5 PCs or Macs </a:t>
              </a:r>
              <a:endParaRPr lang="en-US" sz="20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5" name="Rectangle 54"/>
            <p:cNvSpPr/>
            <p:nvPr/>
          </p:nvSpPr>
          <p:spPr bwMode="auto">
            <a:xfrm>
              <a:off x="7120036" y="3592756"/>
              <a:ext cx="4547998" cy="10489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a typeface="Segoe UI" pitchFamily="34" charset="0"/>
                <a:cs typeface="Segoe UI" pitchFamily="34" charset="0"/>
              </a:endParaRPr>
            </a:p>
            <a:p>
              <a:pPr algn="ctr" defTabSz="914099" fontAlgn="base">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Online </a:t>
              </a:r>
              <a:r>
                <a:rPr lang="en-US" sz="2000" dirty="0">
                  <a:gradFill>
                    <a:gsLst>
                      <a:gs pos="0">
                        <a:srgbClr val="FFFFFF"/>
                      </a:gs>
                      <a:gs pos="100000">
                        <a:srgbClr val="FFFFFF"/>
                      </a:gs>
                    </a:gsLst>
                    <a:lin ang="5400000" scaled="0"/>
                  </a:gradFill>
                  <a:ea typeface="Segoe UI" pitchFamily="34" charset="0"/>
                  <a:cs typeface="Segoe UI" pitchFamily="34" charset="0"/>
                </a:rPr>
                <a:t>versions </a:t>
              </a:r>
              <a:r>
                <a:rPr lang="en-US" sz="2000" dirty="0" smtClean="0">
                  <a:gradFill>
                    <a:gsLst>
                      <a:gs pos="0">
                        <a:srgbClr val="FFFFFF"/>
                      </a:gs>
                      <a:gs pos="100000">
                        <a:srgbClr val="FFFFFF"/>
                      </a:gs>
                    </a:gsLst>
                    <a:lin ang="5400000" scaled="0"/>
                  </a:gradFill>
                  <a:ea typeface="Segoe UI" pitchFamily="34" charset="0"/>
                  <a:cs typeface="Segoe UI" pitchFamily="34" charset="0"/>
                </a:rPr>
                <a:t>of Office—Word, Excel, OneNote and more </a:t>
              </a:r>
            </a:p>
            <a:p>
              <a:pPr algn="ctr" defTabSz="914099" fontAlgn="base">
                <a:spcBef>
                  <a:spcPct val="0"/>
                </a:spcBef>
                <a:spcAft>
                  <a:spcPct val="0"/>
                </a:spcAft>
              </a:pPr>
              <a:endParaRPr lang="en-US" sz="20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6" name="Rectangle 55"/>
            <p:cNvSpPr/>
            <p:nvPr/>
          </p:nvSpPr>
          <p:spPr bwMode="auto">
            <a:xfrm>
              <a:off x="7120036" y="4721582"/>
              <a:ext cx="4547998" cy="10489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1TB of OneDrive for Business storage</a:t>
              </a:r>
            </a:p>
          </p:txBody>
        </p:sp>
        <p:sp>
          <p:nvSpPr>
            <p:cNvPr id="57" name="Rectangle 56"/>
            <p:cNvSpPr/>
            <p:nvPr/>
          </p:nvSpPr>
          <p:spPr bwMode="auto">
            <a:xfrm>
              <a:off x="7126132" y="2482218"/>
              <a:ext cx="4547998" cy="104890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r>
                <a:rPr lang="en-US" sz="2000" dirty="0" smtClean="0"/>
                <a:t>Office for smartphones and Windows tablets and iPads®</a:t>
              </a:r>
              <a:endParaRPr lang="en-US" sz="2000" dirty="0" smtClean="0">
                <a:gradFill>
                  <a:gsLst>
                    <a:gs pos="0">
                      <a:srgbClr val="FFFFFF"/>
                    </a:gs>
                    <a:gs pos="100000">
                      <a:srgbClr val="FFFFFF"/>
                    </a:gs>
                  </a:gsLst>
                  <a:lin ang="5400000" scaled="0"/>
                </a:gradFill>
                <a:ea typeface="Segoe UI" pitchFamily="34" charset="0"/>
                <a:cs typeface="Segoe UI" pitchFamily="34" charset="0"/>
              </a:endParaRPr>
            </a:p>
          </p:txBody>
        </p:sp>
      </p:grpSp>
      <p:sp>
        <p:nvSpPr>
          <p:cNvPr id="52" name="Rounded Rectangle 114700"/>
          <p:cNvSpPr/>
          <p:nvPr/>
        </p:nvSpPr>
        <p:spPr>
          <a:xfrm>
            <a:off x="3020287" y="5206055"/>
            <a:ext cx="278106" cy="266602"/>
          </a:xfrm>
          <a:custGeom>
            <a:avLst/>
            <a:gdLst/>
            <a:ahLst/>
            <a:cxnLst/>
            <a:rect l="l" t="t" r="r" b="b"/>
            <a:pathLst>
              <a:path w="2838919" h="2721500">
                <a:moveTo>
                  <a:pt x="755934" y="1066300"/>
                </a:moveTo>
                <a:lnTo>
                  <a:pt x="828528" y="1066300"/>
                </a:lnTo>
                <a:cubicBezTo>
                  <a:pt x="888487" y="1066300"/>
                  <a:pt x="937094" y="1113745"/>
                  <a:pt x="937094" y="1172271"/>
                </a:cubicBezTo>
                <a:lnTo>
                  <a:pt x="937094" y="1247635"/>
                </a:lnTo>
                <a:cubicBezTo>
                  <a:pt x="937094" y="1306161"/>
                  <a:pt x="888487" y="1353606"/>
                  <a:pt x="828528" y="1353606"/>
                </a:cubicBezTo>
                <a:lnTo>
                  <a:pt x="755934" y="1353606"/>
                </a:lnTo>
                <a:lnTo>
                  <a:pt x="746066" y="1351662"/>
                </a:lnTo>
                <a:lnTo>
                  <a:pt x="746066" y="1068244"/>
                </a:lnTo>
                <a:cubicBezTo>
                  <a:pt x="749221" y="1066450"/>
                  <a:pt x="752560" y="1066300"/>
                  <a:pt x="755934" y="1066300"/>
                </a:cubicBezTo>
                <a:close/>
                <a:moveTo>
                  <a:pt x="879785" y="894374"/>
                </a:moveTo>
                <a:lnTo>
                  <a:pt x="586874" y="907109"/>
                </a:lnTo>
                <a:lnTo>
                  <a:pt x="586874" y="1830413"/>
                </a:lnTo>
                <a:lnTo>
                  <a:pt x="749249" y="1836781"/>
                </a:lnTo>
                <a:cubicBezTo>
                  <a:pt x="747127" y="1729593"/>
                  <a:pt x="748187" y="1625589"/>
                  <a:pt x="749249" y="1521584"/>
                </a:cubicBezTo>
                <a:lnTo>
                  <a:pt x="876601" y="1524769"/>
                </a:lnTo>
                <a:cubicBezTo>
                  <a:pt x="963624" y="1512033"/>
                  <a:pt x="1117509" y="1422887"/>
                  <a:pt x="1128122" y="1225491"/>
                </a:cubicBezTo>
                <a:cubicBezTo>
                  <a:pt x="1130245" y="916661"/>
                  <a:pt x="954074" y="893843"/>
                  <a:pt x="879785" y="894374"/>
                </a:cubicBezTo>
                <a:close/>
                <a:moveTo>
                  <a:pt x="1701763" y="726839"/>
                </a:moveTo>
                <a:lnTo>
                  <a:pt x="2482813" y="726839"/>
                </a:lnTo>
                <a:lnTo>
                  <a:pt x="2482813" y="2365139"/>
                </a:lnTo>
                <a:cubicBezTo>
                  <a:pt x="2482813" y="2396702"/>
                  <a:pt x="2457226" y="2422289"/>
                  <a:pt x="2425663" y="2422289"/>
                </a:cubicBezTo>
                <a:lnTo>
                  <a:pt x="1701763" y="2422289"/>
                </a:lnTo>
                <a:lnTo>
                  <a:pt x="1701763" y="2233377"/>
                </a:lnTo>
                <a:lnTo>
                  <a:pt x="2292701" y="2233377"/>
                </a:lnTo>
                <a:cubicBezTo>
                  <a:pt x="2297747" y="2233377"/>
                  <a:pt x="2301838" y="2229286"/>
                  <a:pt x="2301838" y="2224240"/>
                </a:cubicBezTo>
                <a:lnTo>
                  <a:pt x="2301838" y="2109164"/>
                </a:lnTo>
                <a:lnTo>
                  <a:pt x="2292701" y="2100027"/>
                </a:lnTo>
                <a:lnTo>
                  <a:pt x="1701763" y="2100027"/>
                </a:lnTo>
                <a:lnTo>
                  <a:pt x="1701763" y="1940483"/>
                </a:lnTo>
                <a:lnTo>
                  <a:pt x="2292701" y="1940483"/>
                </a:lnTo>
                <a:cubicBezTo>
                  <a:pt x="2297747" y="1940483"/>
                  <a:pt x="2301838" y="1936392"/>
                  <a:pt x="2301838" y="1931346"/>
                </a:cubicBezTo>
                <a:lnTo>
                  <a:pt x="2301838" y="1816270"/>
                </a:lnTo>
                <a:lnTo>
                  <a:pt x="2292701" y="1807133"/>
                </a:lnTo>
                <a:lnTo>
                  <a:pt x="1701763" y="1807133"/>
                </a:lnTo>
                <a:lnTo>
                  <a:pt x="1701763" y="1649970"/>
                </a:lnTo>
                <a:lnTo>
                  <a:pt x="2292701" y="1649970"/>
                </a:lnTo>
                <a:cubicBezTo>
                  <a:pt x="2297747" y="1649970"/>
                  <a:pt x="2301838" y="1645879"/>
                  <a:pt x="2301838" y="1640833"/>
                </a:cubicBezTo>
                <a:lnTo>
                  <a:pt x="2301838" y="1525757"/>
                </a:lnTo>
                <a:lnTo>
                  <a:pt x="2292701" y="1516620"/>
                </a:lnTo>
                <a:lnTo>
                  <a:pt x="1701763" y="1516620"/>
                </a:lnTo>
                <a:lnTo>
                  <a:pt x="1701763" y="1351405"/>
                </a:lnTo>
                <a:lnTo>
                  <a:pt x="2271764" y="1351405"/>
                </a:lnTo>
                <a:cubicBezTo>
                  <a:pt x="2288373" y="1351405"/>
                  <a:pt x="2301838" y="1337940"/>
                  <a:pt x="2301838" y="1321331"/>
                </a:cubicBezTo>
                <a:lnTo>
                  <a:pt x="2301838" y="942567"/>
                </a:lnTo>
                <a:cubicBezTo>
                  <a:pt x="2301838" y="925958"/>
                  <a:pt x="2288373" y="912493"/>
                  <a:pt x="2271764" y="912493"/>
                </a:cubicBezTo>
                <a:lnTo>
                  <a:pt x="1701763" y="912493"/>
                </a:lnTo>
                <a:close/>
                <a:moveTo>
                  <a:pt x="2148867" y="340282"/>
                </a:moveTo>
                <a:lnTo>
                  <a:pt x="2782339" y="340282"/>
                </a:lnTo>
                <a:cubicBezTo>
                  <a:pt x="2813587" y="340282"/>
                  <a:pt x="2838919" y="365614"/>
                  <a:pt x="2838919" y="396862"/>
                </a:cubicBezTo>
                <a:lnTo>
                  <a:pt x="2838919" y="1746742"/>
                </a:lnTo>
                <a:cubicBezTo>
                  <a:pt x="2838919" y="1777990"/>
                  <a:pt x="2813587" y="1803322"/>
                  <a:pt x="2782339" y="1803322"/>
                </a:cubicBezTo>
                <a:lnTo>
                  <a:pt x="2549487" y="1803322"/>
                </a:lnTo>
                <a:lnTo>
                  <a:pt x="2549487" y="676566"/>
                </a:lnTo>
                <a:lnTo>
                  <a:pt x="2092287" y="411727"/>
                </a:lnTo>
                <a:lnTo>
                  <a:pt x="2092287" y="396862"/>
                </a:lnTo>
                <a:cubicBezTo>
                  <a:pt x="2092287" y="365614"/>
                  <a:pt x="2117619" y="340282"/>
                  <a:pt x="2148867" y="340282"/>
                </a:cubicBezTo>
                <a:close/>
                <a:moveTo>
                  <a:pt x="1640484" y="0"/>
                </a:moveTo>
                <a:lnTo>
                  <a:pt x="1640484" y="2721500"/>
                </a:lnTo>
                <a:lnTo>
                  <a:pt x="0" y="2441635"/>
                </a:lnTo>
                <a:lnTo>
                  <a:pt x="0" y="282219"/>
                </a:lnTo>
                <a:close/>
              </a:path>
            </a:pathLst>
          </a:custGeom>
          <a:solidFill>
            <a:schemeClr val="bg1"/>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endParaRPr>
          </a:p>
        </p:txBody>
      </p:sp>
      <p:sp>
        <p:nvSpPr>
          <p:cNvPr id="59" name="TextBox 58"/>
          <p:cNvSpPr txBox="1"/>
          <p:nvPr/>
        </p:nvSpPr>
        <p:spPr>
          <a:xfrm>
            <a:off x="476802" y="311561"/>
            <a:ext cx="6127199" cy="1348061"/>
          </a:xfrm>
          <a:prstGeom prst="rect">
            <a:avLst/>
          </a:prstGeom>
          <a:noFill/>
        </p:spPr>
        <p:txBody>
          <a:bodyPr wrap="square" rtlCol="0">
            <a:spAutoFit/>
          </a:bodyPr>
          <a:lstStyle/>
          <a:p>
            <a:pPr>
              <a:lnSpc>
                <a:spcPct val="85000"/>
              </a:lnSpc>
            </a:pPr>
            <a:r>
              <a:rPr lang="en-US" sz="4800" spc="-100" dirty="0" smtClean="0">
                <a:solidFill>
                  <a:srgbClr val="0070C0"/>
                </a:solidFill>
                <a:latin typeface="Segoe UI Bold" panose="020B0802040204020203" pitchFamily="34" charset="0"/>
                <a:ea typeface="Segoe UI Bold" panose="020B0802040204020203" pitchFamily="34" charset="0"/>
                <a:cs typeface="Segoe UI Bold" panose="020B0802040204020203" pitchFamily="34" charset="0"/>
              </a:rPr>
              <a:t>Office 365 Business is your modern Office</a:t>
            </a:r>
          </a:p>
        </p:txBody>
      </p:sp>
      <p:grpSp>
        <p:nvGrpSpPr>
          <p:cNvPr id="4" name="Group 3"/>
          <p:cNvGrpSpPr/>
          <p:nvPr/>
        </p:nvGrpSpPr>
        <p:grpSpPr>
          <a:xfrm>
            <a:off x="787182" y="1548628"/>
            <a:ext cx="4466209" cy="4573330"/>
            <a:chOff x="655129" y="2092713"/>
            <a:chExt cx="4466209" cy="4573330"/>
          </a:xfrm>
        </p:grpSpPr>
        <p:grpSp>
          <p:nvGrpSpPr>
            <p:cNvPr id="23" name="Group 22"/>
            <p:cNvGrpSpPr/>
            <p:nvPr/>
          </p:nvGrpSpPr>
          <p:grpSpPr>
            <a:xfrm>
              <a:off x="655129" y="2092713"/>
              <a:ext cx="4466209" cy="4573330"/>
              <a:chOff x="5271651" y="948728"/>
              <a:chExt cx="5912030" cy="5879109"/>
            </a:xfrm>
          </p:grpSpPr>
          <p:sp>
            <p:nvSpPr>
              <p:cNvPr id="26" name="Rectangle 25"/>
              <p:cNvSpPr/>
              <p:nvPr/>
            </p:nvSpPr>
            <p:spPr>
              <a:xfrm>
                <a:off x="10083044" y="4473972"/>
                <a:ext cx="1042732" cy="188078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nvGrpSpPr>
              <p:cNvPr id="27" name="Group 26"/>
              <p:cNvGrpSpPr/>
              <p:nvPr/>
            </p:nvGrpSpPr>
            <p:grpSpPr>
              <a:xfrm>
                <a:off x="5271651" y="948728"/>
                <a:ext cx="5912030" cy="5879109"/>
                <a:chOff x="5794214" y="895702"/>
                <a:chExt cx="5083262" cy="5054962"/>
              </a:xfrm>
            </p:grpSpPr>
            <p:sp>
              <p:nvSpPr>
                <p:cNvPr id="28" name="Freeform 27"/>
                <p:cNvSpPr/>
                <p:nvPr/>
              </p:nvSpPr>
              <p:spPr>
                <a:xfrm rot="20277289">
                  <a:off x="6798552" y="3225680"/>
                  <a:ext cx="549546" cy="529952"/>
                </a:xfrm>
                <a:custGeom>
                  <a:avLst/>
                  <a:gdLst>
                    <a:gd name="connsiteX0" fmla="*/ 147901 w 547492"/>
                    <a:gd name="connsiteY0" fmla="*/ 159 h 547027"/>
                    <a:gd name="connsiteX1" fmla="*/ 164790 w 547492"/>
                    <a:gd name="connsiteY1" fmla="*/ 17385 h 547027"/>
                    <a:gd name="connsiteX2" fmla="*/ 257543 w 547492"/>
                    <a:gd name="connsiteY2" fmla="*/ 261873 h 547027"/>
                    <a:gd name="connsiteX3" fmla="*/ 531263 w 547492"/>
                    <a:gd name="connsiteY3" fmla="*/ 383096 h 547027"/>
                    <a:gd name="connsiteX4" fmla="*/ 533050 w 547492"/>
                    <a:gd name="connsiteY4" fmla="*/ 419093 h 547027"/>
                    <a:gd name="connsiteX5" fmla="*/ 234902 w 547492"/>
                    <a:gd name="connsiteY5" fmla="*/ 291210 h 547027"/>
                    <a:gd name="connsiteX6" fmla="*/ 130118 w 547492"/>
                    <a:gd name="connsiteY6" fmla="*/ 16219 h 547027"/>
                    <a:gd name="connsiteX7" fmla="*/ 147901 w 547492"/>
                    <a:gd name="connsiteY7" fmla="*/ 159 h 547027"/>
                    <a:gd name="connsiteX8" fmla="*/ 258593 w 547492"/>
                    <a:gd name="connsiteY8" fmla="*/ 83 h 547027"/>
                    <a:gd name="connsiteX9" fmla="*/ 276870 w 547492"/>
                    <a:gd name="connsiteY9" fmla="*/ 19473 h 547027"/>
                    <a:gd name="connsiteX10" fmla="*/ 342477 w 547492"/>
                    <a:gd name="connsiteY10" fmla="*/ 185830 h 547027"/>
                    <a:gd name="connsiteX11" fmla="*/ 529533 w 547492"/>
                    <a:gd name="connsiteY11" fmla="*/ 271534 h 547027"/>
                    <a:gd name="connsiteX12" fmla="*/ 529010 w 547492"/>
                    <a:gd name="connsiteY12" fmla="*/ 308769 h 547027"/>
                    <a:gd name="connsiteX13" fmla="*/ 319908 w 547492"/>
                    <a:gd name="connsiteY13" fmla="*/ 218161 h 547027"/>
                    <a:gd name="connsiteX14" fmla="*/ 241025 w 547492"/>
                    <a:gd name="connsiteY14" fmla="*/ 18615 h 547027"/>
                    <a:gd name="connsiteX15" fmla="*/ 258593 w 547492"/>
                    <a:gd name="connsiteY15" fmla="*/ 83 h 547027"/>
                    <a:gd name="connsiteX16" fmla="*/ 18843 w 547492"/>
                    <a:gd name="connsiteY16" fmla="*/ 10 h 547027"/>
                    <a:gd name="connsiteX17" fmla="*/ 37685 w 547492"/>
                    <a:gd name="connsiteY17" fmla="*/ 16302 h 547027"/>
                    <a:gd name="connsiteX18" fmla="*/ 164891 w 547492"/>
                    <a:gd name="connsiteY18" fmla="*/ 345340 h 547027"/>
                    <a:gd name="connsiteX19" fmla="*/ 531167 w 547492"/>
                    <a:gd name="connsiteY19" fmla="*/ 510082 h 547027"/>
                    <a:gd name="connsiteX20" fmla="*/ 528039 w 547492"/>
                    <a:gd name="connsiteY20" fmla="*/ 547022 h 547027"/>
                    <a:gd name="connsiteX21" fmla="*/ 139867 w 547492"/>
                    <a:gd name="connsiteY21" fmla="*/ 375130 h 547027"/>
                    <a:gd name="connsiteX22" fmla="*/ 0 w 547492"/>
                    <a:gd name="connsiteY22" fmla="*/ 15557 h 547027"/>
                    <a:gd name="connsiteX23" fmla="*/ 18843 w 547492"/>
                    <a:gd name="connsiteY23" fmla="*/ 10 h 547027"/>
                    <a:gd name="connsiteX24" fmla="*/ 361357 w 547492"/>
                    <a:gd name="connsiteY24" fmla="*/ 3 h 547027"/>
                    <a:gd name="connsiteX25" fmla="*/ 379427 w 547492"/>
                    <a:gd name="connsiteY25" fmla="*/ 22811 h 547027"/>
                    <a:gd name="connsiteX26" fmla="*/ 416799 w 547492"/>
                    <a:gd name="connsiteY26" fmla="*/ 121134 h 547027"/>
                    <a:gd name="connsiteX27" fmla="*/ 530986 w 547492"/>
                    <a:gd name="connsiteY27" fmla="*/ 167238 h 547027"/>
                    <a:gd name="connsiteX28" fmla="*/ 528863 w 547492"/>
                    <a:gd name="connsiteY28" fmla="*/ 205554 h 547027"/>
                    <a:gd name="connsiteX29" fmla="*/ 395749 w 547492"/>
                    <a:gd name="connsiteY29" fmla="*/ 150171 h 547027"/>
                    <a:gd name="connsiteX30" fmla="*/ 342870 w 547492"/>
                    <a:gd name="connsiteY30" fmla="*/ 38961 h 547027"/>
                    <a:gd name="connsiteX31" fmla="*/ 343296 w 547492"/>
                    <a:gd name="connsiteY31" fmla="*/ 21634 h 547027"/>
                    <a:gd name="connsiteX32" fmla="*/ 361357 w 547492"/>
                    <a:gd name="connsiteY32" fmla="*/ 3 h 547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547492" h="547027">
                      <a:moveTo>
                        <a:pt x="147901" y="159"/>
                      </a:moveTo>
                      <a:cubicBezTo>
                        <a:pt x="156233" y="1247"/>
                        <a:pt x="164417" y="7883"/>
                        <a:pt x="164790" y="17385"/>
                      </a:cubicBezTo>
                      <a:cubicBezTo>
                        <a:pt x="163504" y="123250"/>
                        <a:pt x="210481" y="208637"/>
                        <a:pt x="257543" y="261873"/>
                      </a:cubicBezTo>
                      <a:cubicBezTo>
                        <a:pt x="329801" y="345790"/>
                        <a:pt x="450493" y="385299"/>
                        <a:pt x="531263" y="383096"/>
                      </a:cubicBezTo>
                      <a:cubicBezTo>
                        <a:pt x="554755" y="384136"/>
                        <a:pt x="550415" y="419245"/>
                        <a:pt x="533050" y="419093"/>
                      </a:cubicBezTo>
                      <a:cubicBezTo>
                        <a:pt x="450691" y="419472"/>
                        <a:pt x="338455" y="398909"/>
                        <a:pt x="234902" y="291210"/>
                      </a:cubicBezTo>
                      <a:cubicBezTo>
                        <a:pt x="193363" y="241274"/>
                        <a:pt x="128927" y="167539"/>
                        <a:pt x="130118" y="16219"/>
                      </a:cubicBezTo>
                      <a:cubicBezTo>
                        <a:pt x="131087" y="3530"/>
                        <a:pt x="139569" y="-930"/>
                        <a:pt x="147901" y="159"/>
                      </a:cubicBezTo>
                      <a:close/>
                      <a:moveTo>
                        <a:pt x="258593" y="83"/>
                      </a:moveTo>
                      <a:cubicBezTo>
                        <a:pt x="267391" y="-753"/>
                        <a:pt x="276308" y="4730"/>
                        <a:pt x="276870" y="19473"/>
                      </a:cubicBezTo>
                      <a:cubicBezTo>
                        <a:pt x="277152" y="95057"/>
                        <a:pt x="309784" y="144239"/>
                        <a:pt x="342477" y="185830"/>
                      </a:cubicBezTo>
                      <a:cubicBezTo>
                        <a:pt x="395970" y="243463"/>
                        <a:pt x="472402" y="273156"/>
                        <a:pt x="529533" y="271534"/>
                      </a:cubicBezTo>
                      <a:cubicBezTo>
                        <a:pt x="554491" y="271108"/>
                        <a:pt x="552612" y="307689"/>
                        <a:pt x="529010" y="308769"/>
                      </a:cubicBezTo>
                      <a:cubicBezTo>
                        <a:pt x="463605" y="309049"/>
                        <a:pt x="394346" y="293904"/>
                        <a:pt x="319908" y="218161"/>
                      </a:cubicBezTo>
                      <a:cubicBezTo>
                        <a:pt x="290526" y="181384"/>
                        <a:pt x="240182" y="130058"/>
                        <a:pt x="241025" y="18615"/>
                      </a:cubicBezTo>
                      <a:cubicBezTo>
                        <a:pt x="241115" y="8077"/>
                        <a:pt x="249795" y="920"/>
                        <a:pt x="258593" y="83"/>
                      </a:cubicBezTo>
                      <a:close/>
                      <a:moveTo>
                        <a:pt x="18843" y="10"/>
                      </a:moveTo>
                      <a:cubicBezTo>
                        <a:pt x="28214" y="265"/>
                        <a:pt x="37586" y="5826"/>
                        <a:pt x="37685" y="16302"/>
                      </a:cubicBezTo>
                      <a:cubicBezTo>
                        <a:pt x="35997" y="154729"/>
                        <a:pt x="103125" y="275729"/>
                        <a:pt x="164891" y="345340"/>
                      </a:cubicBezTo>
                      <a:cubicBezTo>
                        <a:pt x="259725" y="455069"/>
                        <a:pt x="425162" y="512962"/>
                        <a:pt x="531167" y="510082"/>
                      </a:cubicBezTo>
                      <a:cubicBezTo>
                        <a:pt x="555744" y="509883"/>
                        <a:pt x="550829" y="547221"/>
                        <a:pt x="528039" y="547022"/>
                      </a:cubicBezTo>
                      <a:cubicBezTo>
                        <a:pt x="419949" y="547519"/>
                        <a:pt x="273429" y="516735"/>
                        <a:pt x="139867" y="375130"/>
                      </a:cubicBezTo>
                      <a:cubicBezTo>
                        <a:pt x="85350" y="312173"/>
                        <a:pt x="0" y="200955"/>
                        <a:pt x="0" y="15557"/>
                      </a:cubicBezTo>
                      <a:cubicBezTo>
                        <a:pt x="99" y="4808"/>
                        <a:pt x="9471" y="-244"/>
                        <a:pt x="18843" y="10"/>
                      </a:cubicBezTo>
                      <a:close/>
                      <a:moveTo>
                        <a:pt x="361357" y="3"/>
                      </a:moveTo>
                      <a:cubicBezTo>
                        <a:pt x="370360" y="-117"/>
                        <a:pt x="379364" y="7170"/>
                        <a:pt x="379427" y="22811"/>
                      </a:cubicBezTo>
                      <a:cubicBezTo>
                        <a:pt x="379608" y="73981"/>
                        <a:pt x="395801" y="92977"/>
                        <a:pt x="416799" y="121134"/>
                      </a:cubicBezTo>
                      <a:cubicBezTo>
                        <a:pt x="452945" y="158363"/>
                        <a:pt x="498462" y="168336"/>
                        <a:pt x="530986" y="167238"/>
                      </a:cubicBezTo>
                      <a:cubicBezTo>
                        <a:pt x="549400" y="166950"/>
                        <a:pt x="557131" y="203036"/>
                        <a:pt x="528863" y="205554"/>
                      </a:cubicBezTo>
                      <a:cubicBezTo>
                        <a:pt x="486854" y="205743"/>
                        <a:pt x="443561" y="201449"/>
                        <a:pt x="395749" y="150171"/>
                      </a:cubicBezTo>
                      <a:cubicBezTo>
                        <a:pt x="351991" y="102452"/>
                        <a:pt x="343809" y="62263"/>
                        <a:pt x="342870" y="38961"/>
                      </a:cubicBezTo>
                      <a:cubicBezTo>
                        <a:pt x="342557" y="31194"/>
                        <a:pt x="343049" y="25303"/>
                        <a:pt x="343296" y="21634"/>
                      </a:cubicBezTo>
                      <a:cubicBezTo>
                        <a:pt x="343354" y="7649"/>
                        <a:pt x="352355" y="122"/>
                        <a:pt x="361357" y="3"/>
                      </a:cubicBezTo>
                      <a:close/>
                    </a:path>
                  </a:pathLst>
                </a:custGeom>
                <a:solidFill>
                  <a:srgbClr val="0072C6"/>
                </a:solidFill>
                <a:ln w="25400" cap="flat" cmpd="sng" algn="ctr">
                  <a:noFill/>
                  <a:prstDash val="solid"/>
                </a:ln>
                <a:effectLst/>
              </p:spPr>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32316"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smtClean="0">
                    <a:ln>
                      <a:noFill/>
                    </a:ln>
                    <a:solidFill>
                      <a:srgbClr val="FFFFFF"/>
                    </a:solidFill>
                    <a:effectLst/>
                    <a:uLnTx/>
                    <a:uFillTx/>
                    <a:latin typeface="Segoe UI"/>
                    <a:ea typeface="+mn-ea"/>
                    <a:cs typeface="+mn-cs"/>
                  </a:endParaRPr>
                </a:p>
              </p:txBody>
            </p:sp>
            <p:sp>
              <p:nvSpPr>
                <p:cNvPr id="30" name="Freeform 29"/>
                <p:cNvSpPr/>
                <p:nvPr/>
              </p:nvSpPr>
              <p:spPr>
                <a:xfrm>
                  <a:off x="6850743" y="1262092"/>
                  <a:ext cx="3098307" cy="1816880"/>
                </a:xfrm>
                <a:custGeom>
                  <a:avLst/>
                  <a:gdLst>
                    <a:gd name="connsiteX0" fmla="*/ 1376883 w 2750296"/>
                    <a:gd name="connsiteY0" fmla="*/ 0 h 1612807"/>
                    <a:gd name="connsiteX1" fmla="*/ 1799707 w 2750296"/>
                    <a:gd name="connsiteY1" fmla="*/ 224814 h 1612807"/>
                    <a:gd name="connsiteX2" fmla="*/ 1825016 w 2750296"/>
                    <a:gd name="connsiteY2" fmla="*/ 271443 h 1612807"/>
                    <a:gd name="connsiteX3" fmla="*/ 1868906 w 2750296"/>
                    <a:gd name="connsiteY3" fmla="*/ 255379 h 1612807"/>
                    <a:gd name="connsiteX4" fmla="*/ 2020537 w 2750296"/>
                    <a:gd name="connsiteY4" fmla="*/ 232455 h 1612807"/>
                    <a:gd name="connsiteX5" fmla="*/ 2530445 w 2750296"/>
                    <a:gd name="connsiteY5" fmla="*/ 742363 h 1612807"/>
                    <a:gd name="connsiteX6" fmla="*/ 2525545 w 2750296"/>
                    <a:gd name="connsiteY6" fmla="*/ 807127 h 1612807"/>
                    <a:gd name="connsiteX7" fmla="*/ 2560705 w 2750296"/>
                    <a:gd name="connsiteY7" fmla="*/ 826212 h 1612807"/>
                    <a:gd name="connsiteX8" fmla="*/ 2750296 w 2750296"/>
                    <a:gd name="connsiteY8" fmla="*/ 1182789 h 1612807"/>
                    <a:gd name="connsiteX9" fmla="*/ 2320278 w 2750296"/>
                    <a:gd name="connsiteY9" fmla="*/ 1612807 h 1612807"/>
                    <a:gd name="connsiteX10" fmla="*/ 2301005 w 2750296"/>
                    <a:gd name="connsiteY10" fmla="*/ 1611834 h 1612807"/>
                    <a:gd name="connsiteX11" fmla="*/ 2291351 w 2750296"/>
                    <a:gd name="connsiteY11" fmla="*/ 1612807 h 1612807"/>
                    <a:gd name="connsiteX12" fmla="*/ 471704 w 2750296"/>
                    <a:gd name="connsiteY12" fmla="*/ 1612807 h 1612807"/>
                    <a:gd name="connsiteX13" fmla="*/ 463822 w 2750296"/>
                    <a:gd name="connsiteY13" fmla="*/ 1612807 h 1612807"/>
                    <a:gd name="connsiteX14" fmla="*/ 455911 w 2750296"/>
                    <a:gd name="connsiteY14" fmla="*/ 1612009 h 1612807"/>
                    <a:gd name="connsiteX15" fmla="*/ 423475 w 2750296"/>
                    <a:gd name="connsiteY15" fmla="*/ 1610372 h 1612807"/>
                    <a:gd name="connsiteX16" fmla="*/ 0 w 2750296"/>
                    <a:gd name="connsiteY16" fmla="*/ 1141103 h 1612807"/>
                    <a:gd name="connsiteX17" fmla="*/ 471704 w 2750296"/>
                    <a:gd name="connsiteY17" fmla="*/ 669399 h 1612807"/>
                    <a:gd name="connsiteX18" fmla="*/ 482257 w 2750296"/>
                    <a:gd name="connsiteY18" fmla="*/ 670065 h 1612807"/>
                    <a:gd name="connsiteX19" fmla="*/ 515059 w 2750296"/>
                    <a:gd name="connsiteY19" fmla="*/ 630308 h 1612807"/>
                    <a:gd name="connsiteX20" fmla="*/ 822482 w 2750296"/>
                    <a:gd name="connsiteY20" fmla="*/ 502969 h 1612807"/>
                    <a:gd name="connsiteX21" fmla="*/ 867276 w 2750296"/>
                    <a:gd name="connsiteY21" fmla="*/ 506922 h 1612807"/>
                    <a:gd name="connsiteX22" fmla="*/ 877335 w 2750296"/>
                    <a:gd name="connsiteY22" fmla="*/ 407144 h 1612807"/>
                    <a:gd name="connsiteX23" fmla="*/ 1376883 w 2750296"/>
                    <a:gd name="connsiteY23" fmla="*/ 0 h 161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750296" h="1612807">
                      <a:moveTo>
                        <a:pt x="1376883" y="0"/>
                      </a:moveTo>
                      <a:cubicBezTo>
                        <a:pt x="1552892" y="0"/>
                        <a:pt x="1708073" y="89177"/>
                        <a:pt x="1799707" y="224814"/>
                      </a:cubicBezTo>
                      <a:lnTo>
                        <a:pt x="1825016" y="271443"/>
                      </a:lnTo>
                      <a:lnTo>
                        <a:pt x="1868906" y="255379"/>
                      </a:lnTo>
                      <a:cubicBezTo>
                        <a:pt x="1916806" y="240481"/>
                        <a:pt x="1967734" y="232455"/>
                        <a:pt x="2020537" y="232455"/>
                      </a:cubicBezTo>
                      <a:cubicBezTo>
                        <a:pt x="2302151" y="232455"/>
                        <a:pt x="2530445" y="460749"/>
                        <a:pt x="2530445" y="742363"/>
                      </a:cubicBezTo>
                      <a:lnTo>
                        <a:pt x="2525545" y="807127"/>
                      </a:lnTo>
                      <a:lnTo>
                        <a:pt x="2560705" y="826212"/>
                      </a:lnTo>
                      <a:cubicBezTo>
                        <a:pt x="2675091" y="903489"/>
                        <a:pt x="2750296" y="1034356"/>
                        <a:pt x="2750296" y="1182789"/>
                      </a:cubicBezTo>
                      <a:cubicBezTo>
                        <a:pt x="2750296" y="1420282"/>
                        <a:pt x="2557771" y="1612807"/>
                        <a:pt x="2320278" y="1612807"/>
                      </a:cubicBezTo>
                      <a:lnTo>
                        <a:pt x="2301005" y="1611834"/>
                      </a:lnTo>
                      <a:lnTo>
                        <a:pt x="2291351" y="1612807"/>
                      </a:lnTo>
                      <a:lnTo>
                        <a:pt x="471704" y="1612807"/>
                      </a:lnTo>
                      <a:lnTo>
                        <a:pt x="463822" y="1612807"/>
                      </a:lnTo>
                      <a:lnTo>
                        <a:pt x="455911" y="1612009"/>
                      </a:lnTo>
                      <a:lnTo>
                        <a:pt x="423475" y="1610372"/>
                      </a:lnTo>
                      <a:cubicBezTo>
                        <a:pt x="185615" y="1586216"/>
                        <a:pt x="0" y="1385336"/>
                        <a:pt x="0" y="1141103"/>
                      </a:cubicBezTo>
                      <a:cubicBezTo>
                        <a:pt x="0" y="880588"/>
                        <a:pt x="211189" y="669399"/>
                        <a:pt x="471704" y="669399"/>
                      </a:cubicBezTo>
                      <a:lnTo>
                        <a:pt x="482257" y="670065"/>
                      </a:lnTo>
                      <a:lnTo>
                        <a:pt x="515059" y="630308"/>
                      </a:lnTo>
                      <a:cubicBezTo>
                        <a:pt x="593735" y="551632"/>
                        <a:pt x="702426" y="502969"/>
                        <a:pt x="822482" y="502969"/>
                      </a:cubicBezTo>
                      <a:lnTo>
                        <a:pt x="867276" y="506922"/>
                      </a:lnTo>
                      <a:lnTo>
                        <a:pt x="877335" y="407144"/>
                      </a:lnTo>
                      <a:cubicBezTo>
                        <a:pt x="924882" y="174787"/>
                        <a:pt x="1130470" y="0"/>
                        <a:pt x="1376883" y="0"/>
                      </a:cubicBezTo>
                      <a:close/>
                    </a:path>
                  </a:pathLst>
                </a:custGeom>
                <a:solidFill>
                  <a:srgbClr val="0072C6"/>
                </a:solidFill>
                <a:ln w="9525" cap="flat" cmpd="sng" algn="ctr">
                  <a:noFill/>
                  <a:prstDash val="solid"/>
                </a:ln>
                <a:effectLst/>
              </p:spPr>
              <p:txBody>
                <a:bodyPr rtlCol="0" anchor="ctr"/>
                <a:lstStyle/>
                <a:p>
                  <a:pPr marL="0" marR="0" lvl="0" indent="0" algn="ctr" defTabSz="914126"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smtClean="0">
                    <a:ln>
                      <a:noFill/>
                    </a:ln>
                    <a:solidFill>
                      <a:prstClr val="white"/>
                    </a:solidFill>
                    <a:effectLst/>
                    <a:uLnTx/>
                    <a:uFillTx/>
                    <a:latin typeface="Segoe UI"/>
                    <a:ea typeface="+mn-ea"/>
                    <a:cs typeface="+mn-cs"/>
                  </a:endParaRPr>
                </a:p>
              </p:txBody>
            </p:sp>
            <p:sp>
              <p:nvSpPr>
                <p:cNvPr id="32" name="Rectangle 79"/>
                <p:cNvSpPr/>
                <p:nvPr/>
              </p:nvSpPr>
              <p:spPr>
                <a:xfrm>
                  <a:off x="6247152" y="3884733"/>
                  <a:ext cx="1001630" cy="1697777"/>
                </a:xfrm>
                <a:custGeom>
                  <a:avLst/>
                  <a:gdLst/>
                  <a:ahLst/>
                  <a:cxnLst/>
                  <a:rect l="l" t="t" r="r" b="b"/>
                  <a:pathLst>
                    <a:path w="1407298" h="2385394">
                      <a:moveTo>
                        <a:pt x="703650" y="2179220"/>
                      </a:moveTo>
                      <a:cubicBezTo>
                        <a:pt x="660028" y="2179220"/>
                        <a:pt x="624666" y="2214582"/>
                        <a:pt x="624666" y="2258204"/>
                      </a:cubicBezTo>
                      <a:cubicBezTo>
                        <a:pt x="624666" y="2301826"/>
                        <a:pt x="660028" y="2337188"/>
                        <a:pt x="703650" y="2337188"/>
                      </a:cubicBezTo>
                      <a:cubicBezTo>
                        <a:pt x="747272" y="2337188"/>
                        <a:pt x="782634" y="2301826"/>
                        <a:pt x="782634" y="2258204"/>
                      </a:cubicBezTo>
                      <a:cubicBezTo>
                        <a:pt x="782634" y="2214582"/>
                        <a:pt x="747272" y="2179220"/>
                        <a:pt x="703650" y="2179220"/>
                      </a:cubicBezTo>
                      <a:close/>
                      <a:moveTo>
                        <a:pt x="177553" y="179867"/>
                      </a:moveTo>
                      <a:lnTo>
                        <a:pt x="172551" y="180877"/>
                      </a:lnTo>
                      <a:lnTo>
                        <a:pt x="165667" y="180877"/>
                      </a:lnTo>
                      <a:cubicBezTo>
                        <a:pt x="144630" y="180877"/>
                        <a:pt x="127577" y="197930"/>
                        <a:pt x="127577" y="218967"/>
                      </a:cubicBezTo>
                      <a:lnTo>
                        <a:pt x="127577" y="2097793"/>
                      </a:lnTo>
                      <a:cubicBezTo>
                        <a:pt x="127577" y="2118830"/>
                        <a:pt x="144630" y="2135883"/>
                        <a:pt x="165667" y="2135883"/>
                      </a:cubicBezTo>
                      <a:lnTo>
                        <a:pt x="1241631" y="2135883"/>
                      </a:lnTo>
                      <a:cubicBezTo>
                        <a:pt x="1262668" y="2135883"/>
                        <a:pt x="1279721" y="2118830"/>
                        <a:pt x="1279721" y="2097793"/>
                      </a:cubicBezTo>
                      <a:lnTo>
                        <a:pt x="1279721" y="218967"/>
                      </a:lnTo>
                      <a:cubicBezTo>
                        <a:pt x="1279721" y="197930"/>
                        <a:pt x="1262668" y="180877"/>
                        <a:pt x="1241631" y="180877"/>
                      </a:cubicBezTo>
                      <a:lnTo>
                        <a:pt x="1234749" y="180877"/>
                      </a:lnTo>
                      <a:cubicBezTo>
                        <a:pt x="1233161" y="179963"/>
                        <a:pt x="1231465" y="179867"/>
                        <a:pt x="1229746" y="179867"/>
                      </a:cubicBezTo>
                      <a:close/>
                      <a:moveTo>
                        <a:pt x="602415" y="56498"/>
                      </a:moveTo>
                      <a:cubicBezTo>
                        <a:pt x="588290" y="56498"/>
                        <a:pt x="576839" y="67949"/>
                        <a:pt x="576839" y="82074"/>
                      </a:cubicBezTo>
                      <a:cubicBezTo>
                        <a:pt x="576839" y="96199"/>
                        <a:pt x="588290" y="107650"/>
                        <a:pt x="602415" y="107650"/>
                      </a:cubicBezTo>
                      <a:lnTo>
                        <a:pt x="804884" y="107650"/>
                      </a:lnTo>
                      <a:cubicBezTo>
                        <a:pt x="819009" y="107650"/>
                        <a:pt x="830460" y="96199"/>
                        <a:pt x="830460" y="82074"/>
                      </a:cubicBezTo>
                      <a:cubicBezTo>
                        <a:pt x="830460" y="67949"/>
                        <a:pt x="819009" y="56498"/>
                        <a:pt x="804884" y="56498"/>
                      </a:cubicBezTo>
                      <a:close/>
                      <a:moveTo>
                        <a:pt x="76685" y="0"/>
                      </a:moveTo>
                      <a:lnTo>
                        <a:pt x="1330614" y="0"/>
                      </a:lnTo>
                      <a:cubicBezTo>
                        <a:pt x="1372966" y="0"/>
                        <a:pt x="1407298" y="34333"/>
                        <a:pt x="1407298" y="76684"/>
                      </a:cubicBezTo>
                      <a:lnTo>
                        <a:pt x="1407298" y="1757263"/>
                      </a:lnTo>
                      <a:lnTo>
                        <a:pt x="1407298" y="1766789"/>
                      </a:lnTo>
                      <a:lnTo>
                        <a:pt x="1407298" y="2308710"/>
                      </a:lnTo>
                      <a:cubicBezTo>
                        <a:pt x="1407298" y="2351061"/>
                        <a:pt x="1372966" y="2385394"/>
                        <a:pt x="1330614" y="2385394"/>
                      </a:cubicBezTo>
                      <a:lnTo>
                        <a:pt x="76685" y="2385394"/>
                      </a:lnTo>
                      <a:cubicBezTo>
                        <a:pt x="34333" y="2385394"/>
                        <a:pt x="0" y="2351061"/>
                        <a:pt x="0" y="2308710"/>
                      </a:cubicBezTo>
                      <a:lnTo>
                        <a:pt x="0" y="1766789"/>
                      </a:lnTo>
                      <a:lnTo>
                        <a:pt x="0" y="1757263"/>
                      </a:lnTo>
                      <a:lnTo>
                        <a:pt x="0" y="76684"/>
                      </a:lnTo>
                      <a:cubicBezTo>
                        <a:pt x="0" y="34333"/>
                        <a:pt x="34333" y="0"/>
                        <a:pt x="76685" y="0"/>
                      </a:cubicBezTo>
                      <a:close/>
                    </a:path>
                  </a:pathLst>
                </a:custGeom>
                <a:solidFill>
                  <a:srgbClr val="0072C6"/>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316"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dirty="0" smtClean="0">
                    <a:ln>
                      <a:noFill/>
                    </a:ln>
                    <a:solidFill>
                      <a:srgbClr val="FFFFFF"/>
                    </a:solidFill>
                    <a:effectLst/>
                    <a:uLnTx/>
                    <a:uFillTx/>
                    <a:latin typeface="Segoe UI"/>
                    <a:ea typeface="+mn-ea"/>
                    <a:cs typeface="+mn-cs"/>
                  </a:endParaRPr>
                </a:p>
              </p:txBody>
            </p:sp>
            <p:sp>
              <p:nvSpPr>
                <p:cNvPr id="35" name="Rectangle 79"/>
                <p:cNvSpPr/>
                <p:nvPr/>
              </p:nvSpPr>
              <p:spPr>
                <a:xfrm>
                  <a:off x="9895654" y="3879680"/>
                  <a:ext cx="981822" cy="1664208"/>
                </a:xfrm>
                <a:custGeom>
                  <a:avLst/>
                  <a:gdLst/>
                  <a:ahLst/>
                  <a:cxnLst/>
                  <a:rect l="l" t="t" r="r" b="b"/>
                  <a:pathLst>
                    <a:path w="1407298" h="2385394">
                      <a:moveTo>
                        <a:pt x="703650" y="2179220"/>
                      </a:moveTo>
                      <a:cubicBezTo>
                        <a:pt x="660028" y="2179220"/>
                        <a:pt x="624666" y="2214582"/>
                        <a:pt x="624666" y="2258204"/>
                      </a:cubicBezTo>
                      <a:cubicBezTo>
                        <a:pt x="624666" y="2301826"/>
                        <a:pt x="660028" y="2337188"/>
                        <a:pt x="703650" y="2337188"/>
                      </a:cubicBezTo>
                      <a:cubicBezTo>
                        <a:pt x="747272" y="2337188"/>
                        <a:pt x="782634" y="2301826"/>
                        <a:pt x="782634" y="2258204"/>
                      </a:cubicBezTo>
                      <a:cubicBezTo>
                        <a:pt x="782634" y="2214582"/>
                        <a:pt x="747272" y="2179220"/>
                        <a:pt x="703650" y="2179220"/>
                      </a:cubicBezTo>
                      <a:close/>
                      <a:moveTo>
                        <a:pt x="177553" y="179867"/>
                      </a:moveTo>
                      <a:lnTo>
                        <a:pt x="172551" y="180877"/>
                      </a:lnTo>
                      <a:lnTo>
                        <a:pt x="165667" y="180877"/>
                      </a:lnTo>
                      <a:cubicBezTo>
                        <a:pt x="144630" y="180877"/>
                        <a:pt x="127577" y="197930"/>
                        <a:pt x="127577" y="218967"/>
                      </a:cubicBezTo>
                      <a:lnTo>
                        <a:pt x="127577" y="2097793"/>
                      </a:lnTo>
                      <a:cubicBezTo>
                        <a:pt x="127577" y="2118830"/>
                        <a:pt x="144630" y="2135883"/>
                        <a:pt x="165667" y="2135883"/>
                      </a:cubicBezTo>
                      <a:lnTo>
                        <a:pt x="1241631" y="2135883"/>
                      </a:lnTo>
                      <a:cubicBezTo>
                        <a:pt x="1262668" y="2135883"/>
                        <a:pt x="1279721" y="2118830"/>
                        <a:pt x="1279721" y="2097793"/>
                      </a:cubicBezTo>
                      <a:lnTo>
                        <a:pt x="1279721" y="218967"/>
                      </a:lnTo>
                      <a:cubicBezTo>
                        <a:pt x="1279721" y="197930"/>
                        <a:pt x="1262668" y="180877"/>
                        <a:pt x="1241631" y="180877"/>
                      </a:cubicBezTo>
                      <a:lnTo>
                        <a:pt x="1234749" y="180877"/>
                      </a:lnTo>
                      <a:cubicBezTo>
                        <a:pt x="1233161" y="179963"/>
                        <a:pt x="1231465" y="179867"/>
                        <a:pt x="1229746" y="179867"/>
                      </a:cubicBezTo>
                      <a:close/>
                      <a:moveTo>
                        <a:pt x="602415" y="56498"/>
                      </a:moveTo>
                      <a:cubicBezTo>
                        <a:pt x="588290" y="56498"/>
                        <a:pt x="576839" y="67949"/>
                        <a:pt x="576839" y="82074"/>
                      </a:cubicBezTo>
                      <a:cubicBezTo>
                        <a:pt x="576839" y="96199"/>
                        <a:pt x="588290" y="107650"/>
                        <a:pt x="602415" y="107650"/>
                      </a:cubicBezTo>
                      <a:lnTo>
                        <a:pt x="804884" y="107650"/>
                      </a:lnTo>
                      <a:cubicBezTo>
                        <a:pt x="819009" y="107650"/>
                        <a:pt x="830460" y="96199"/>
                        <a:pt x="830460" y="82074"/>
                      </a:cubicBezTo>
                      <a:cubicBezTo>
                        <a:pt x="830460" y="67949"/>
                        <a:pt x="819009" y="56498"/>
                        <a:pt x="804884" y="56498"/>
                      </a:cubicBezTo>
                      <a:close/>
                      <a:moveTo>
                        <a:pt x="76685" y="0"/>
                      </a:moveTo>
                      <a:lnTo>
                        <a:pt x="1330614" y="0"/>
                      </a:lnTo>
                      <a:cubicBezTo>
                        <a:pt x="1372966" y="0"/>
                        <a:pt x="1407298" y="34333"/>
                        <a:pt x="1407298" y="76684"/>
                      </a:cubicBezTo>
                      <a:lnTo>
                        <a:pt x="1407298" y="1757263"/>
                      </a:lnTo>
                      <a:lnTo>
                        <a:pt x="1407298" y="1766789"/>
                      </a:lnTo>
                      <a:lnTo>
                        <a:pt x="1407298" y="2308710"/>
                      </a:lnTo>
                      <a:cubicBezTo>
                        <a:pt x="1407298" y="2351061"/>
                        <a:pt x="1372966" y="2385394"/>
                        <a:pt x="1330614" y="2385394"/>
                      </a:cubicBezTo>
                      <a:lnTo>
                        <a:pt x="76685" y="2385394"/>
                      </a:lnTo>
                      <a:cubicBezTo>
                        <a:pt x="34333" y="2385394"/>
                        <a:pt x="0" y="2351061"/>
                        <a:pt x="0" y="2308710"/>
                      </a:cubicBezTo>
                      <a:lnTo>
                        <a:pt x="0" y="1766789"/>
                      </a:lnTo>
                      <a:lnTo>
                        <a:pt x="0" y="1757263"/>
                      </a:lnTo>
                      <a:lnTo>
                        <a:pt x="0" y="76684"/>
                      </a:lnTo>
                      <a:cubicBezTo>
                        <a:pt x="0" y="34333"/>
                        <a:pt x="34333" y="0"/>
                        <a:pt x="76685" y="0"/>
                      </a:cubicBezTo>
                      <a:close/>
                    </a:path>
                  </a:pathLst>
                </a:custGeom>
                <a:solidFill>
                  <a:srgbClr val="68217A"/>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7" name="Group 36"/>
                <p:cNvGrpSpPr/>
                <p:nvPr/>
              </p:nvGrpSpPr>
              <p:grpSpPr>
                <a:xfrm rot="17515943">
                  <a:off x="6424305" y="5026760"/>
                  <a:ext cx="1001773" cy="846036"/>
                  <a:chOff x="5449638" y="4347825"/>
                  <a:chExt cx="581309" cy="490938"/>
                </a:xfrm>
              </p:grpSpPr>
              <p:sp>
                <p:nvSpPr>
                  <p:cNvPr id="47" name="Freeform 7"/>
                  <p:cNvSpPr>
                    <a:spLocks/>
                  </p:cNvSpPr>
                  <p:nvPr/>
                </p:nvSpPr>
                <p:spPr bwMode="auto">
                  <a:xfrm rot="350675" flipH="1">
                    <a:off x="5449638" y="4533307"/>
                    <a:ext cx="300336" cy="305456"/>
                  </a:xfrm>
                  <a:custGeom>
                    <a:avLst/>
                    <a:gdLst>
                      <a:gd name="T0" fmla="*/ 176 w 176"/>
                      <a:gd name="T1" fmla="*/ 84 h 179"/>
                      <a:gd name="T2" fmla="*/ 81 w 176"/>
                      <a:gd name="T3" fmla="*/ 179 h 179"/>
                      <a:gd name="T4" fmla="*/ 0 w 176"/>
                      <a:gd name="T5" fmla="*/ 95 h 179"/>
                      <a:gd name="T6" fmla="*/ 94 w 176"/>
                      <a:gd name="T7" fmla="*/ 0 h 179"/>
                      <a:gd name="T8" fmla="*/ 176 w 176"/>
                      <a:gd name="T9" fmla="*/ 84 h 179"/>
                    </a:gdLst>
                    <a:ahLst/>
                    <a:cxnLst>
                      <a:cxn ang="0">
                        <a:pos x="T0" y="T1"/>
                      </a:cxn>
                      <a:cxn ang="0">
                        <a:pos x="T2" y="T3"/>
                      </a:cxn>
                      <a:cxn ang="0">
                        <a:pos x="T4" y="T5"/>
                      </a:cxn>
                      <a:cxn ang="0">
                        <a:pos x="T6" y="T7"/>
                      </a:cxn>
                      <a:cxn ang="0">
                        <a:pos x="T8" y="T9"/>
                      </a:cxn>
                    </a:cxnLst>
                    <a:rect l="0" t="0" r="r" b="b"/>
                    <a:pathLst>
                      <a:path w="176" h="179">
                        <a:moveTo>
                          <a:pt x="176" y="84"/>
                        </a:moveTo>
                        <a:lnTo>
                          <a:pt x="81" y="179"/>
                        </a:lnTo>
                        <a:lnTo>
                          <a:pt x="0" y="95"/>
                        </a:lnTo>
                        <a:lnTo>
                          <a:pt x="94" y="0"/>
                        </a:lnTo>
                        <a:lnTo>
                          <a:pt x="176" y="84"/>
                        </a:lnTo>
                        <a:close/>
                      </a:path>
                    </a:pathLst>
                  </a:custGeom>
                  <a:solidFill>
                    <a:srgbClr val="44235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316"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dirty="0" smtClean="0">
                      <a:ln>
                        <a:noFill/>
                      </a:ln>
                      <a:solidFill>
                        <a:srgbClr val="000000"/>
                      </a:solidFill>
                      <a:effectLst/>
                      <a:uLnTx/>
                      <a:uFillTx/>
                    </a:endParaRPr>
                  </a:p>
                </p:txBody>
              </p:sp>
              <p:sp>
                <p:nvSpPr>
                  <p:cNvPr id="48" name="Freeform 8"/>
                  <p:cNvSpPr>
                    <a:spLocks/>
                  </p:cNvSpPr>
                  <p:nvPr/>
                </p:nvSpPr>
                <p:spPr bwMode="auto">
                  <a:xfrm rot="350675" flipH="1">
                    <a:off x="5631637" y="4347825"/>
                    <a:ext cx="399310" cy="342998"/>
                  </a:xfrm>
                  <a:custGeom>
                    <a:avLst/>
                    <a:gdLst>
                      <a:gd name="T0" fmla="*/ 137 w 198"/>
                      <a:gd name="T1" fmla="*/ 30 h 170"/>
                      <a:gd name="T2" fmla="*/ 91 w 198"/>
                      <a:gd name="T3" fmla="*/ 23 h 170"/>
                      <a:gd name="T4" fmla="*/ 91 w 198"/>
                      <a:gd name="T5" fmla="*/ 23 h 170"/>
                      <a:gd name="T6" fmla="*/ 90 w 198"/>
                      <a:gd name="T7" fmla="*/ 23 h 170"/>
                      <a:gd name="T8" fmla="*/ 87 w 198"/>
                      <a:gd name="T9" fmla="*/ 26 h 170"/>
                      <a:gd name="T10" fmla="*/ 60 w 198"/>
                      <a:gd name="T11" fmla="*/ 43 h 170"/>
                      <a:gd name="T12" fmla="*/ 23 w 198"/>
                      <a:gd name="T13" fmla="*/ 6 h 170"/>
                      <a:gd name="T14" fmla="*/ 5 w 198"/>
                      <a:gd name="T15" fmla="*/ 5 h 170"/>
                      <a:gd name="T16" fmla="*/ 6 w 198"/>
                      <a:gd name="T17" fmla="*/ 23 h 170"/>
                      <a:gd name="T18" fmla="*/ 62 w 198"/>
                      <a:gd name="T19" fmla="*/ 80 h 170"/>
                      <a:gd name="T20" fmla="*/ 63 w 198"/>
                      <a:gd name="T21" fmla="*/ 114 h 170"/>
                      <a:gd name="T22" fmla="*/ 101 w 198"/>
                      <a:gd name="T23" fmla="*/ 152 h 170"/>
                      <a:gd name="T24" fmla="*/ 125 w 198"/>
                      <a:gd name="T25" fmla="*/ 152 h 170"/>
                      <a:gd name="T26" fmla="*/ 143 w 198"/>
                      <a:gd name="T27" fmla="*/ 170 h 170"/>
                      <a:gd name="T28" fmla="*/ 198 w 198"/>
                      <a:gd name="T29" fmla="*/ 115 h 170"/>
                      <a:gd name="T30" fmla="*/ 180 w 198"/>
                      <a:gd name="T31" fmla="*/ 97 h 170"/>
                      <a:gd name="T32" fmla="*/ 180 w 198"/>
                      <a:gd name="T33" fmla="*/ 72 h 170"/>
                      <a:gd name="T34" fmla="*/ 138 w 198"/>
                      <a:gd name="T35" fmla="*/ 31 h 170"/>
                      <a:gd name="T36" fmla="*/ 138 w 198"/>
                      <a:gd name="T37" fmla="*/ 31 h 170"/>
                      <a:gd name="T38" fmla="*/ 137 w 198"/>
                      <a:gd name="T39" fmla="*/ 3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8" h="170">
                        <a:moveTo>
                          <a:pt x="137" y="30"/>
                        </a:moveTo>
                        <a:cubicBezTo>
                          <a:pt x="125" y="17"/>
                          <a:pt x="106" y="15"/>
                          <a:pt x="91" y="23"/>
                        </a:cubicBezTo>
                        <a:cubicBezTo>
                          <a:pt x="91" y="23"/>
                          <a:pt x="91" y="23"/>
                          <a:pt x="91" y="23"/>
                        </a:cubicBezTo>
                        <a:cubicBezTo>
                          <a:pt x="90" y="23"/>
                          <a:pt x="90" y="23"/>
                          <a:pt x="90" y="23"/>
                        </a:cubicBezTo>
                        <a:cubicBezTo>
                          <a:pt x="89" y="24"/>
                          <a:pt x="88" y="25"/>
                          <a:pt x="87" y="26"/>
                        </a:cubicBezTo>
                        <a:cubicBezTo>
                          <a:pt x="60" y="43"/>
                          <a:pt x="60" y="43"/>
                          <a:pt x="60" y="43"/>
                        </a:cubicBezTo>
                        <a:cubicBezTo>
                          <a:pt x="23" y="6"/>
                          <a:pt x="23" y="6"/>
                          <a:pt x="23" y="6"/>
                        </a:cubicBezTo>
                        <a:cubicBezTo>
                          <a:pt x="18" y="1"/>
                          <a:pt x="10" y="0"/>
                          <a:pt x="5" y="5"/>
                        </a:cubicBezTo>
                        <a:cubicBezTo>
                          <a:pt x="0" y="10"/>
                          <a:pt x="0" y="18"/>
                          <a:pt x="6" y="23"/>
                        </a:cubicBezTo>
                        <a:cubicBezTo>
                          <a:pt x="62" y="80"/>
                          <a:pt x="62" y="80"/>
                          <a:pt x="62" y="80"/>
                        </a:cubicBezTo>
                        <a:cubicBezTo>
                          <a:pt x="53" y="89"/>
                          <a:pt x="54" y="104"/>
                          <a:pt x="63" y="114"/>
                        </a:cubicBezTo>
                        <a:cubicBezTo>
                          <a:pt x="101" y="152"/>
                          <a:pt x="101" y="152"/>
                          <a:pt x="101" y="152"/>
                        </a:cubicBezTo>
                        <a:cubicBezTo>
                          <a:pt x="108" y="158"/>
                          <a:pt x="119" y="158"/>
                          <a:pt x="125" y="152"/>
                        </a:cubicBezTo>
                        <a:cubicBezTo>
                          <a:pt x="143" y="170"/>
                          <a:pt x="143" y="170"/>
                          <a:pt x="143" y="170"/>
                        </a:cubicBezTo>
                        <a:cubicBezTo>
                          <a:pt x="198" y="115"/>
                          <a:pt x="198" y="115"/>
                          <a:pt x="198" y="115"/>
                        </a:cubicBezTo>
                        <a:cubicBezTo>
                          <a:pt x="180" y="97"/>
                          <a:pt x="180" y="97"/>
                          <a:pt x="180" y="97"/>
                        </a:cubicBezTo>
                        <a:cubicBezTo>
                          <a:pt x="187" y="90"/>
                          <a:pt x="187" y="79"/>
                          <a:pt x="180" y="72"/>
                        </a:cubicBezTo>
                        <a:cubicBezTo>
                          <a:pt x="138" y="31"/>
                          <a:pt x="138" y="31"/>
                          <a:pt x="138" y="31"/>
                        </a:cubicBezTo>
                        <a:cubicBezTo>
                          <a:pt x="138" y="31"/>
                          <a:pt x="138" y="31"/>
                          <a:pt x="138" y="31"/>
                        </a:cubicBezTo>
                        <a:cubicBezTo>
                          <a:pt x="138" y="30"/>
                          <a:pt x="137" y="30"/>
                          <a:pt x="137" y="30"/>
                        </a:cubicBezTo>
                        <a:close/>
                      </a:path>
                    </a:pathLst>
                  </a:custGeom>
                  <a:solidFill>
                    <a:srgbClr val="FF8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316"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dirty="0" smtClean="0">
                      <a:ln>
                        <a:noFill/>
                      </a:ln>
                      <a:solidFill>
                        <a:srgbClr val="000000"/>
                      </a:solidFill>
                      <a:effectLst/>
                      <a:uLnTx/>
                      <a:uFillTx/>
                    </a:endParaRPr>
                  </a:p>
                </p:txBody>
              </p:sp>
            </p:grpSp>
            <p:sp>
              <p:nvSpPr>
                <p:cNvPr id="38" name="Freeform 37"/>
                <p:cNvSpPr/>
                <p:nvPr/>
              </p:nvSpPr>
              <p:spPr>
                <a:xfrm rot="18850785">
                  <a:off x="8280114" y="3261407"/>
                  <a:ext cx="549546" cy="529951"/>
                </a:xfrm>
                <a:custGeom>
                  <a:avLst/>
                  <a:gdLst>
                    <a:gd name="connsiteX0" fmla="*/ 147901 w 547492"/>
                    <a:gd name="connsiteY0" fmla="*/ 159 h 547027"/>
                    <a:gd name="connsiteX1" fmla="*/ 164790 w 547492"/>
                    <a:gd name="connsiteY1" fmla="*/ 17385 h 547027"/>
                    <a:gd name="connsiteX2" fmla="*/ 257543 w 547492"/>
                    <a:gd name="connsiteY2" fmla="*/ 261873 h 547027"/>
                    <a:gd name="connsiteX3" fmla="*/ 531263 w 547492"/>
                    <a:gd name="connsiteY3" fmla="*/ 383096 h 547027"/>
                    <a:gd name="connsiteX4" fmla="*/ 533050 w 547492"/>
                    <a:gd name="connsiteY4" fmla="*/ 419093 h 547027"/>
                    <a:gd name="connsiteX5" fmla="*/ 234902 w 547492"/>
                    <a:gd name="connsiteY5" fmla="*/ 291210 h 547027"/>
                    <a:gd name="connsiteX6" fmla="*/ 130118 w 547492"/>
                    <a:gd name="connsiteY6" fmla="*/ 16219 h 547027"/>
                    <a:gd name="connsiteX7" fmla="*/ 147901 w 547492"/>
                    <a:gd name="connsiteY7" fmla="*/ 159 h 547027"/>
                    <a:gd name="connsiteX8" fmla="*/ 258593 w 547492"/>
                    <a:gd name="connsiteY8" fmla="*/ 83 h 547027"/>
                    <a:gd name="connsiteX9" fmla="*/ 276870 w 547492"/>
                    <a:gd name="connsiteY9" fmla="*/ 19473 h 547027"/>
                    <a:gd name="connsiteX10" fmla="*/ 342477 w 547492"/>
                    <a:gd name="connsiteY10" fmla="*/ 185830 h 547027"/>
                    <a:gd name="connsiteX11" fmla="*/ 529533 w 547492"/>
                    <a:gd name="connsiteY11" fmla="*/ 271534 h 547027"/>
                    <a:gd name="connsiteX12" fmla="*/ 529010 w 547492"/>
                    <a:gd name="connsiteY12" fmla="*/ 308769 h 547027"/>
                    <a:gd name="connsiteX13" fmla="*/ 319908 w 547492"/>
                    <a:gd name="connsiteY13" fmla="*/ 218161 h 547027"/>
                    <a:gd name="connsiteX14" fmla="*/ 241025 w 547492"/>
                    <a:gd name="connsiteY14" fmla="*/ 18615 h 547027"/>
                    <a:gd name="connsiteX15" fmla="*/ 258593 w 547492"/>
                    <a:gd name="connsiteY15" fmla="*/ 83 h 547027"/>
                    <a:gd name="connsiteX16" fmla="*/ 18843 w 547492"/>
                    <a:gd name="connsiteY16" fmla="*/ 10 h 547027"/>
                    <a:gd name="connsiteX17" fmla="*/ 37685 w 547492"/>
                    <a:gd name="connsiteY17" fmla="*/ 16302 h 547027"/>
                    <a:gd name="connsiteX18" fmla="*/ 164891 w 547492"/>
                    <a:gd name="connsiteY18" fmla="*/ 345340 h 547027"/>
                    <a:gd name="connsiteX19" fmla="*/ 531167 w 547492"/>
                    <a:gd name="connsiteY19" fmla="*/ 510082 h 547027"/>
                    <a:gd name="connsiteX20" fmla="*/ 528039 w 547492"/>
                    <a:gd name="connsiteY20" fmla="*/ 547022 h 547027"/>
                    <a:gd name="connsiteX21" fmla="*/ 139867 w 547492"/>
                    <a:gd name="connsiteY21" fmla="*/ 375130 h 547027"/>
                    <a:gd name="connsiteX22" fmla="*/ 0 w 547492"/>
                    <a:gd name="connsiteY22" fmla="*/ 15557 h 547027"/>
                    <a:gd name="connsiteX23" fmla="*/ 18843 w 547492"/>
                    <a:gd name="connsiteY23" fmla="*/ 10 h 547027"/>
                    <a:gd name="connsiteX24" fmla="*/ 361357 w 547492"/>
                    <a:gd name="connsiteY24" fmla="*/ 3 h 547027"/>
                    <a:gd name="connsiteX25" fmla="*/ 379427 w 547492"/>
                    <a:gd name="connsiteY25" fmla="*/ 22811 h 547027"/>
                    <a:gd name="connsiteX26" fmla="*/ 416799 w 547492"/>
                    <a:gd name="connsiteY26" fmla="*/ 121134 h 547027"/>
                    <a:gd name="connsiteX27" fmla="*/ 530986 w 547492"/>
                    <a:gd name="connsiteY27" fmla="*/ 167238 h 547027"/>
                    <a:gd name="connsiteX28" fmla="*/ 528863 w 547492"/>
                    <a:gd name="connsiteY28" fmla="*/ 205554 h 547027"/>
                    <a:gd name="connsiteX29" fmla="*/ 395749 w 547492"/>
                    <a:gd name="connsiteY29" fmla="*/ 150171 h 547027"/>
                    <a:gd name="connsiteX30" fmla="*/ 342870 w 547492"/>
                    <a:gd name="connsiteY30" fmla="*/ 38961 h 547027"/>
                    <a:gd name="connsiteX31" fmla="*/ 343296 w 547492"/>
                    <a:gd name="connsiteY31" fmla="*/ 21634 h 547027"/>
                    <a:gd name="connsiteX32" fmla="*/ 361357 w 547492"/>
                    <a:gd name="connsiteY32" fmla="*/ 3 h 547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547492" h="547027">
                      <a:moveTo>
                        <a:pt x="147901" y="159"/>
                      </a:moveTo>
                      <a:cubicBezTo>
                        <a:pt x="156233" y="1247"/>
                        <a:pt x="164417" y="7883"/>
                        <a:pt x="164790" y="17385"/>
                      </a:cubicBezTo>
                      <a:cubicBezTo>
                        <a:pt x="163504" y="123250"/>
                        <a:pt x="210481" y="208637"/>
                        <a:pt x="257543" y="261873"/>
                      </a:cubicBezTo>
                      <a:cubicBezTo>
                        <a:pt x="329801" y="345790"/>
                        <a:pt x="450493" y="385299"/>
                        <a:pt x="531263" y="383096"/>
                      </a:cubicBezTo>
                      <a:cubicBezTo>
                        <a:pt x="554755" y="384136"/>
                        <a:pt x="550415" y="419245"/>
                        <a:pt x="533050" y="419093"/>
                      </a:cubicBezTo>
                      <a:cubicBezTo>
                        <a:pt x="450691" y="419472"/>
                        <a:pt x="338455" y="398909"/>
                        <a:pt x="234902" y="291210"/>
                      </a:cubicBezTo>
                      <a:cubicBezTo>
                        <a:pt x="193363" y="241274"/>
                        <a:pt x="128927" y="167539"/>
                        <a:pt x="130118" y="16219"/>
                      </a:cubicBezTo>
                      <a:cubicBezTo>
                        <a:pt x="131087" y="3530"/>
                        <a:pt x="139569" y="-930"/>
                        <a:pt x="147901" y="159"/>
                      </a:cubicBezTo>
                      <a:close/>
                      <a:moveTo>
                        <a:pt x="258593" y="83"/>
                      </a:moveTo>
                      <a:cubicBezTo>
                        <a:pt x="267391" y="-753"/>
                        <a:pt x="276308" y="4730"/>
                        <a:pt x="276870" y="19473"/>
                      </a:cubicBezTo>
                      <a:cubicBezTo>
                        <a:pt x="277152" y="95057"/>
                        <a:pt x="309784" y="144239"/>
                        <a:pt x="342477" y="185830"/>
                      </a:cubicBezTo>
                      <a:cubicBezTo>
                        <a:pt x="395970" y="243463"/>
                        <a:pt x="472402" y="273156"/>
                        <a:pt x="529533" y="271534"/>
                      </a:cubicBezTo>
                      <a:cubicBezTo>
                        <a:pt x="554491" y="271108"/>
                        <a:pt x="552612" y="307689"/>
                        <a:pt x="529010" y="308769"/>
                      </a:cubicBezTo>
                      <a:cubicBezTo>
                        <a:pt x="463605" y="309049"/>
                        <a:pt x="394346" y="293904"/>
                        <a:pt x="319908" y="218161"/>
                      </a:cubicBezTo>
                      <a:cubicBezTo>
                        <a:pt x="290526" y="181384"/>
                        <a:pt x="240182" y="130058"/>
                        <a:pt x="241025" y="18615"/>
                      </a:cubicBezTo>
                      <a:cubicBezTo>
                        <a:pt x="241115" y="8077"/>
                        <a:pt x="249795" y="920"/>
                        <a:pt x="258593" y="83"/>
                      </a:cubicBezTo>
                      <a:close/>
                      <a:moveTo>
                        <a:pt x="18843" y="10"/>
                      </a:moveTo>
                      <a:cubicBezTo>
                        <a:pt x="28214" y="265"/>
                        <a:pt x="37586" y="5826"/>
                        <a:pt x="37685" y="16302"/>
                      </a:cubicBezTo>
                      <a:cubicBezTo>
                        <a:pt x="35997" y="154729"/>
                        <a:pt x="103125" y="275729"/>
                        <a:pt x="164891" y="345340"/>
                      </a:cubicBezTo>
                      <a:cubicBezTo>
                        <a:pt x="259725" y="455069"/>
                        <a:pt x="425162" y="512962"/>
                        <a:pt x="531167" y="510082"/>
                      </a:cubicBezTo>
                      <a:cubicBezTo>
                        <a:pt x="555744" y="509883"/>
                        <a:pt x="550829" y="547221"/>
                        <a:pt x="528039" y="547022"/>
                      </a:cubicBezTo>
                      <a:cubicBezTo>
                        <a:pt x="419949" y="547519"/>
                        <a:pt x="273429" y="516735"/>
                        <a:pt x="139867" y="375130"/>
                      </a:cubicBezTo>
                      <a:cubicBezTo>
                        <a:pt x="85350" y="312173"/>
                        <a:pt x="0" y="200955"/>
                        <a:pt x="0" y="15557"/>
                      </a:cubicBezTo>
                      <a:cubicBezTo>
                        <a:pt x="99" y="4808"/>
                        <a:pt x="9471" y="-244"/>
                        <a:pt x="18843" y="10"/>
                      </a:cubicBezTo>
                      <a:close/>
                      <a:moveTo>
                        <a:pt x="361357" y="3"/>
                      </a:moveTo>
                      <a:cubicBezTo>
                        <a:pt x="370360" y="-117"/>
                        <a:pt x="379364" y="7170"/>
                        <a:pt x="379427" y="22811"/>
                      </a:cubicBezTo>
                      <a:cubicBezTo>
                        <a:pt x="379608" y="73981"/>
                        <a:pt x="395801" y="92977"/>
                        <a:pt x="416799" y="121134"/>
                      </a:cubicBezTo>
                      <a:cubicBezTo>
                        <a:pt x="452945" y="158363"/>
                        <a:pt x="498462" y="168336"/>
                        <a:pt x="530986" y="167238"/>
                      </a:cubicBezTo>
                      <a:cubicBezTo>
                        <a:pt x="549400" y="166950"/>
                        <a:pt x="557131" y="203036"/>
                        <a:pt x="528863" y="205554"/>
                      </a:cubicBezTo>
                      <a:cubicBezTo>
                        <a:pt x="486854" y="205743"/>
                        <a:pt x="443561" y="201449"/>
                        <a:pt x="395749" y="150171"/>
                      </a:cubicBezTo>
                      <a:cubicBezTo>
                        <a:pt x="351991" y="102452"/>
                        <a:pt x="343809" y="62263"/>
                        <a:pt x="342870" y="38961"/>
                      </a:cubicBezTo>
                      <a:cubicBezTo>
                        <a:pt x="342557" y="31194"/>
                        <a:pt x="343049" y="25303"/>
                        <a:pt x="343296" y="21634"/>
                      </a:cubicBezTo>
                      <a:cubicBezTo>
                        <a:pt x="343354" y="7649"/>
                        <a:pt x="352355" y="122"/>
                        <a:pt x="361357" y="3"/>
                      </a:cubicBezTo>
                      <a:close/>
                    </a:path>
                  </a:pathLst>
                </a:custGeom>
                <a:solidFill>
                  <a:srgbClr val="0072C6"/>
                </a:solidFill>
                <a:ln w="25400" cap="flat" cmpd="sng" algn="ctr">
                  <a:noFill/>
                  <a:prstDash val="solid"/>
                </a:ln>
                <a:effectLst/>
              </p:spPr>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32316"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smtClean="0">
                    <a:ln>
                      <a:noFill/>
                    </a:ln>
                    <a:solidFill>
                      <a:srgbClr val="FFFFFF"/>
                    </a:solidFill>
                    <a:effectLst/>
                    <a:uLnTx/>
                    <a:uFillTx/>
                    <a:latin typeface="Segoe UI"/>
                    <a:ea typeface="+mn-ea"/>
                    <a:cs typeface="+mn-cs"/>
                  </a:endParaRPr>
                </a:p>
              </p:txBody>
            </p:sp>
            <p:sp>
              <p:nvSpPr>
                <p:cNvPr id="40" name="Freeform 39"/>
                <p:cNvSpPr/>
                <p:nvPr/>
              </p:nvSpPr>
              <p:spPr>
                <a:xfrm rot="16397217">
                  <a:off x="9796199" y="3113557"/>
                  <a:ext cx="549546" cy="529951"/>
                </a:xfrm>
                <a:custGeom>
                  <a:avLst/>
                  <a:gdLst>
                    <a:gd name="connsiteX0" fmla="*/ 147901 w 547492"/>
                    <a:gd name="connsiteY0" fmla="*/ 159 h 547027"/>
                    <a:gd name="connsiteX1" fmla="*/ 164790 w 547492"/>
                    <a:gd name="connsiteY1" fmla="*/ 17385 h 547027"/>
                    <a:gd name="connsiteX2" fmla="*/ 257543 w 547492"/>
                    <a:gd name="connsiteY2" fmla="*/ 261873 h 547027"/>
                    <a:gd name="connsiteX3" fmla="*/ 531263 w 547492"/>
                    <a:gd name="connsiteY3" fmla="*/ 383096 h 547027"/>
                    <a:gd name="connsiteX4" fmla="*/ 533050 w 547492"/>
                    <a:gd name="connsiteY4" fmla="*/ 419093 h 547027"/>
                    <a:gd name="connsiteX5" fmla="*/ 234902 w 547492"/>
                    <a:gd name="connsiteY5" fmla="*/ 291210 h 547027"/>
                    <a:gd name="connsiteX6" fmla="*/ 130118 w 547492"/>
                    <a:gd name="connsiteY6" fmla="*/ 16219 h 547027"/>
                    <a:gd name="connsiteX7" fmla="*/ 147901 w 547492"/>
                    <a:gd name="connsiteY7" fmla="*/ 159 h 547027"/>
                    <a:gd name="connsiteX8" fmla="*/ 258593 w 547492"/>
                    <a:gd name="connsiteY8" fmla="*/ 83 h 547027"/>
                    <a:gd name="connsiteX9" fmla="*/ 276870 w 547492"/>
                    <a:gd name="connsiteY9" fmla="*/ 19473 h 547027"/>
                    <a:gd name="connsiteX10" fmla="*/ 342477 w 547492"/>
                    <a:gd name="connsiteY10" fmla="*/ 185830 h 547027"/>
                    <a:gd name="connsiteX11" fmla="*/ 529533 w 547492"/>
                    <a:gd name="connsiteY11" fmla="*/ 271534 h 547027"/>
                    <a:gd name="connsiteX12" fmla="*/ 529010 w 547492"/>
                    <a:gd name="connsiteY12" fmla="*/ 308769 h 547027"/>
                    <a:gd name="connsiteX13" fmla="*/ 319908 w 547492"/>
                    <a:gd name="connsiteY13" fmla="*/ 218161 h 547027"/>
                    <a:gd name="connsiteX14" fmla="*/ 241025 w 547492"/>
                    <a:gd name="connsiteY14" fmla="*/ 18615 h 547027"/>
                    <a:gd name="connsiteX15" fmla="*/ 258593 w 547492"/>
                    <a:gd name="connsiteY15" fmla="*/ 83 h 547027"/>
                    <a:gd name="connsiteX16" fmla="*/ 18843 w 547492"/>
                    <a:gd name="connsiteY16" fmla="*/ 10 h 547027"/>
                    <a:gd name="connsiteX17" fmla="*/ 37685 w 547492"/>
                    <a:gd name="connsiteY17" fmla="*/ 16302 h 547027"/>
                    <a:gd name="connsiteX18" fmla="*/ 164891 w 547492"/>
                    <a:gd name="connsiteY18" fmla="*/ 345340 h 547027"/>
                    <a:gd name="connsiteX19" fmla="*/ 531167 w 547492"/>
                    <a:gd name="connsiteY19" fmla="*/ 510082 h 547027"/>
                    <a:gd name="connsiteX20" fmla="*/ 528039 w 547492"/>
                    <a:gd name="connsiteY20" fmla="*/ 547022 h 547027"/>
                    <a:gd name="connsiteX21" fmla="*/ 139867 w 547492"/>
                    <a:gd name="connsiteY21" fmla="*/ 375130 h 547027"/>
                    <a:gd name="connsiteX22" fmla="*/ 0 w 547492"/>
                    <a:gd name="connsiteY22" fmla="*/ 15557 h 547027"/>
                    <a:gd name="connsiteX23" fmla="*/ 18843 w 547492"/>
                    <a:gd name="connsiteY23" fmla="*/ 10 h 547027"/>
                    <a:gd name="connsiteX24" fmla="*/ 361357 w 547492"/>
                    <a:gd name="connsiteY24" fmla="*/ 3 h 547027"/>
                    <a:gd name="connsiteX25" fmla="*/ 379427 w 547492"/>
                    <a:gd name="connsiteY25" fmla="*/ 22811 h 547027"/>
                    <a:gd name="connsiteX26" fmla="*/ 416799 w 547492"/>
                    <a:gd name="connsiteY26" fmla="*/ 121134 h 547027"/>
                    <a:gd name="connsiteX27" fmla="*/ 530986 w 547492"/>
                    <a:gd name="connsiteY27" fmla="*/ 167238 h 547027"/>
                    <a:gd name="connsiteX28" fmla="*/ 528863 w 547492"/>
                    <a:gd name="connsiteY28" fmla="*/ 205554 h 547027"/>
                    <a:gd name="connsiteX29" fmla="*/ 395749 w 547492"/>
                    <a:gd name="connsiteY29" fmla="*/ 150171 h 547027"/>
                    <a:gd name="connsiteX30" fmla="*/ 342870 w 547492"/>
                    <a:gd name="connsiteY30" fmla="*/ 38961 h 547027"/>
                    <a:gd name="connsiteX31" fmla="*/ 343296 w 547492"/>
                    <a:gd name="connsiteY31" fmla="*/ 21634 h 547027"/>
                    <a:gd name="connsiteX32" fmla="*/ 361357 w 547492"/>
                    <a:gd name="connsiteY32" fmla="*/ 3 h 547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547492" h="547027">
                      <a:moveTo>
                        <a:pt x="147901" y="159"/>
                      </a:moveTo>
                      <a:cubicBezTo>
                        <a:pt x="156233" y="1247"/>
                        <a:pt x="164417" y="7883"/>
                        <a:pt x="164790" y="17385"/>
                      </a:cubicBezTo>
                      <a:cubicBezTo>
                        <a:pt x="163504" y="123250"/>
                        <a:pt x="210481" y="208637"/>
                        <a:pt x="257543" y="261873"/>
                      </a:cubicBezTo>
                      <a:cubicBezTo>
                        <a:pt x="329801" y="345790"/>
                        <a:pt x="450493" y="385299"/>
                        <a:pt x="531263" y="383096"/>
                      </a:cubicBezTo>
                      <a:cubicBezTo>
                        <a:pt x="554755" y="384136"/>
                        <a:pt x="550415" y="419245"/>
                        <a:pt x="533050" y="419093"/>
                      </a:cubicBezTo>
                      <a:cubicBezTo>
                        <a:pt x="450691" y="419472"/>
                        <a:pt x="338455" y="398909"/>
                        <a:pt x="234902" y="291210"/>
                      </a:cubicBezTo>
                      <a:cubicBezTo>
                        <a:pt x="193363" y="241274"/>
                        <a:pt x="128927" y="167539"/>
                        <a:pt x="130118" y="16219"/>
                      </a:cubicBezTo>
                      <a:cubicBezTo>
                        <a:pt x="131087" y="3530"/>
                        <a:pt x="139569" y="-930"/>
                        <a:pt x="147901" y="159"/>
                      </a:cubicBezTo>
                      <a:close/>
                      <a:moveTo>
                        <a:pt x="258593" y="83"/>
                      </a:moveTo>
                      <a:cubicBezTo>
                        <a:pt x="267391" y="-753"/>
                        <a:pt x="276308" y="4730"/>
                        <a:pt x="276870" y="19473"/>
                      </a:cubicBezTo>
                      <a:cubicBezTo>
                        <a:pt x="277152" y="95057"/>
                        <a:pt x="309784" y="144239"/>
                        <a:pt x="342477" y="185830"/>
                      </a:cubicBezTo>
                      <a:cubicBezTo>
                        <a:pt x="395970" y="243463"/>
                        <a:pt x="472402" y="273156"/>
                        <a:pt x="529533" y="271534"/>
                      </a:cubicBezTo>
                      <a:cubicBezTo>
                        <a:pt x="554491" y="271108"/>
                        <a:pt x="552612" y="307689"/>
                        <a:pt x="529010" y="308769"/>
                      </a:cubicBezTo>
                      <a:cubicBezTo>
                        <a:pt x="463605" y="309049"/>
                        <a:pt x="394346" y="293904"/>
                        <a:pt x="319908" y="218161"/>
                      </a:cubicBezTo>
                      <a:cubicBezTo>
                        <a:pt x="290526" y="181384"/>
                        <a:pt x="240182" y="130058"/>
                        <a:pt x="241025" y="18615"/>
                      </a:cubicBezTo>
                      <a:cubicBezTo>
                        <a:pt x="241115" y="8077"/>
                        <a:pt x="249795" y="920"/>
                        <a:pt x="258593" y="83"/>
                      </a:cubicBezTo>
                      <a:close/>
                      <a:moveTo>
                        <a:pt x="18843" y="10"/>
                      </a:moveTo>
                      <a:cubicBezTo>
                        <a:pt x="28214" y="265"/>
                        <a:pt x="37586" y="5826"/>
                        <a:pt x="37685" y="16302"/>
                      </a:cubicBezTo>
                      <a:cubicBezTo>
                        <a:pt x="35997" y="154729"/>
                        <a:pt x="103125" y="275729"/>
                        <a:pt x="164891" y="345340"/>
                      </a:cubicBezTo>
                      <a:cubicBezTo>
                        <a:pt x="259725" y="455069"/>
                        <a:pt x="425162" y="512962"/>
                        <a:pt x="531167" y="510082"/>
                      </a:cubicBezTo>
                      <a:cubicBezTo>
                        <a:pt x="555744" y="509883"/>
                        <a:pt x="550829" y="547221"/>
                        <a:pt x="528039" y="547022"/>
                      </a:cubicBezTo>
                      <a:cubicBezTo>
                        <a:pt x="419949" y="547519"/>
                        <a:pt x="273429" y="516735"/>
                        <a:pt x="139867" y="375130"/>
                      </a:cubicBezTo>
                      <a:cubicBezTo>
                        <a:pt x="85350" y="312173"/>
                        <a:pt x="0" y="200955"/>
                        <a:pt x="0" y="15557"/>
                      </a:cubicBezTo>
                      <a:cubicBezTo>
                        <a:pt x="99" y="4808"/>
                        <a:pt x="9471" y="-244"/>
                        <a:pt x="18843" y="10"/>
                      </a:cubicBezTo>
                      <a:close/>
                      <a:moveTo>
                        <a:pt x="361357" y="3"/>
                      </a:moveTo>
                      <a:cubicBezTo>
                        <a:pt x="370360" y="-117"/>
                        <a:pt x="379364" y="7170"/>
                        <a:pt x="379427" y="22811"/>
                      </a:cubicBezTo>
                      <a:cubicBezTo>
                        <a:pt x="379608" y="73981"/>
                        <a:pt x="395801" y="92977"/>
                        <a:pt x="416799" y="121134"/>
                      </a:cubicBezTo>
                      <a:cubicBezTo>
                        <a:pt x="452945" y="158363"/>
                        <a:pt x="498462" y="168336"/>
                        <a:pt x="530986" y="167238"/>
                      </a:cubicBezTo>
                      <a:cubicBezTo>
                        <a:pt x="549400" y="166950"/>
                        <a:pt x="557131" y="203036"/>
                        <a:pt x="528863" y="205554"/>
                      </a:cubicBezTo>
                      <a:cubicBezTo>
                        <a:pt x="486854" y="205743"/>
                        <a:pt x="443561" y="201449"/>
                        <a:pt x="395749" y="150171"/>
                      </a:cubicBezTo>
                      <a:cubicBezTo>
                        <a:pt x="351991" y="102452"/>
                        <a:pt x="343809" y="62263"/>
                        <a:pt x="342870" y="38961"/>
                      </a:cubicBezTo>
                      <a:cubicBezTo>
                        <a:pt x="342557" y="31194"/>
                        <a:pt x="343049" y="25303"/>
                        <a:pt x="343296" y="21634"/>
                      </a:cubicBezTo>
                      <a:cubicBezTo>
                        <a:pt x="343354" y="7649"/>
                        <a:pt x="352355" y="122"/>
                        <a:pt x="361357" y="3"/>
                      </a:cubicBezTo>
                      <a:close/>
                    </a:path>
                  </a:pathLst>
                </a:custGeom>
                <a:solidFill>
                  <a:srgbClr val="0072C6"/>
                </a:solidFill>
                <a:ln w="25400" cap="flat" cmpd="sng" algn="ctr">
                  <a:noFill/>
                  <a:prstDash val="solid"/>
                </a:ln>
                <a:effectLst/>
              </p:spPr>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32316"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smtClean="0">
                    <a:ln>
                      <a:noFill/>
                    </a:ln>
                    <a:solidFill>
                      <a:srgbClr val="FFFFFF"/>
                    </a:solidFill>
                    <a:effectLst/>
                    <a:uLnTx/>
                    <a:uFillTx/>
                    <a:latin typeface="Segoe UI"/>
                    <a:ea typeface="+mn-ea"/>
                    <a:cs typeface="+mn-cs"/>
                  </a:endParaRPr>
                </a:p>
              </p:txBody>
            </p:sp>
            <p:pic>
              <p:nvPicPr>
                <p:cNvPr id="41" name="Picture 40"/>
                <p:cNvPicPr>
                  <a:picLocks noChangeAspect="1"/>
                </p:cNvPicPr>
                <p:nvPr/>
              </p:nvPicPr>
              <p:blipFill>
                <a:blip r:embed="rId3"/>
                <a:stretch>
                  <a:fillRect/>
                </a:stretch>
              </p:blipFill>
              <p:spPr>
                <a:xfrm>
                  <a:off x="5794214" y="895702"/>
                  <a:ext cx="2306410" cy="2306410"/>
                </a:xfrm>
                <a:prstGeom prst="rect">
                  <a:avLst/>
                </a:prstGeom>
              </p:spPr>
            </p:pic>
            <p:sp>
              <p:nvSpPr>
                <p:cNvPr id="42" name="Freeform 41"/>
                <p:cNvSpPr/>
                <p:nvPr/>
              </p:nvSpPr>
              <p:spPr bwMode="auto">
                <a:xfrm>
                  <a:off x="7514334" y="5118687"/>
                  <a:ext cx="2115769" cy="352627"/>
                </a:xfrm>
                <a:custGeom>
                  <a:avLst/>
                  <a:gdLst>
                    <a:gd name="connsiteX0" fmla="*/ 357077 w 828676"/>
                    <a:gd name="connsiteY0" fmla="*/ 60274 h 138112"/>
                    <a:gd name="connsiteX1" fmla="*/ 337209 w 828676"/>
                    <a:gd name="connsiteY1" fmla="*/ 105993 h 138112"/>
                    <a:gd name="connsiteX2" fmla="*/ 491468 w 828676"/>
                    <a:gd name="connsiteY2" fmla="*/ 105993 h 138112"/>
                    <a:gd name="connsiteX3" fmla="*/ 471600 w 828676"/>
                    <a:gd name="connsiteY3" fmla="*/ 60274 h 138112"/>
                    <a:gd name="connsiteX4" fmla="*/ 98102 w 828676"/>
                    <a:gd name="connsiteY4" fmla="*/ 0 h 138112"/>
                    <a:gd name="connsiteX5" fmla="*/ 125736 w 828676"/>
                    <a:gd name="connsiteY5" fmla="*/ 0 h 138112"/>
                    <a:gd name="connsiteX6" fmla="*/ 127522 w 828676"/>
                    <a:gd name="connsiteY6" fmla="*/ 7143 h 138112"/>
                    <a:gd name="connsiteX7" fmla="*/ 701154 w 828676"/>
                    <a:gd name="connsiteY7" fmla="*/ 7143 h 138112"/>
                    <a:gd name="connsiteX8" fmla="*/ 702940 w 828676"/>
                    <a:gd name="connsiteY8" fmla="*/ 0 h 138112"/>
                    <a:gd name="connsiteX9" fmla="*/ 730574 w 828676"/>
                    <a:gd name="connsiteY9" fmla="*/ 0 h 138112"/>
                    <a:gd name="connsiteX10" fmla="*/ 732360 w 828676"/>
                    <a:gd name="connsiteY10" fmla="*/ 7143 h 138112"/>
                    <a:gd name="connsiteX11" fmla="*/ 764381 w 828676"/>
                    <a:gd name="connsiteY11" fmla="*/ 7143 h 138112"/>
                    <a:gd name="connsiteX12" fmla="*/ 828676 w 828676"/>
                    <a:gd name="connsiteY12" fmla="*/ 92869 h 138112"/>
                    <a:gd name="connsiteX13" fmla="*/ 828676 w 828676"/>
                    <a:gd name="connsiteY13" fmla="*/ 100732 h 138112"/>
                    <a:gd name="connsiteX14" fmla="*/ 791296 w 828676"/>
                    <a:gd name="connsiteY14" fmla="*/ 138112 h 138112"/>
                    <a:gd name="connsiteX15" fmla="*/ 37380 w 828676"/>
                    <a:gd name="connsiteY15" fmla="*/ 138112 h 138112"/>
                    <a:gd name="connsiteX16" fmla="*/ 0 w 828676"/>
                    <a:gd name="connsiteY16" fmla="*/ 100732 h 138112"/>
                    <a:gd name="connsiteX17" fmla="*/ 0 w 828676"/>
                    <a:gd name="connsiteY17" fmla="*/ 92869 h 138112"/>
                    <a:gd name="connsiteX18" fmla="*/ 64295 w 828676"/>
                    <a:gd name="connsiteY18" fmla="*/ 7143 h 138112"/>
                    <a:gd name="connsiteX19" fmla="*/ 96316 w 828676"/>
                    <a:gd name="connsiteY19" fmla="*/ 7143 h 138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28676" h="138112">
                      <a:moveTo>
                        <a:pt x="357077" y="60274"/>
                      </a:moveTo>
                      <a:lnTo>
                        <a:pt x="337209" y="105993"/>
                      </a:lnTo>
                      <a:lnTo>
                        <a:pt x="491468" y="105993"/>
                      </a:lnTo>
                      <a:lnTo>
                        <a:pt x="471600" y="60274"/>
                      </a:lnTo>
                      <a:close/>
                      <a:moveTo>
                        <a:pt x="98102" y="0"/>
                      </a:moveTo>
                      <a:lnTo>
                        <a:pt x="125736" y="0"/>
                      </a:lnTo>
                      <a:lnTo>
                        <a:pt x="127522" y="7143"/>
                      </a:lnTo>
                      <a:lnTo>
                        <a:pt x="701154" y="7143"/>
                      </a:lnTo>
                      <a:lnTo>
                        <a:pt x="702940" y="0"/>
                      </a:lnTo>
                      <a:lnTo>
                        <a:pt x="730574" y="0"/>
                      </a:lnTo>
                      <a:lnTo>
                        <a:pt x="732360" y="7143"/>
                      </a:lnTo>
                      <a:lnTo>
                        <a:pt x="764381" y="7143"/>
                      </a:lnTo>
                      <a:lnTo>
                        <a:pt x="828676" y="92869"/>
                      </a:lnTo>
                      <a:lnTo>
                        <a:pt x="828676" y="100732"/>
                      </a:lnTo>
                      <a:cubicBezTo>
                        <a:pt x="828676" y="121376"/>
                        <a:pt x="811940" y="138112"/>
                        <a:pt x="791296" y="138112"/>
                      </a:cubicBezTo>
                      <a:lnTo>
                        <a:pt x="37380" y="138112"/>
                      </a:lnTo>
                      <a:cubicBezTo>
                        <a:pt x="16736" y="138112"/>
                        <a:pt x="0" y="121376"/>
                        <a:pt x="0" y="100732"/>
                      </a:cubicBezTo>
                      <a:lnTo>
                        <a:pt x="0" y="92869"/>
                      </a:lnTo>
                      <a:lnTo>
                        <a:pt x="64295" y="7143"/>
                      </a:lnTo>
                      <a:lnTo>
                        <a:pt x="96316" y="7143"/>
                      </a:lnTo>
                      <a:close/>
                    </a:path>
                  </a:pathLst>
                </a:custGeom>
                <a:solidFill>
                  <a:srgbClr val="FF8C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3" name="Freeform 42"/>
                <p:cNvSpPr/>
                <p:nvPr/>
              </p:nvSpPr>
              <p:spPr bwMode="auto">
                <a:xfrm>
                  <a:off x="7692514" y="3926757"/>
                  <a:ext cx="1781380" cy="1153115"/>
                </a:xfrm>
                <a:custGeom>
                  <a:avLst/>
                  <a:gdLst>
                    <a:gd name="connsiteX0" fmla="*/ 45098 w 697707"/>
                    <a:gd name="connsiteY0" fmla="*/ 24180 h 451636"/>
                    <a:gd name="connsiteX1" fmla="*/ 28507 w 697707"/>
                    <a:gd name="connsiteY1" fmla="*/ 40771 h 451636"/>
                    <a:gd name="connsiteX2" fmla="*/ 28507 w 697707"/>
                    <a:gd name="connsiteY2" fmla="*/ 410866 h 451636"/>
                    <a:gd name="connsiteX3" fmla="*/ 45098 w 697707"/>
                    <a:gd name="connsiteY3" fmla="*/ 427457 h 451636"/>
                    <a:gd name="connsiteX4" fmla="*/ 652608 w 697707"/>
                    <a:gd name="connsiteY4" fmla="*/ 427457 h 451636"/>
                    <a:gd name="connsiteX5" fmla="*/ 669199 w 697707"/>
                    <a:gd name="connsiteY5" fmla="*/ 410866 h 451636"/>
                    <a:gd name="connsiteX6" fmla="*/ 669199 w 697707"/>
                    <a:gd name="connsiteY6" fmla="*/ 40771 h 451636"/>
                    <a:gd name="connsiteX7" fmla="*/ 652608 w 697707"/>
                    <a:gd name="connsiteY7" fmla="*/ 24180 h 451636"/>
                    <a:gd name="connsiteX8" fmla="*/ 348853 w 697707"/>
                    <a:gd name="connsiteY8" fmla="*/ 2364 h 451636"/>
                    <a:gd name="connsiteX9" fmla="*/ 339709 w 697707"/>
                    <a:gd name="connsiteY9" fmla="*/ 11508 h 451636"/>
                    <a:gd name="connsiteX10" fmla="*/ 348853 w 697707"/>
                    <a:gd name="connsiteY10" fmla="*/ 20652 h 451636"/>
                    <a:gd name="connsiteX11" fmla="*/ 357997 w 697707"/>
                    <a:gd name="connsiteY11" fmla="*/ 11508 h 451636"/>
                    <a:gd name="connsiteX12" fmla="*/ 348853 w 697707"/>
                    <a:gd name="connsiteY12" fmla="*/ 2364 h 451636"/>
                    <a:gd name="connsiteX13" fmla="*/ 28954 w 697707"/>
                    <a:gd name="connsiteY13" fmla="*/ 0 h 451636"/>
                    <a:gd name="connsiteX14" fmla="*/ 668753 w 697707"/>
                    <a:gd name="connsiteY14" fmla="*/ 0 h 451636"/>
                    <a:gd name="connsiteX15" fmla="*/ 697707 w 697707"/>
                    <a:gd name="connsiteY15" fmla="*/ 28954 h 451636"/>
                    <a:gd name="connsiteX16" fmla="*/ 697707 w 697707"/>
                    <a:gd name="connsiteY16" fmla="*/ 422682 h 451636"/>
                    <a:gd name="connsiteX17" fmla="*/ 668753 w 697707"/>
                    <a:gd name="connsiteY17" fmla="*/ 451636 h 451636"/>
                    <a:gd name="connsiteX18" fmla="*/ 28954 w 697707"/>
                    <a:gd name="connsiteY18" fmla="*/ 451636 h 451636"/>
                    <a:gd name="connsiteX19" fmla="*/ 0 w 697707"/>
                    <a:gd name="connsiteY19" fmla="*/ 422682 h 451636"/>
                    <a:gd name="connsiteX20" fmla="*/ 0 w 697707"/>
                    <a:gd name="connsiteY20" fmla="*/ 28954 h 451636"/>
                    <a:gd name="connsiteX21" fmla="*/ 28954 w 697707"/>
                    <a:gd name="connsiteY21" fmla="*/ 0 h 451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97707" h="451636">
                      <a:moveTo>
                        <a:pt x="45098" y="24180"/>
                      </a:moveTo>
                      <a:cubicBezTo>
                        <a:pt x="35935" y="24180"/>
                        <a:pt x="28507" y="31608"/>
                        <a:pt x="28507" y="40771"/>
                      </a:cubicBezTo>
                      <a:lnTo>
                        <a:pt x="28507" y="410866"/>
                      </a:lnTo>
                      <a:cubicBezTo>
                        <a:pt x="28507" y="420029"/>
                        <a:pt x="35935" y="427457"/>
                        <a:pt x="45098" y="427457"/>
                      </a:cubicBezTo>
                      <a:lnTo>
                        <a:pt x="652608" y="427457"/>
                      </a:lnTo>
                      <a:cubicBezTo>
                        <a:pt x="661771" y="427457"/>
                        <a:pt x="669199" y="420029"/>
                        <a:pt x="669199" y="410866"/>
                      </a:cubicBezTo>
                      <a:lnTo>
                        <a:pt x="669199" y="40771"/>
                      </a:lnTo>
                      <a:cubicBezTo>
                        <a:pt x="669199" y="31608"/>
                        <a:pt x="661771" y="24180"/>
                        <a:pt x="652608" y="24180"/>
                      </a:cubicBezTo>
                      <a:close/>
                      <a:moveTo>
                        <a:pt x="348853" y="2364"/>
                      </a:moveTo>
                      <a:cubicBezTo>
                        <a:pt x="343803" y="2364"/>
                        <a:pt x="339709" y="6458"/>
                        <a:pt x="339709" y="11508"/>
                      </a:cubicBezTo>
                      <a:cubicBezTo>
                        <a:pt x="339709" y="16558"/>
                        <a:pt x="343803" y="20652"/>
                        <a:pt x="348853" y="20652"/>
                      </a:cubicBezTo>
                      <a:cubicBezTo>
                        <a:pt x="353903" y="20652"/>
                        <a:pt x="357997" y="16558"/>
                        <a:pt x="357997" y="11508"/>
                      </a:cubicBezTo>
                      <a:cubicBezTo>
                        <a:pt x="357997" y="6458"/>
                        <a:pt x="353903" y="2364"/>
                        <a:pt x="348853" y="2364"/>
                      </a:cubicBezTo>
                      <a:close/>
                      <a:moveTo>
                        <a:pt x="28954" y="0"/>
                      </a:moveTo>
                      <a:lnTo>
                        <a:pt x="668753" y="0"/>
                      </a:lnTo>
                      <a:cubicBezTo>
                        <a:pt x="684744" y="0"/>
                        <a:pt x="697707" y="12963"/>
                        <a:pt x="697707" y="28954"/>
                      </a:cubicBezTo>
                      <a:lnTo>
                        <a:pt x="697707" y="422682"/>
                      </a:lnTo>
                      <a:cubicBezTo>
                        <a:pt x="697707" y="438673"/>
                        <a:pt x="684744" y="451636"/>
                        <a:pt x="668753" y="451636"/>
                      </a:cubicBezTo>
                      <a:lnTo>
                        <a:pt x="28954" y="451636"/>
                      </a:lnTo>
                      <a:cubicBezTo>
                        <a:pt x="12963" y="451636"/>
                        <a:pt x="0" y="438673"/>
                        <a:pt x="0" y="422682"/>
                      </a:cubicBezTo>
                      <a:lnTo>
                        <a:pt x="0" y="28954"/>
                      </a:lnTo>
                      <a:cubicBezTo>
                        <a:pt x="0" y="12963"/>
                        <a:pt x="12963" y="0"/>
                        <a:pt x="28954" y="0"/>
                      </a:cubicBezTo>
                      <a:close/>
                    </a:path>
                  </a:pathLst>
                </a:custGeom>
                <a:solidFill>
                  <a:srgbClr val="FF8C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49" name="Rectangle 4"/>
            <p:cNvSpPr/>
            <p:nvPr/>
          </p:nvSpPr>
          <p:spPr>
            <a:xfrm>
              <a:off x="3569092" y="3363862"/>
              <a:ext cx="408495" cy="388498"/>
            </a:xfrm>
            <a:custGeom>
              <a:avLst/>
              <a:gdLst/>
              <a:ahLst/>
              <a:cxnLst/>
              <a:rect l="l" t="t" r="r" b="b"/>
              <a:pathLst>
                <a:path w="2253672" h="2154513">
                  <a:moveTo>
                    <a:pt x="1738560" y="1548363"/>
                  </a:moveTo>
                  <a:lnTo>
                    <a:pt x="1738560" y="1758675"/>
                  </a:lnTo>
                  <a:lnTo>
                    <a:pt x="2104320" y="1758675"/>
                  </a:lnTo>
                  <a:lnTo>
                    <a:pt x="2104320" y="1548363"/>
                  </a:lnTo>
                  <a:close/>
                  <a:moveTo>
                    <a:pt x="1738560" y="1261283"/>
                  </a:moveTo>
                  <a:lnTo>
                    <a:pt x="1738560" y="1471595"/>
                  </a:lnTo>
                  <a:lnTo>
                    <a:pt x="2104320" y="1471595"/>
                  </a:lnTo>
                  <a:lnTo>
                    <a:pt x="2104320" y="1261283"/>
                  </a:lnTo>
                  <a:close/>
                  <a:moveTo>
                    <a:pt x="1738560" y="974205"/>
                  </a:moveTo>
                  <a:lnTo>
                    <a:pt x="1738560" y="1184517"/>
                  </a:lnTo>
                  <a:lnTo>
                    <a:pt x="2104320" y="1184517"/>
                  </a:lnTo>
                  <a:lnTo>
                    <a:pt x="2104320" y="974205"/>
                  </a:lnTo>
                  <a:close/>
                  <a:moveTo>
                    <a:pt x="1738560" y="687127"/>
                  </a:moveTo>
                  <a:lnTo>
                    <a:pt x="1738560" y="897439"/>
                  </a:lnTo>
                  <a:lnTo>
                    <a:pt x="2104320" y="897439"/>
                  </a:lnTo>
                  <a:lnTo>
                    <a:pt x="2104320" y="687127"/>
                  </a:lnTo>
                  <a:close/>
                  <a:moveTo>
                    <a:pt x="927711" y="672099"/>
                  </a:moveTo>
                  <a:lnTo>
                    <a:pt x="770548" y="681624"/>
                  </a:lnTo>
                  <a:lnTo>
                    <a:pt x="653867" y="953087"/>
                  </a:lnTo>
                  <a:lnTo>
                    <a:pt x="556236" y="691149"/>
                  </a:lnTo>
                  <a:lnTo>
                    <a:pt x="403836" y="698293"/>
                  </a:lnTo>
                  <a:lnTo>
                    <a:pt x="565761" y="1065006"/>
                  </a:lnTo>
                  <a:lnTo>
                    <a:pt x="387167" y="1431718"/>
                  </a:lnTo>
                  <a:lnTo>
                    <a:pt x="541948" y="1438862"/>
                  </a:lnTo>
                  <a:lnTo>
                    <a:pt x="653867" y="1176924"/>
                  </a:lnTo>
                  <a:lnTo>
                    <a:pt x="768167" y="1455531"/>
                  </a:lnTo>
                  <a:lnTo>
                    <a:pt x="932473" y="1457912"/>
                  </a:lnTo>
                  <a:lnTo>
                    <a:pt x="744354" y="1065006"/>
                  </a:lnTo>
                  <a:close/>
                  <a:moveTo>
                    <a:pt x="1738560" y="400049"/>
                  </a:moveTo>
                  <a:lnTo>
                    <a:pt x="1738560" y="610361"/>
                  </a:lnTo>
                  <a:lnTo>
                    <a:pt x="2104320" y="610361"/>
                  </a:lnTo>
                  <a:lnTo>
                    <a:pt x="2104320" y="400049"/>
                  </a:lnTo>
                  <a:close/>
                  <a:moveTo>
                    <a:pt x="1357560" y="249239"/>
                  </a:moveTo>
                  <a:lnTo>
                    <a:pt x="2230092" y="249239"/>
                  </a:lnTo>
                  <a:cubicBezTo>
                    <a:pt x="2243115" y="249239"/>
                    <a:pt x="2253672" y="259796"/>
                    <a:pt x="2253672" y="272819"/>
                  </a:cubicBezTo>
                  <a:lnTo>
                    <a:pt x="2253672" y="1880723"/>
                  </a:lnTo>
                  <a:cubicBezTo>
                    <a:pt x="2253672" y="1893746"/>
                    <a:pt x="2243115" y="1904303"/>
                    <a:pt x="2230092" y="1904303"/>
                  </a:cubicBezTo>
                  <a:lnTo>
                    <a:pt x="1357560" y="1904303"/>
                  </a:lnTo>
                  <a:lnTo>
                    <a:pt x="1357560" y="1758675"/>
                  </a:lnTo>
                  <a:lnTo>
                    <a:pt x="1677600" y="1758675"/>
                  </a:lnTo>
                  <a:lnTo>
                    <a:pt x="1677600" y="1548363"/>
                  </a:lnTo>
                  <a:lnTo>
                    <a:pt x="1357560" y="1548363"/>
                  </a:lnTo>
                  <a:lnTo>
                    <a:pt x="1357560" y="1471595"/>
                  </a:lnTo>
                  <a:lnTo>
                    <a:pt x="1677600" y="1471595"/>
                  </a:lnTo>
                  <a:lnTo>
                    <a:pt x="1677600" y="1261283"/>
                  </a:lnTo>
                  <a:lnTo>
                    <a:pt x="1357560" y="1261283"/>
                  </a:lnTo>
                  <a:lnTo>
                    <a:pt x="1357560" y="1184517"/>
                  </a:lnTo>
                  <a:lnTo>
                    <a:pt x="1677600" y="1184517"/>
                  </a:lnTo>
                  <a:lnTo>
                    <a:pt x="1677600" y="974205"/>
                  </a:lnTo>
                  <a:lnTo>
                    <a:pt x="1357560" y="974205"/>
                  </a:lnTo>
                  <a:lnTo>
                    <a:pt x="1357560" y="897439"/>
                  </a:lnTo>
                  <a:lnTo>
                    <a:pt x="1677600" y="897439"/>
                  </a:lnTo>
                  <a:lnTo>
                    <a:pt x="1677600" y="687127"/>
                  </a:lnTo>
                  <a:lnTo>
                    <a:pt x="1357560" y="687127"/>
                  </a:lnTo>
                  <a:lnTo>
                    <a:pt x="1357560" y="610361"/>
                  </a:lnTo>
                  <a:lnTo>
                    <a:pt x="1677600" y="610361"/>
                  </a:lnTo>
                  <a:lnTo>
                    <a:pt x="1677600" y="400049"/>
                  </a:lnTo>
                  <a:lnTo>
                    <a:pt x="1357560" y="400049"/>
                  </a:lnTo>
                  <a:close/>
                  <a:moveTo>
                    <a:pt x="1298713" y="0"/>
                  </a:moveTo>
                  <a:lnTo>
                    <a:pt x="1298713" y="2154513"/>
                  </a:lnTo>
                  <a:lnTo>
                    <a:pt x="0" y="1932953"/>
                  </a:lnTo>
                  <a:lnTo>
                    <a:pt x="0" y="223423"/>
                  </a:lnTo>
                  <a:close/>
                </a:path>
              </a:pathLst>
            </a:custGeom>
            <a:solidFill>
              <a:schemeClr val="bg1"/>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dirty="0" smtClean="0">
                <a:ln>
                  <a:noFill/>
                </a:ln>
                <a:solidFill>
                  <a:srgbClr val="FFFFFF"/>
                </a:solidFill>
                <a:effectLst/>
                <a:uLnTx/>
                <a:uFillTx/>
              </a:endParaRPr>
            </a:p>
          </p:txBody>
        </p:sp>
        <p:sp>
          <p:nvSpPr>
            <p:cNvPr id="58" name="Rectangle 4"/>
            <p:cNvSpPr/>
            <p:nvPr/>
          </p:nvSpPr>
          <p:spPr>
            <a:xfrm>
              <a:off x="2113447" y="3352001"/>
              <a:ext cx="419098" cy="373523"/>
            </a:xfrm>
            <a:custGeom>
              <a:avLst/>
              <a:gdLst/>
              <a:ahLst/>
              <a:cxnLst/>
              <a:rect l="l" t="t" r="r" b="b"/>
              <a:pathLst>
                <a:path w="2258008" h="2158661">
                  <a:moveTo>
                    <a:pt x="1054866" y="676730"/>
                  </a:moveTo>
                  <a:lnTo>
                    <a:pt x="905641" y="683080"/>
                  </a:lnTo>
                  <a:lnTo>
                    <a:pt x="810391" y="1245055"/>
                  </a:lnTo>
                  <a:lnTo>
                    <a:pt x="702441" y="695780"/>
                  </a:lnTo>
                  <a:lnTo>
                    <a:pt x="562741" y="708480"/>
                  </a:lnTo>
                  <a:lnTo>
                    <a:pt x="451616" y="1238705"/>
                  </a:lnTo>
                  <a:lnTo>
                    <a:pt x="369066" y="721180"/>
                  </a:lnTo>
                  <a:lnTo>
                    <a:pt x="238891" y="730705"/>
                  </a:lnTo>
                  <a:lnTo>
                    <a:pt x="375416" y="1438730"/>
                  </a:lnTo>
                  <a:lnTo>
                    <a:pt x="518291" y="1448255"/>
                  </a:lnTo>
                  <a:lnTo>
                    <a:pt x="626241" y="937080"/>
                  </a:lnTo>
                  <a:lnTo>
                    <a:pt x="727841" y="1460955"/>
                  </a:lnTo>
                  <a:lnTo>
                    <a:pt x="883416" y="1470480"/>
                  </a:lnTo>
                  <a:close/>
                  <a:moveTo>
                    <a:pt x="1360172" y="249719"/>
                  </a:moveTo>
                  <a:lnTo>
                    <a:pt x="2234383" y="249719"/>
                  </a:lnTo>
                  <a:cubicBezTo>
                    <a:pt x="2247431" y="249719"/>
                    <a:pt x="2258008" y="260296"/>
                    <a:pt x="2258008" y="273344"/>
                  </a:cubicBezTo>
                  <a:lnTo>
                    <a:pt x="2258008" y="1884344"/>
                  </a:lnTo>
                  <a:cubicBezTo>
                    <a:pt x="2258008" y="1897392"/>
                    <a:pt x="2247431" y="1907969"/>
                    <a:pt x="2234383" y="1907969"/>
                  </a:cubicBezTo>
                  <a:lnTo>
                    <a:pt x="1360172" y="1907969"/>
                  </a:lnTo>
                  <a:lnTo>
                    <a:pt x="1360172" y="1703105"/>
                  </a:lnTo>
                  <a:lnTo>
                    <a:pt x="2054991" y="1703105"/>
                  </a:lnTo>
                  <a:lnTo>
                    <a:pt x="2054991" y="1602521"/>
                  </a:lnTo>
                  <a:lnTo>
                    <a:pt x="1360172" y="1602521"/>
                  </a:lnTo>
                  <a:lnTo>
                    <a:pt x="1360172" y="1474130"/>
                  </a:lnTo>
                  <a:lnTo>
                    <a:pt x="2054991" y="1474130"/>
                  </a:lnTo>
                  <a:lnTo>
                    <a:pt x="2054991" y="1373546"/>
                  </a:lnTo>
                  <a:lnTo>
                    <a:pt x="1360172" y="1373546"/>
                  </a:lnTo>
                  <a:lnTo>
                    <a:pt x="1360172" y="1245157"/>
                  </a:lnTo>
                  <a:lnTo>
                    <a:pt x="2054991" y="1245157"/>
                  </a:lnTo>
                  <a:lnTo>
                    <a:pt x="2054991" y="1144573"/>
                  </a:lnTo>
                  <a:lnTo>
                    <a:pt x="1360172" y="1144573"/>
                  </a:lnTo>
                  <a:lnTo>
                    <a:pt x="1360172" y="1016184"/>
                  </a:lnTo>
                  <a:lnTo>
                    <a:pt x="2054991" y="1016184"/>
                  </a:lnTo>
                  <a:lnTo>
                    <a:pt x="2054991" y="915600"/>
                  </a:lnTo>
                  <a:lnTo>
                    <a:pt x="1360172" y="915600"/>
                  </a:lnTo>
                  <a:lnTo>
                    <a:pt x="1360172" y="787211"/>
                  </a:lnTo>
                  <a:lnTo>
                    <a:pt x="2054991" y="787211"/>
                  </a:lnTo>
                  <a:lnTo>
                    <a:pt x="2054991" y="686627"/>
                  </a:lnTo>
                  <a:lnTo>
                    <a:pt x="1360172" y="686627"/>
                  </a:lnTo>
                  <a:lnTo>
                    <a:pt x="1360172" y="558238"/>
                  </a:lnTo>
                  <a:lnTo>
                    <a:pt x="2054991" y="558238"/>
                  </a:lnTo>
                  <a:lnTo>
                    <a:pt x="2054991" y="457654"/>
                  </a:lnTo>
                  <a:lnTo>
                    <a:pt x="1360172" y="457654"/>
                  </a:lnTo>
                  <a:close/>
                  <a:moveTo>
                    <a:pt x="1301212" y="0"/>
                  </a:moveTo>
                  <a:lnTo>
                    <a:pt x="1301212" y="2158661"/>
                  </a:lnTo>
                  <a:lnTo>
                    <a:pt x="0" y="1936675"/>
                  </a:lnTo>
                  <a:lnTo>
                    <a:pt x="0" y="223853"/>
                  </a:lnTo>
                  <a:close/>
                </a:path>
              </a:pathLst>
            </a:custGeom>
            <a:solidFill>
              <a:schemeClr val="bg1"/>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dirty="0" smtClean="0">
                <a:ln>
                  <a:noFill/>
                </a:ln>
                <a:solidFill>
                  <a:srgbClr val="FFFFFF"/>
                </a:solidFill>
                <a:effectLst/>
                <a:uLnTx/>
                <a:uFillTx/>
              </a:endParaRPr>
            </a:p>
          </p:txBody>
        </p:sp>
        <p:sp>
          <p:nvSpPr>
            <p:cNvPr id="60" name="Rectangle 4"/>
            <p:cNvSpPr/>
            <p:nvPr/>
          </p:nvSpPr>
          <p:spPr>
            <a:xfrm>
              <a:off x="1243157" y="5166345"/>
              <a:ext cx="466920" cy="433578"/>
            </a:xfrm>
            <a:custGeom>
              <a:avLst/>
              <a:gdLst/>
              <a:ahLst/>
              <a:cxnLst/>
              <a:rect l="l" t="t" r="r" b="b"/>
              <a:pathLst>
                <a:path w="2258008" h="2158661">
                  <a:moveTo>
                    <a:pt x="1054866" y="676730"/>
                  </a:moveTo>
                  <a:lnTo>
                    <a:pt x="905641" y="683080"/>
                  </a:lnTo>
                  <a:lnTo>
                    <a:pt x="810391" y="1245055"/>
                  </a:lnTo>
                  <a:lnTo>
                    <a:pt x="702441" y="695780"/>
                  </a:lnTo>
                  <a:lnTo>
                    <a:pt x="562741" y="708480"/>
                  </a:lnTo>
                  <a:lnTo>
                    <a:pt x="451616" y="1238705"/>
                  </a:lnTo>
                  <a:lnTo>
                    <a:pt x="369066" y="721180"/>
                  </a:lnTo>
                  <a:lnTo>
                    <a:pt x="238891" y="730705"/>
                  </a:lnTo>
                  <a:lnTo>
                    <a:pt x="375416" y="1438730"/>
                  </a:lnTo>
                  <a:lnTo>
                    <a:pt x="518291" y="1448255"/>
                  </a:lnTo>
                  <a:lnTo>
                    <a:pt x="626241" y="937080"/>
                  </a:lnTo>
                  <a:lnTo>
                    <a:pt x="727841" y="1460955"/>
                  </a:lnTo>
                  <a:lnTo>
                    <a:pt x="883416" y="1470480"/>
                  </a:lnTo>
                  <a:close/>
                  <a:moveTo>
                    <a:pt x="1360172" y="249719"/>
                  </a:moveTo>
                  <a:lnTo>
                    <a:pt x="2234383" y="249719"/>
                  </a:lnTo>
                  <a:cubicBezTo>
                    <a:pt x="2247431" y="249719"/>
                    <a:pt x="2258008" y="260296"/>
                    <a:pt x="2258008" y="273344"/>
                  </a:cubicBezTo>
                  <a:lnTo>
                    <a:pt x="2258008" y="1884344"/>
                  </a:lnTo>
                  <a:cubicBezTo>
                    <a:pt x="2258008" y="1897392"/>
                    <a:pt x="2247431" y="1907969"/>
                    <a:pt x="2234383" y="1907969"/>
                  </a:cubicBezTo>
                  <a:lnTo>
                    <a:pt x="1360172" y="1907969"/>
                  </a:lnTo>
                  <a:lnTo>
                    <a:pt x="1360172" y="1703105"/>
                  </a:lnTo>
                  <a:lnTo>
                    <a:pt x="2054991" y="1703105"/>
                  </a:lnTo>
                  <a:lnTo>
                    <a:pt x="2054991" y="1602521"/>
                  </a:lnTo>
                  <a:lnTo>
                    <a:pt x="1360172" y="1602521"/>
                  </a:lnTo>
                  <a:lnTo>
                    <a:pt x="1360172" y="1474130"/>
                  </a:lnTo>
                  <a:lnTo>
                    <a:pt x="2054991" y="1474130"/>
                  </a:lnTo>
                  <a:lnTo>
                    <a:pt x="2054991" y="1373546"/>
                  </a:lnTo>
                  <a:lnTo>
                    <a:pt x="1360172" y="1373546"/>
                  </a:lnTo>
                  <a:lnTo>
                    <a:pt x="1360172" y="1245157"/>
                  </a:lnTo>
                  <a:lnTo>
                    <a:pt x="2054991" y="1245157"/>
                  </a:lnTo>
                  <a:lnTo>
                    <a:pt x="2054991" y="1144573"/>
                  </a:lnTo>
                  <a:lnTo>
                    <a:pt x="1360172" y="1144573"/>
                  </a:lnTo>
                  <a:lnTo>
                    <a:pt x="1360172" y="1016184"/>
                  </a:lnTo>
                  <a:lnTo>
                    <a:pt x="2054991" y="1016184"/>
                  </a:lnTo>
                  <a:lnTo>
                    <a:pt x="2054991" y="915600"/>
                  </a:lnTo>
                  <a:lnTo>
                    <a:pt x="1360172" y="915600"/>
                  </a:lnTo>
                  <a:lnTo>
                    <a:pt x="1360172" y="787211"/>
                  </a:lnTo>
                  <a:lnTo>
                    <a:pt x="2054991" y="787211"/>
                  </a:lnTo>
                  <a:lnTo>
                    <a:pt x="2054991" y="686627"/>
                  </a:lnTo>
                  <a:lnTo>
                    <a:pt x="1360172" y="686627"/>
                  </a:lnTo>
                  <a:lnTo>
                    <a:pt x="1360172" y="558238"/>
                  </a:lnTo>
                  <a:lnTo>
                    <a:pt x="2054991" y="558238"/>
                  </a:lnTo>
                  <a:lnTo>
                    <a:pt x="2054991" y="457654"/>
                  </a:lnTo>
                  <a:lnTo>
                    <a:pt x="1360172" y="457654"/>
                  </a:lnTo>
                  <a:close/>
                  <a:moveTo>
                    <a:pt x="1301212" y="0"/>
                  </a:moveTo>
                  <a:lnTo>
                    <a:pt x="1301212" y="2158661"/>
                  </a:lnTo>
                  <a:lnTo>
                    <a:pt x="0" y="1936675"/>
                  </a:lnTo>
                  <a:lnTo>
                    <a:pt x="0" y="223853"/>
                  </a:lnTo>
                  <a:close/>
                </a:path>
              </a:pathLst>
            </a:custGeom>
            <a:solidFill>
              <a:srgbClr val="002060"/>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latin typeface="Segoe UI"/>
                <a:ea typeface="+mn-ea"/>
                <a:cs typeface="+mn-cs"/>
              </a:endParaRPr>
            </a:p>
          </p:txBody>
        </p:sp>
        <p:sp>
          <p:nvSpPr>
            <p:cNvPr id="61" name="Rectangle 4"/>
            <p:cNvSpPr/>
            <p:nvPr/>
          </p:nvSpPr>
          <p:spPr>
            <a:xfrm>
              <a:off x="4452336" y="5216738"/>
              <a:ext cx="458059" cy="435637"/>
            </a:xfrm>
            <a:custGeom>
              <a:avLst/>
              <a:gdLst/>
              <a:ahLst/>
              <a:cxnLst/>
              <a:rect l="l" t="t" r="r" b="b"/>
              <a:pathLst>
                <a:path w="2253672" h="2154513">
                  <a:moveTo>
                    <a:pt x="1738560" y="1548363"/>
                  </a:moveTo>
                  <a:lnTo>
                    <a:pt x="1738560" y="1758675"/>
                  </a:lnTo>
                  <a:lnTo>
                    <a:pt x="2104320" y="1758675"/>
                  </a:lnTo>
                  <a:lnTo>
                    <a:pt x="2104320" y="1548363"/>
                  </a:lnTo>
                  <a:close/>
                  <a:moveTo>
                    <a:pt x="1738560" y="1261283"/>
                  </a:moveTo>
                  <a:lnTo>
                    <a:pt x="1738560" y="1471595"/>
                  </a:lnTo>
                  <a:lnTo>
                    <a:pt x="2104320" y="1471595"/>
                  </a:lnTo>
                  <a:lnTo>
                    <a:pt x="2104320" y="1261283"/>
                  </a:lnTo>
                  <a:close/>
                  <a:moveTo>
                    <a:pt x="1738560" y="974205"/>
                  </a:moveTo>
                  <a:lnTo>
                    <a:pt x="1738560" y="1184517"/>
                  </a:lnTo>
                  <a:lnTo>
                    <a:pt x="2104320" y="1184517"/>
                  </a:lnTo>
                  <a:lnTo>
                    <a:pt x="2104320" y="974205"/>
                  </a:lnTo>
                  <a:close/>
                  <a:moveTo>
                    <a:pt x="1738560" y="687127"/>
                  </a:moveTo>
                  <a:lnTo>
                    <a:pt x="1738560" y="897439"/>
                  </a:lnTo>
                  <a:lnTo>
                    <a:pt x="2104320" y="897439"/>
                  </a:lnTo>
                  <a:lnTo>
                    <a:pt x="2104320" y="687127"/>
                  </a:lnTo>
                  <a:close/>
                  <a:moveTo>
                    <a:pt x="927711" y="672099"/>
                  </a:moveTo>
                  <a:lnTo>
                    <a:pt x="770548" y="681624"/>
                  </a:lnTo>
                  <a:lnTo>
                    <a:pt x="653867" y="953087"/>
                  </a:lnTo>
                  <a:lnTo>
                    <a:pt x="556236" y="691149"/>
                  </a:lnTo>
                  <a:lnTo>
                    <a:pt x="403836" y="698293"/>
                  </a:lnTo>
                  <a:lnTo>
                    <a:pt x="565761" y="1065006"/>
                  </a:lnTo>
                  <a:lnTo>
                    <a:pt x="387167" y="1431718"/>
                  </a:lnTo>
                  <a:lnTo>
                    <a:pt x="541948" y="1438862"/>
                  </a:lnTo>
                  <a:lnTo>
                    <a:pt x="653867" y="1176924"/>
                  </a:lnTo>
                  <a:lnTo>
                    <a:pt x="768167" y="1455531"/>
                  </a:lnTo>
                  <a:lnTo>
                    <a:pt x="932473" y="1457912"/>
                  </a:lnTo>
                  <a:lnTo>
                    <a:pt x="744354" y="1065006"/>
                  </a:lnTo>
                  <a:close/>
                  <a:moveTo>
                    <a:pt x="1738560" y="400049"/>
                  </a:moveTo>
                  <a:lnTo>
                    <a:pt x="1738560" y="610361"/>
                  </a:lnTo>
                  <a:lnTo>
                    <a:pt x="2104320" y="610361"/>
                  </a:lnTo>
                  <a:lnTo>
                    <a:pt x="2104320" y="400049"/>
                  </a:lnTo>
                  <a:close/>
                  <a:moveTo>
                    <a:pt x="1357560" y="249239"/>
                  </a:moveTo>
                  <a:lnTo>
                    <a:pt x="2230092" y="249239"/>
                  </a:lnTo>
                  <a:cubicBezTo>
                    <a:pt x="2243115" y="249239"/>
                    <a:pt x="2253672" y="259796"/>
                    <a:pt x="2253672" y="272819"/>
                  </a:cubicBezTo>
                  <a:lnTo>
                    <a:pt x="2253672" y="1880723"/>
                  </a:lnTo>
                  <a:cubicBezTo>
                    <a:pt x="2253672" y="1893746"/>
                    <a:pt x="2243115" y="1904303"/>
                    <a:pt x="2230092" y="1904303"/>
                  </a:cubicBezTo>
                  <a:lnTo>
                    <a:pt x="1357560" y="1904303"/>
                  </a:lnTo>
                  <a:lnTo>
                    <a:pt x="1357560" y="1758675"/>
                  </a:lnTo>
                  <a:lnTo>
                    <a:pt x="1677600" y="1758675"/>
                  </a:lnTo>
                  <a:lnTo>
                    <a:pt x="1677600" y="1548363"/>
                  </a:lnTo>
                  <a:lnTo>
                    <a:pt x="1357560" y="1548363"/>
                  </a:lnTo>
                  <a:lnTo>
                    <a:pt x="1357560" y="1471595"/>
                  </a:lnTo>
                  <a:lnTo>
                    <a:pt x="1677600" y="1471595"/>
                  </a:lnTo>
                  <a:lnTo>
                    <a:pt x="1677600" y="1261283"/>
                  </a:lnTo>
                  <a:lnTo>
                    <a:pt x="1357560" y="1261283"/>
                  </a:lnTo>
                  <a:lnTo>
                    <a:pt x="1357560" y="1184517"/>
                  </a:lnTo>
                  <a:lnTo>
                    <a:pt x="1677600" y="1184517"/>
                  </a:lnTo>
                  <a:lnTo>
                    <a:pt x="1677600" y="974205"/>
                  </a:lnTo>
                  <a:lnTo>
                    <a:pt x="1357560" y="974205"/>
                  </a:lnTo>
                  <a:lnTo>
                    <a:pt x="1357560" y="897439"/>
                  </a:lnTo>
                  <a:lnTo>
                    <a:pt x="1677600" y="897439"/>
                  </a:lnTo>
                  <a:lnTo>
                    <a:pt x="1677600" y="687127"/>
                  </a:lnTo>
                  <a:lnTo>
                    <a:pt x="1357560" y="687127"/>
                  </a:lnTo>
                  <a:lnTo>
                    <a:pt x="1357560" y="610361"/>
                  </a:lnTo>
                  <a:lnTo>
                    <a:pt x="1677600" y="610361"/>
                  </a:lnTo>
                  <a:lnTo>
                    <a:pt x="1677600" y="400049"/>
                  </a:lnTo>
                  <a:lnTo>
                    <a:pt x="1357560" y="400049"/>
                  </a:lnTo>
                  <a:close/>
                  <a:moveTo>
                    <a:pt x="1298713" y="0"/>
                  </a:moveTo>
                  <a:lnTo>
                    <a:pt x="1298713" y="2154513"/>
                  </a:lnTo>
                  <a:lnTo>
                    <a:pt x="0" y="1932953"/>
                  </a:lnTo>
                  <a:lnTo>
                    <a:pt x="0" y="223423"/>
                  </a:lnTo>
                  <a:close/>
                </a:path>
              </a:pathLst>
            </a:custGeom>
            <a:solidFill>
              <a:srgbClr val="00B050"/>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latin typeface="Segoe UI"/>
                <a:ea typeface="+mn-ea"/>
                <a:cs typeface="+mn-cs"/>
              </a:endParaRPr>
            </a:p>
          </p:txBody>
        </p:sp>
        <p:sp>
          <p:nvSpPr>
            <p:cNvPr id="63" name="Rectangle 4"/>
            <p:cNvSpPr/>
            <p:nvPr/>
          </p:nvSpPr>
          <p:spPr>
            <a:xfrm>
              <a:off x="2807745" y="5055333"/>
              <a:ext cx="643390" cy="595390"/>
            </a:xfrm>
            <a:custGeom>
              <a:avLst/>
              <a:gdLst/>
              <a:ahLst/>
              <a:cxnLst/>
              <a:rect l="l" t="t" r="r" b="b"/>
              <a:pathLst>
                <a:path w="2249839" h="2154513">
                  <a:moveTo>
                    <a:pt x="1845025" y="1343911"/>
                  </a:moveTo>
                  <a:lnTo>
                    <a:pt x="1845025" y="1632042"/>
                  </a:lnTo>
                  <a:lnTo>
                    <a:pt x="2166495" y="1632042"/>
                  </a:lnTo>
                  <a:lnTo>
                    <a:pt x="2166495" y="1542580"/>
                  </a:lnTo>
                  <a:lnTo>
                    <a:pt x="1940771" y="1542580"/>
                  </a:lnTo>
                  <a:lnTo>
                    <a:pt x="1940771" y="1343911"/>
                  </a:lnTo>
                  <a:close/>
                  <a:moveTo>
                    <a:pt x="1910114" y="1226436"/>
                  </a:moveTo>
                  <a:cubicBezTo>
                    <a:pt x="2097739" y="1226436"/>
                    <a:pt x="2249839" y="1378536"/>
                    <a:pt x="2249839" y="1566161"/>
                  </a:cubicBezTo>
                  <a:cubicBezTo>
                    <a:pt x="2249839" y="1753786"/>
                    <a:pt x="2097739" y="1905886"/>
                    <a:pt x="1910114" y="1905886"/>
                  </a:cubicBezTo>
                  <a:cubicBezTo>
                    <a:pt x="1722489" y="1905886"/>
                    <a:pt x="1570389" y="1753786"/>
                    <a:pt x="1570389" y="1566161"/>
                  </a:cubicBezTo>
                  <a:cubicBezTo>
                    <a:pt x="1570389" y="1378536"/>
                    <a:pt x="1722489" y="1226436"/>
                    <a:pt x="1910114" y="1226436"/>
                  </a:cubicBezTo>
                  <a:close/>
                  <a:moveTo>
                    <a:pt x="598399" y="846243"/>
                  </a:moveTo>
                  <a:cubicBezTo>
                    <a:pt x="679255" y="844815"/>
                    <a:pt x="744803" y="952681"/>
                    <a:pt x="744803" y="1083980"/>
                  </a:cubicBezTo>
                  <a:cubicBezTo>
                    <a:pt x="744803" y="1215279"/>
                    <a:pt x="679256" y="1321717"/>
                    <a:pt x="598399" y="1321717"/>
                  </a:cubicBezTo>
                  <a:cubicBezTo>
                    <a:pt x="517542" y="1321717"/>
                    <a:pt x="451994" y="1215279"/>
                    <a:pt x="451994" y="1083980"/>
                  </a:cubicBezTo>
                  <a:cubicBezTo>
                    <a:pt x="451994" y="952681"/>
                    <a:pt x="517542" y="847671"/>
                    <a:pt x="598399" y="846243"/>
                  </a:cubicBezTo>
                  <a:close/>
                  <a:moveTo>
                    <a:pt x="605587" y="689066"/>
                  </a:moveTo>
                  <a:cubicBezTo>
                    <a:pt x="444485" y="691447"/>
                    <a:pt x="313884" y="866575"/>
                    <a:pt x="313884" y="1085544"/>
                  </a:cubicBezTo>
                  <a:cubicBezTo>
                    <a:pt x="313884" y="1304513"/>
                    <a:pt x="444484" y="1482022"/>
                    <a:pt x="605587" y="1482022"/>
                  </a:cubicBezTo>
                  <a:cubicBezTo>
                    <a:pt x="766690" y="1482022"/>
                    <a:pt x="897290" y="1304513"/>
                    <a:pt x="897290" y="1085544"/>
                  </a:cubicBezTo>
                  <a:cubicBezTo>
                    <a:pt x="897290" y="866575"/>
                    <a:pt x="766689" y="686685"/>
                    <a:pt x="605587" y="689066"/>
                  </a:cubicBezTo>
                  <a:close/>
                  <a:moveTo>
                    <a:pt x="2135539" y="533994"/>
                  </a:moveTo>
                  <a:lnTo>
                    <a:pt x="2135539" y="1217358"/>
                  </a:lnTo>
                  <a:cubicBezTo>
                    <a:pt x="2071819" y="1178130"/>
                    <a:pt x="1996658" y="1156586"/>
                    <a:pt x="1916464" y="1156586"/>
                  </a:cubicBezTo>
                  <a:cubicBezTo>
                    <a:pt x="1767936" y="1156586"/>
                    <a:pt x="1636669" y="1230491"/>
                    <a:pt x="1557971" y="1343911"/>
                  </a:cubicBezTo>
                  <a:lnTo>
                    <a:pt x="1349728" y="1343911"/>
                  </a:lnTo>
                  <a:lnTo>
                    <a:pt x="1349728" y="814214"/>
                  </a:lnTo>
                  <a:cubicBezTo>
                    <a:pt x="1398247" y="851356"/>
                    <a:pt x="1450870" y="892383"/>
                    <a:pt x="1511421" y="939778"/>
                  </a:cubicBezTo>
                  <a:cubicBezTo>
                    <a:pt x="1540576" y="974523"/>
                    <a:pt x="1592376" y="979055"/>
                    <a:pt x="1627120" y="949900"/>
                  </a:cubicBezTo>
                  <a:close/>
                  <a:moveTo>
                    <a:pt x="1349728" y="381885"/>
                  </a:moveTo>
                  <a:lnTo>
                    <a:pt x="2106970" y="381885"/>
                  </a:lnTo>
                  <a:cubicBezTo>
                    <a:pt x="2122748" y="381885"/>
                    <a:pt x="2135539" y="394676"/>
                    <a:pt x="2135539" y="410454"/>
                  </a:cubicBezTo>
                  <a:lnTo>
                    <a:pt x="2135539" y="425070"/>
                  </a:lnTo>
                  <a:lnTo>
                    <a:pt x="1584196" y="875416"/>
                  </a:lnTo>
                  <a:cubicBezTo>
                    <a:pt x="1576134" y="882180"/>
                    <a:pt x="1564114" y="881129"/>
                    <a:pt x="1557349" y="873067"/>
                  </a:cubicBezTo>
                  <a:cubicBezTo>
                    <a:pt x="1517580" y="841591"/>
                    <a:pt x="1434575" y="771203"/>
                    <a:pt x="1349728" y="700178"/>
                  </a:cubicBezTo>
                  <a:close/>
                  <a:moveTo>
                    <a:pt x="1298713" y="0"/>
                  </a:moveTo>
                  <a:lnTo>
                    <a:pt x="1298713" y="2154513"/>
                  </a:lnTo>
                  <a:lnTo>
                    <a:pt x="0" y="1932953"/>
                  </a:lnTo>
                  <a:lnTo>
                    <a:pt x="0" y="223423"/>
                  </a:lnTo>
                  <a:close/>
                </a:path>
              </a:pathLst>
            </a:custGeom>
            <a:solidFill>
              <a:srgbClr val="0072C6"/>
            </a:solidFill>
            <a:ln w="1079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latin typeface="Segoe UI"/>
                <a:ea typeface="+mn-ea"/>
                <a:cs typeface="+mn-cs"/>
              </a:endParaRPr>
            </a:p>
          </p:txBody>
        </p:sp>
      </p:grpSp>
      <p:pic>
        <p:nvPicPr>
          <p:cNvPr id="34" name="Picture 33"/>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3437527" y="2287994"/>
            <a:ext cx="407054" cy="407965"/>
          </a:xfrm>
          <a:prstGeom prst="rect">
            <a:avLst/>
          </a:prstGeom>
        </p:spPr>
      </p:pic>
      <p:pic>
        <p:nvPicPr>
          <p:cNvPr id="36" name="Picture 35"/>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2711092" y="2333901"/>
            <a:ext cx="414249" cy="415176"/>
          </a:xfrm>
          <a:prstGeom prst="rect">
            <a:avLst/>
          </a:prstGeom>
        </p:spPr>
      </p:pic>
      <p:pic>
        <p:nvPicPr>
          <p:cNvPr id="39" name="Picture 38"/>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2941602" y="2969564"/>
            <a:ext cx="435476" cy="436450"/>
          </a:xfrm>
          <a:prstGeom prst="rect">
            <a:avLst/>
          </a:prstGeom>
        </p:spPr>
      </p:pic>
    </p:spTree>
    <p:extLst>
      <p:ext uri="{BB962C8B-B14F-4D97-AF65-F5344CB8AC3E}">
        <p14:creationId xmlns:p14="http://schemas.microsoft.com/office/powerpoint/2010/main" val="171733208"/>
      </p:ext>
    </p:extLst>
  </p:cSld>
  <p:clrMapOvr>
    <a:masterClrMapping/>
  </p:clrMapOvr>
  <p:transition spd="slow">
    <p:cove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4" name="Freeform 111"/>
          <p:cNvSpPr>
            <a:spLocks/>
          </p:cNvSpPr>
          <p:nvPr/>
        </p:nvSpPr>
        <p:spPr bwMode="auto">
          <a:xfrm>
            <a:off x="2234620" y="5362793"/>
            <a:ext cx="8355996" cy="1493465"/>
          </a:xfrm>
          <a:custGeom>
            <a:avLst/>
            <a:gdLst>
              <a:gd name="T0" fmla="*/ 0 w 8788"/>
              <a:gd name="T1" fmla="*/ 2571 h 2571"/>
              <a:gd name="T2" fmla="*/ 8788 w 8788"/>
              <a:gd name="T3" fmla="*/ 2571 h 2571"/>
              <a:gd name="T4" fmla="*/ 8788 w 8788"/>
              <a:gd name="T5" fmla="*/ 2070 h 2571"/>
              <a:gd name="T6" fmla="*/ 0 w 8788"/>
              <a:gd name="T7" fmla="*/ 2571 h 2571"/>
            </a:gdLst>
            <a:ahLst/>
            <a:cxnLst>
              <a:cxn ang="0">
                <a:pos x="T0" y="T1"/>
              </a:cxn>
              <a:cxn ang="0">
                <a:pos x="T2" y="T3"/>
              </a:cxn>
              <a:cxn ang="0">
                <a:pos x="T4" y="T5"/>
              </a:cxn>
              <a:cxn ang="0">
                <a:pos x="T6" y="T7"/>
              </a:cxn>
            </a:cxnLst>
            <a:rect l="0" t="0" r="r" b="b"/>
            <a:pathLst>
              <a:path w="8788" h="2571">
                <a:moveTo>
                  <a:pt x="0" y="2571"/>
                </a:moveTo>
                <a:lnTo>
                  <a:pt x="8788" y="2571"/>
                </a:lnTo>
                <a:lnTo>
                  <a:pt x="8788" y="2070"/>
                </a:lnTo>
                <a:cubicBezTo>
                  <a:pt x="6191" y="0"/>
                  <a:pt x="2404" y="167"/>
                  <a:pt x="0" y="2571"/>
                </a:cubicBezTo>
              </a:path>
            </a:pathLst>
          </a:custGeom>
          <a:solidFill>
            <a:srgbClr val="7FBA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3F3F3F"/>
              </a:solidFill>
            </a:endParaRPr>
          </a:p>
        </p:txBody>
      </p:sp>
      <p:sp>
        <p:nvSpPr>
          <p:cNvPr id="20" name="TextBox 19"/>
          <p:cNvSpPr txBox="1"/>
          <p:nvPr/>
        </p:nvSpPr>
        <p:spPr>
          <a:xfrm>
            <a:off x="563887" y="311561"/>
            <a:ext cx="10481484" cy="1348061"/>
          </a:xfrm>
          <a:prstGeom prst="rect">
            <a:avLst/>
          </a:prstGeom>
          <a:noFill/>
        </p:spPr>
        <p:txBody>
          <a:bodyPr wrap="square" rtlCol="0">
            <a:spAutoFit/>
          </a:bodyPr>
          <a:lstStyle/>
          <a:p>
            <a:pPr>
              <a:lnSpc>
                <a:spcPct val="85000"/>
              </a:lnSpc>
            </a:pPr>
            <a:r>
              <a:rPr lang="en-US" sz="4800" spc="-100" dirty="0" smtClean="0">
                <a:solidFill>
                  <a:srgbClr val="0072C6"/>
                </a:solidFill>
                <a:latin typeface="Segoe UI Bold" panose="020B0802040204020203" pitchFamily="34" charset="0"/>
                <a:ea typeface="Segoe UI Bold" panose="020B0802040204020203" pitchFamily="34" charset="0"/>
                <a:cs typeface="Segoe UI Bold" panose="020B0802040204020203" pitchFamily="34" charset="0"/>
              </a:rPr>
              <a:t>A modern Office </a:t>
            </a:r>
          </a:p>
          <a:p>
            <a:pPr>
              <a:lnSpc>
                <a:spcPct val="85000"/>
              </a:lnSpc>
            </a:pPr>
            <a:r>
              <a:rPr lang="en-US" sz="4800" spc="-100" dirty="0" smtClean="0">
                <a:solidFill>
                  <a:srgbClr val="0072C6"/>
                </a:solidFill>
                <a:latin typeface="Segoe UI Bold" panose="020B0802040204020203" pitchFamily="34" charset="0"/>
                <a:ea typeface="Segoe UI Bold" panose="020B0802040204020203" pitchFamily="34" charset="0"/>
                <a:cs typeface="Segoe UI Bold" panose="020B0802040204020203" pitchFamily="34" charset="0"/>
              </a:rPr>
              <a:t>that meets your needs</a:t>
            </a:r>
          </a:p>
        </p:txBody>
      </p:sp>
      <p:sp>
        <p:nvSpPr>
          <p:cNvPr id="159" name="Freeform 263"/>
          <p:cNvSpPr>
            <a:spLocks/>
          </p:cNvSpPr>
          <p:nvPr/>
        </p:nvSpPr>
        <p:spPr bwMode="auto">
          <a:xfrm>
            <a:off x="7991448" y="5902825"/>
            <a:ext cx="4747452" cy="947443"/>
          </a:xfrm>
          <a:custGeom>
            <a:avLst/>
            <a:gdLst>
              <a:gd name="T0" fmla="*/ 3769 w 4819"/>
              <a:gd name="T1" fmla="*/ 322 h 1038"/>
              <a:gd name="T2" fmla="*/ 2979 w 4819"/>
              <a:gd name="T3" fmla="*/ 87 h 1038"/>
              <a:gd name="T4" fmla="*/ 2571 w 4819"/>
              <a:gd name="T5" fmla="*/ 44 h 1038"/>
              <a:gd name="T6" fmla="*/ 0 w 4819"/>
              <a:gd name="T7" fmla="*/ 1038 h 1038"/>
              <a:gd name="T8" fmla="*/ 1706 w 4819"/>
              <a:gd name="T9" fmla="*/ 1038 h 1038"/>
              <a:gd name="T10" fmla="*/ 4819 w 4819"/>
              <a:gd name="T11" fmla="*/ 1038 h 1038"/>
              <a:gd name="T12" fmla="*/ 3769 w 4819"/>
              <a:gd name="T13" fmla="*/ 322 h 1038"/>
            </a:gdLst>
            <a:ahLst/>
            <a:cxnLst>
              <a:cxn ang="0">
                <a:pos x="T0" y="T1"/>
              </a:cxn>
              <a:cxn ang="0">
                <a:pos x="T2" y="T3"/>
              </a:cxn>
              <a:cxn ang="0">
                <a:pos x="T4" y="T5"/>
              </a:cxn>
              <a:cxn ang="0">
                <a:pos x="T6" y="T7"/>
              </a:cxn>
              <a:cxn ang="0">
                <a:pos x="T8" y="T9"/>
              </a:cxn>
              <a:cxn ang="0">
                <a:pos x="T10" y="T11"/>
              </a:cxn>
              <a:cxn ang="0">
                <a:pos x="T12" y="T13"/>
              </a:cxn>
            </a:cxnLst>
            <a:rect l="0" t="0" r="r" b="b"/>
            <a:pathLst>
              <a:path w="4819" h="1038">
                <a:moveTo>
                  <a:pt x="3769" y="322"/>
                </a:moveTo>
                <a:cubicBezTo>
                  <a:pt x="3514" y="211"/>
                  <a:pt x="3249" y="133"/>
                  <a:pt x="2979" y="87"/>
                </a:cubicBezTo>
                <a:cubicBezTo>
                  <a:pt x="2844" y="65"/>
                  <a:pt x="2708" y="50"/>
                  <a:pt x="2571" y="44"/>
                </a:cubicBezTo>
                <a:cubicBezTo>
                  <a:pt x="1646" y="0"/>
                  <a:pt x="707" y="331"/>
                  <a:pt x="0" y="1038"/>
                </a:cubicBezTo>
                <a:lnTo>
                  <a:pt x="1706" y="1038"/>
                </a:lnTo>
                <a:lnTo>
                  <a:pt x="4819" y="1038"/>
                </a:lnTo>
                <a:cubicBezTo>
                  <a:pt x="4507" y="726"/>
                  <a:pt x="4150" y="488"/>
                  <a:pt x="3769" y="322"/>
                </a:cubicBezTo>
              </a:path>
            </a:pathLst>
          </a:custGeom>
          <a:solidFill>
            <a:srgbClr val="BAD80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3F3F3F"/>
              </a:solidFill>
            </a:endParaRPr>
          </a:p>
        </p:txBody>
      </p:sp>
      <p:grpSp>
        <p:nvGrpSpPr>
          <p:cNvPr id="192" name="Group 191"/>
          <p:cNvGrpSpPr/>
          <p:nvPr/>
        </p:nvGrpSpPr>
        <p:grpSpPr>
          <a:xfrm>
            <a:off x="10463041" y="4940953"/>
            <a:ext cx="455876" cy="1463208"/>
            <a:chOff x="9757348" y="4314829"/>
            <a:chExt cx="513108" cy="1749563"/>
          </a:xfrm>
        </p:grpSpPr>
        <p:sp>
          <p:nvSpPr>
            <p:cNvPr id="193" name="Rounded Rectangle 192"/>
            <p:cNvSpPr/>
            <p:nvPr/>
          </p:nvSpPr>
          <p:spPr bwMode="auto">
            <a:xfrm>
              <a:off x="10215199" y="5099682"/>
              <a:ext cx="47363" cy="105938"/>
            </a:xfrm>
            <a:prstGeom prst="roundRect">
              <a:avLst>
                <a:gd name="adj" fmla="val 50000"/>
              </a:avLst>
            </a:prstGeom>
            <a:solidFill>
              <a:srgbClr val="FFC0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94" name="Freeform 193"/>
            <p:cNvSpPr/>
            <p:nvPr/>
          </p:nvSpPr>
          <p:spPr bwMode="auto">
            <a:xfrm flipH="1">
              <a:off x="9854994" y="5102232"/>
              <a:ext cx="321493" cy="892704"/>
            </a:xfrm>
            <a:custGeom>
              <a:avLst/>
              <a:gdLst>
                <a:gd name="connsiteX0" fmla="*/ 525245 w 525245"/>
                <a:gd name="connsiteY0" fmla="*/ 0 h 1144902"/>
                <a:gd name="connsiteX1" fmla="*/ 312606 w 525245"/>
                <a:gd name="connsiteY1" fmla="*/ 0 h 1144902"/>
                <a:gd name="connsiteX2" fmla="*/ 312606 w 525245"/>
                <a:gd name="connsiteY2" fmla="*/ 33054 h 1144902"/>
                <a:gd name="connsiteX3" fmla="*/ 198983 w 525245"/>
                <a:gd name="connsiteY3" fmla="*/ 33054 h 1144902"/>
                <a:gd name="connsiteX4" fmla="*/ 198983 w 525245"/>
                <a:gd name="connsiteY4" fmla="*/ 0 h 1144902"/>
                <a:gd name="connsiteX5" fmla="*/ 0 w 525245"/>
                <a:gd name="connsiteY5" fmla="*/ 0 h 1144902"/>
                <a:gd name="connsiteX6" fmla="*/ 0 w 525245"/>
                <a:gd name="connsiteY6" fmla="*/ 45719 h 1144902"/>
                <a:gd name="connsiteX7" fmla="*/ 20739 w 525245"/>
                <a:gd name="connsiteY7" fmla="*/ 45719 h 1144902"/>
                <a:gd name="connsiteX8" fmla="*/ 73857 w 525245"/>
                <a:gd name="connsiteY8" fmla="*/ 1144902 h 1144902"/>
                <a:gd name="connsiteX9" fmla="*/ 223876 w 525245"/>
                <a:gd name="connsiteY9" fmla="*/ 1142521 h 1144902"/>
                <a:gd name="connsiteX10" fmla="*/ 263646 w 525245"/>
                <a:gd name="connsiteY10" fmla="*/ 218443 h 1144902"/>
                <a:gd name="connsiteX11" fmla="*/ 267345 w 525245"/>
                <a:gd name="connsiteY11" fmla="*/ 217759 h 1144902"/>
                <a:gd name="connsiteX12" fmla="*/ 302458 w 525245"/>
                <a:gd name="connsiteY12" fmla="*/ 1135377 h 1144902"/>
                <a:gd name="connsiteX13" fmla="*/ 454857 w 525245"/>
                <a:gd name="connsiteY13" fmla="*/ 1132996 h 1144902"/>
                <a:gd name="connsiteX14" fmla="*/ 500546 w 525245"/>
                <a:gd name="connsiteY14" fmla="*/ 45719 h 1144902"/>
                <a:gd name="connsiteX15" fmla="*/ 525245 w 525245"/>
                <a:gd name="connsiteY15" fmla="*/ 45719 h 1144902"/>
                <a:gd name="connsiteX0" fmla="*/ 525245 w 525245"/>
                <a:gd name="connsiteY0" fmla="*/ 0 h 1144902"/>
                <a:gd name="connsiteX1" fmla="*/ 312606 w 525245"/>
                <a:gd name="connsiteY1" fmla="*/ 0 h 1144902"/>
                <a:gd name="connsiteX2" fmla="*/ 312606 w 525245"/>
                <a:gd name="connsiteY2" fmla="*/ 33054 h 1144902"/>
                <a:gd name="connsiteX3" fmla="*/ 198983 w 525245"/>
                <a:gd name="connsiteY3" fmla="*/ 33054 h 1144902"/>
                <a:gd name="connsiteX4" fmla="*/ 198983 w 525245"/>
                <a:gd name="connsiteY4" fmla="*/ 0 h 1144902"/>
                <a:gd name="connsiteX5" fmla="*/ 0 w 525245"/>
                <a:gd name="connsiteY5" fmla="*/ 0 h 1144902"/>
                <a:gd name="connsiteX6" fmla="*/ 0 w 525245"/>
                <a:gd name="connsiteY6" fmla="*/ 45719 h 1144902"/>
                <a:gd name="connsiteX7" fmla="*/ 20739 w 525245"/>
                <a:gd name="connsiteY7" fmla="*/ 45719 h 1144902"/>
                <a:gd name="connsiteX8" fmla="*/ 73857 w 525245"/>
                <a:gd name="connsiteY8" fmla="*/ 1144902 h 1144902"/>
                <a:gd name="connsiteX9" fmla="*/ 223876 w 525245"/>
                <a:gd name="connsiteY9" fmla="*/ 1142521 h 1144902"/>
                <a:gd name="connsiteX10" fmla="*/ 263646 w 525245"/>
                <a:gd name="connsiteY10" fmla="*/ 218443 h 1144902"/>
                <a:gd name="connsiteX11" fmla="*/ 267345 w 525245"/>
                <a:gd name="connsiteY11" fmla="*/ 217759 h 1144902"/>
                <a:gd name="connsiteX12" fmla="*/ 302458 w 525245"/>
                <a:gd name="connsiteY12" fmla="*/ 1135377 h 1144902"/>
                <a:gd name="connsiteX13" fmla="*/ 454857 w 525245"/>
                <a:gd name="connsiteY13" fmla="*/ 1132996 h 1144902"/>
                <a:gd name="connsiteX14" fmla="*/ 504375 w 525245"/>
                <a:gd name="connsiteY14" fmla="*/ 223853 h 1144902"/>
                <a:gd name="connsiteX15" fmla="*/ 500546 w 525245"/>
                <a:gd name="connsiteY15" fmla="*/ 45719 h 1144902"/>
                <a:gd name="connsiteX16" fmla="*/ 525245 w 525245"/>
                <a:gd name="connsiteY16" fmla="*/ 45719 h 1144902"/>
                <a:gd name="connsiteX17" fmla="*/ 525245 w 525245"/>
                <a:gd name="connsiteY17" fmla="*/ 0 h 1144902"/>
                <a:gd name="connsiteX0" fmla="*/ 525245 w 525245"/>
                <a:gd name="connsiteY0" fmla="*/ 0 h 1144902"/>
                <a:gd name="connsiteX1" fmla="*/ 312606 w 525245"/>
                <a:gd name="connsiteY1" fmla="*/ 0 h 1144902"/>
                <a:gd name="connsiteX2" fmla="*/ 312606 w 525245"/>
                <a:gd name="connsiteY2" fmla="*/ 33054 h 1144902"/>
                <a:gd name="connsiteX3" fmla="*/ 198983 w 525245"/>
                <a:gd name="connsiteY3" fmla="*/ 33054 h 1144902"/>
                <a:gd name="connsiteX4" fmla="*/ 198983 w 525245"/>
                <a:gd name="connsiteY4" fmla="*/ 0 h 1144902"/>
                <a:gd name="connsiteX5" fmla="*/ 0 w 525245"/>
                <a:gd name="connsiteY5" fmla="*/ 0 h 1144902"/>
                <a:gd name="connsiteX6" fmla="*/ 0 w 525245"/>
                <a:gd name="connsiteY6" fmla="*/ 45719 h 1144902"/>
                <a:gd name="connsiteX7" fmla="*/ 20739 w 525245"/>
                <a:gd name="connsiteY7" fmla="*/ 45719 h 1144902"/>
                <a:gd name="connsiteX8" fmla="*/ 18408 w 525245"/>
                <a:gd name="connsiteY8" fmla="*/ 218246 h 1144902"/>
                <a:gd name="connsiteX9" fmla="*/ 73857 w 525245"/>
                <a:gd name="connsiteY9" fmla="*/ 1144902 h 1144902"/>
                <a:gd name="connsiteX10" fmla="*/ 223876 w 525245"/>
                <a:gd name="connsiteY10" fmla="*/ 1142521 h 1144902"/>
                <a:gd name="connsiteX11" fmla="*/ 263646 w 525245"/>
                <a:gd name="connsiteY11" fmla="*/ 218443 h 1144902"/>
                <a:gd name="connsiteX12" fmla="*/ 267345 w 525245"/>
                <a:gd name="connsiteY12" fmla="*/ 217759 h 1144902"/>
                <a:gd name="connsiteX13" fmla="*/ 302458 w 525245"/>
                <a:gd name="connsiteY13" fmla="*/ 1135377 h 1144902"/>
                <a:gd name="connsiteX14" fmla="*/ 454857 w 525245"/>
                <a:gd name="connsiteY14" fmla="*/ 1132996 h 1144902"/>
                <a:gd name="connsiteX15" fmla="*/ 504375 w 525245"/>
                <a:gd name="connsiteY15" fmla="*/ 223853 h 1144902"/>
                <a:gd name="connsiteX16" fmla="*/ 500546 w 525245"/>
                <a:gd name="connsiteY16" fmla="*/ 45719 h 1144902"/>
                <a:gd name="connsiteX17" fmla="*/ 525245 w 525245"/>
                <a:gd name="connsiteY17" fmla="*/ 45719 h 1144902"/>
                <a:gd name="connsiteX18" fmla="*/ 525245 w 525245"/>
                <a:gd name="connsiteY18" fmla="*/ 0 h 1144902"/>
                <a:gd name="connsiteX0" fmla="*/ 525245 w 525245"/>
                <a:gd name="connsiteY0" fmla="*/ 0 h 1144902"/>
                <a:gd name="connsiteX1" fmla="*/ 312606 w 525245"/>
                <a:gd name="connsiteY1" fmla="*/ 0 h 1144902"/>
                <a:gd name="connsiteX2" fmla="*/ 312606 w 525245"/>
                <a:gd name="connsiteY2" fmla="*/ 33054 h 1144902"/>
                <a:gd name="connsiteX3" fmla="*/ 198983 w 525245"/>
                <a:gd name="connsiteY3" fmla="*/ 33054 h 1144902"/>
                <a:gd name="connsiteX4" fmla="*/ 198983 w 525245"/>
                <a:gd name="connsiteY4" fmla="*/ 0 h 1144902"/>
                <a:gd name="connsiteX5" fmla="*/ 0 w 525245"/>
                <a:gd name="connsiteY5" fmla="*/ 0 h 1144902"/>
                <a:gd name="connsiteX6" fmla="*/ 0 w 525245"/>
                <a:gd name="connsiteY6" fmla="*/ 45719 h 1144902"/>
                <a:gd name="connsiteX7" fmla="*/ 20739 w 525245"/>
                <a:gd name="connsiteY7" fmla="*/ 45719 h 1144902"/>
                <a:gd name="connsiteX8" fmla="*/ 18408 w 525245"/>
                <a:gd name="connsiteY8" fmla="*/ 218246 h 1144902"/>
                <a:gd name="connsiteX9" fmla="*/ 73857 w 525245"/>
                <a:gd name="connsiteY9" fmla="*/ 1144902 h 1144902"/>
                <a:gd name="connsiteX10" fmla="*/ 223876 w 525245"/>
                <a:gd name="connsiteY10" fmla="*/ 1142521 h 1144902"/>
                <a:gd name="connsiteX11" fmla="*/ 263646 w 525245"/>
                <a:gd name="connsiteY11" fmla="*/ 218443 h 1144902"/>
                <a:gd name="connsiteX12" fmla="*/ 267345 w 525245"/>
                <a:gd name="connsiteY12" fmla="*/ 217759 h 1144902"/>
                <a:gd name="connsiteX13" fmla="*/ 302458 w 525245"/>
                <a:gd name="connsiteY13" fmla="*/ 1135377 h 1144902"/>
                <a:gd name="connsiteX14" fmla="*/ 454857 w 525245"/>
                <a:gd name="connsiteY14" fmla="*/ 1132996 h 1144902"/>
                <a:gd name="connsiteX15" fmla="*/ 504375 w 525245"/>
                <a:gd name="connsiteY15" fmla="*/ 207034 h 1144902"/>
                <a:gd name="connsiteX16" fmla="*/ 500546 w 525245"/>
                <a:gd name="connsiteY16" fmla="*/ 45719 h 1144902"/>
                <a:gd name="connsiteX17" fmla="*/ 525245 w 525245"/>
                <a:gd name="connsiteY17" fmla="*/ 45719 h 1144902"/>
                <a:gd name="connsiteX18" fmla="*/ 525245 w 525245"/>
                <a:gd name="connsiteY18" fmla="*/ 0 h 1144902"/>
                <a:gd name="connsiteX0" fmla="*/ 525245 w 525245"/>
                <a:gd name="connsiteY0" fmla="*/ 0 h 1144902"/>
                <a:gd name="connsiteX1" fmla="*/ 312606 w 525245"/>
                <a:gd name="connsiteY1" fmla="*/ 0 h 1144902"/>
                <a:gd name="connsiteX2" fmla="*/ 312606 w 525245"/>
                <a:gd name="connsiteY2" fmla="*/ 33054 h 1144902"/>
                <a:gd name="connsiteX3" fmla="*/ 198983 w 525245"/>
                <a:gd name="connsiteY3" fmla="*/ 33054 h 1144902"/>
                <a:gd name="connsiteX4" fmla="*/ 198983 w 525245"/>
                <a:gd name="connsiteY4" fmla="*/ 0 h 1144902"/>
                <a:gd name="connsiteX5" fmla="*/ 0 w 525245"/>
                <a:gd name="connsiteY5" fmla="*/ 0 h 1144902"/>
                <a:gd name="connsiteX6" fmla="*/ 0 w 525245"/>
                <a:gd name="connsiteY6" fmla="*/ 45719 h 1144902"/>
                <a:gd name="connsiteX7" fmla="*/ 20739 w 525245"/>
                <a:gd name="connsiteY7" fmla="*/ 45719 h 1144902"/>
                <a:gd name="connsiteX8" fmla="*/ 3455 w 525245"/>
                <a:gd name="connsiteY8" fmla="*/ 218246 h 1144902"/>
                <a:gd name="connsiteX9" fmla="*/ 73857 w 525245"/>
                <a:gd name="connsiteY9" fmla="*/ 1144902 h 1144902"/>
                <a:gd name="connsiteX10" fmla="*/ 223876 w 525245"/>
                <a:gd name="connsiteY10" fmla="*/ 1142521 h 1144902"/>
                <a:gd name="connsiteX11" fmla="*/ 263646 w 525245"/>
                <a:gd name="connsiteY11" fmla="*/ 218443 h 1144902"/>
                <a:gd name="connsiteX12" fmla="*/ 267345 w 525245"/>
                <a:gd name="connsiteY12" fmla="*/ 217759 h 1144902"/>
                <a:gd name="connsiteX13" fmla="*/ 302458 w 525245"/>
                <a:gd name="connsiteY13" fmla="*/ 1135377 h 1144902"/>
                <a:gd name="connsiteX14" fmla="*/ 454857 w 525245"/>
                <a:gd name="connsiteY14" fmla="*/ 1132996 h 1144902"/>
                <a:gd name="connsiteX15" fmla="*/ 504375 w 525245"/>
                <a:gd name="connsiteY15" fmla="*/ 207034 h 1144902"/>
                <a:gd name="connsiteX16" fmla="*/ 500546 w 525245"/>
                <a:gd name="connsiteY16" fmla="*/ 45719 h 1144902"/>
                <a:gd name="connsiteX17" fmla="*/ 525245 w 525245"/>
                <a:gd name="connsiteY17" fmla="*/ 45719 h 1144902"/>
                <a:gd name="connsiteX18" fmla="*/ 525245 w 525245"/>
                <a:gd name="connsiteY18" fmla="*/ 0 h 1144902"/>
                <a:gd name="connsiteX0" fmla="*/ 525245 w 525245"/>
                <a:gd name="connsiteY0" fmla="*/ 0 h 1144902"/>
                <a:gd name="connsiteX1" fmla="*/ 312606 w 525245"/>
                <a:gd name="connsiteY1" fmla="*/ 0 h 1144902"/>
                <a:gd name="connsiteX2" fmla="*/ 312606 w 525245"/>
                <a:gd name="connsiteY2" fmla="*/ 33054 h 1144902"/>
                <a:gd name="connsiteX3" fmla="*/ 198983 w 525245"/>
                <a:gd name="connsiteY3" fmla="*/ 33054 h 1144902"/>
                <a:gd name="connsiteX4" fmla="*/ 198983 w 525245"/>
                <a:gd name="connsiteY4" fmla="*/ 0 h 1144902"/>
                <a:gd name="connsiteX5" fmla="*/ 0 w 525245"/>
                <a:gd name="connsiteY5" fmla="*/ 0 h 1144902"/>
                <a:gd name="connsiteX6" fmla="*/ 0 w 525245"/>
                <a:gd name="connsiteY6" fmla="*/ 45719 h 1144902"/>
                <a:gd name="connsiteX7" fmla="*/ 20739 w 525245"/>
                <a:gd name="connsiteY7" fmla="*/ 45719 h 1144902"/>
                <a:gd name="connsiteX8" fmla="*/ 3455 w 525245"/>
                <a:gd name="connsiteY8" fmla="*/ 218246 h 1144902"/>
                <a:gd name="connsiteX9" fmla="*/ 73857 w 525245"/>
                <a:gd name="connsiteY9" fmla="*/ 1144902 h 1144902"/>
                <a:gd name="connsiteX10" fmla="*/ 223876 w 525245"/>
                <a:gd name="connsiteY10" fmla="*/ 1142521 h 1144902"/>
                <a:gd name="connsiteX11" fmla="*/ 263646 w 525245"/>
                <a:gd name="connsiteY11" fmla="*/ 218443 h 1144902"/>
                <a:gd name="connsiteX12" fmla="*/ 267345 w 525245"/>
                <a:gd name="connsiteY12" fmla="*/ 217759 h 1144902"/>
                <a:gd name="connsiteX13" fmla="*/ 302458 w 525245"/>
                <a:gd name="connsiteY13" fmla="*/ 1135377 h 1144902"/>
                <a:gd name="connsiteX14" fmla="*/ 454857 w 525245"/>
                <a:gd name="connsiteY14" fmla="*/ 1132996 h 1144902"/>
                <a:gd name="connsiteX15" fmla="*/ 519328 w 525245"/>
                <a:gd name="connsiteY15" fmla="*/ 207034 h 1144902"/>
                <a:gd name="connsiteX16" fmla="*/ 500546 w 525245"/>
                <a:gd name="connsiteY16" fmla="*/ 45719 h 1144902"/>
                <a:gd name="connsiteX17" fmla="*/ 525245 w 525245"/>
                <a:gd name="connsiteY17" fmla="*/ 45719 h 1144902"/>
                <a:gd name="connsiteX18" fmla="*/ 525245 w 525245"/>
                <a:gd name="connsiteY18" fmla="*/ 0 h 1144902"/>
                <a:gd name="connsiteX0" fmla="*/ 525245 w 678362"/>
                <a:gd name="connsiteY0" fmla="*/ 0 h 1144902"/>
                <a:gd name="connsiteX1" fmla="*/ 312606 w 678362"/>
                <a:gd name="connsiteY1" fmla="*/ 0 h 1144902"/>
                <a:gd name="connsiteX2" fmla="*/ 312606 w 678362"/>
                <a:gd name="connsiteY2" fmla="*/ 33054 h 1144902"/>
                <a:gd name="connsiteX3" fmla="*/ 198983 w 678362"/>
                <a:gd name="connsiteY3" fmla="*/ 33054 h 1144902"/>
                <a:gd name="connsiteX4" fmla="*/ 198983 w 678362"/>
                <a:gd name="connsiteY4" fmla="*/ 0 h 1144902"/>
                <a:gd name="connsiteX5" fmla="*/ 0 w 678362"/>
                <a:gd name="connsiteY5" fmla="*/ 0 h 1144902"/>
                <a:gd name="connsiteX6" fmla="*/ 0 w 678362"/>
                <a:gd name="connsiteY6" fmla="*/ 45719 h 1144902"/>
                <a:gd name="connsiteX7" fmla="*/ 20739 w 678362"/>
                <a:gd name="connsiteY7" fmla="*/ 45719 h 1144902"/>
                <a:gd name="connsiteX8" fmla="*/ 3455 w 678362"/>
                <a:gd name="connsiteY8" fmla="*/ 218246 h 1144902"/>
                <a:gd name="connsiteX9" fmla="*/ 73857 w 678362"/>
                <a:gd name="connsiteY9" fmla="*/ 1144902 h 1144902"/>
                <a:gd name="connsiteX10" fmla="*/ 223876 w 678362"/>
                <a:gd name="connsiteY10" fmla="*/ 1142521 h 1144902"/>
                <a:gd name="connsiteX11" fmla="*/ 263646 w 678362"/>
                <a:gd name="connsiteY11" fmla="*/ 218443 h 1144902"/>
                <a:gd name="connsiteX12" fmla="*/ 267345 w 678362"/>
                <a:gd name="connsiteY12" fmla="*/ 217759 h 1144902"/>
                <a:gd name="connsiteX13" fmla="*/ 302458 w 678362"/>
                <a:gd name="connsiteY13" fmla="*/ 1135377 h 1144902"/>
                <a:gd name="connsiteX14" fmla="*/ 454857 w 678362"/>
                <a:gd name="connsiteY14" fmla="*/ 1132996 h 1144902"/>
                <a:gd name="connsiteX15" fmla="*/ 519328 w 678362"/>
                <a:gd name="connsiteY15" fmla="*/ 207034 h 1144902"/>
                <a:gd name="connsiteX16" fmla="*/ 500546 w 678362"/>
                <a:gd name="connsiteY16" fmla="*/ 45719 h 1144902"/>
                <a:gd name="connsiteX17" fmla="*/ 678362 w 678362"/>
                <a:gd name="connsiteY17" fmla="*/ 60071 h 1144902"/>
                <a:gd name="connsiteX18" fmla="*/ 525245 w 678362"/>
                <a:gd name="connsiteY18" fmla="*/ 0 h 1144902"/>
                <a:gd name="connsiteX0" fmla="*/ 525245 w 678362"/>
                <a:gd name="connsiteY0" fmla="*/ 0 h 1144902"/>
                <a:gd name="connsiteX1" fmla="*/ 312606 w 678362"/>
                <a:gd name="connsiteY1" fmla="*/ 0 h 1144902"/>
                <a:gd name="connsiteX2" fmla="*/ 312606 w 678362"/>
                <a:gd name="connsiteY2" fmla="*/ 33054 h 1144902"/>
                <a:gd name="connsiteX3" fmla="*/ 198983 w 678362"/>
                <a:gd name="connsiteY3" fmla="*/ 33054 h 1144902"/>
                <a:gd name="connsiteX4" fmla="*/ 198983 w 678362"/>
                <a:gd name="connsiteY4" fmla="*/ 0 h 1144902"/>
                <a:gd name="connsiteX5" fmla="*/ 0 w 678362"/>
                <a:gd name="connsiteY5" fmla="*/ 0 h 1144902"/>
                <a:gd name="connsiteX6" fmla="*/ 0 w 678362"/>
                <a:gd name="connsiteY6" fmla="*/ 45719 h 1144902"/>
                <a:gd name="connsiteX7" fmla="*/ 20739 w 678362"/>
                <a:gd name="connsiteY7" fmla="*/ 45719 h 1144902"/>
                <a:gd name="connsiteX8" fmla="*/ 3455 w 678362"/>
                <a:gd name="connsiteY8" fmla="*/ 218246 h 1144902"/>
                <a:gd name="connsiteX9" fmla="*/ 73857 w 678362"/>
                <a:gd name="connsiteY9" fmla="*/ 1144902 h 1144902"/>
                <a:gd name="connsiteX10" fmla="*/ 223876 w 678362"/>
                <a:gd name="connsiteY10" fmla="*/ 1142521 h 1144902"/>
                <a:gd name="connsiteX11" fmla="*/ 263646 w 678362"/>
                <a:gd name="connsiteY11" fmla="*/ 218443 h 1144902"/>
                <a:gd name="connsiteX12" fmla="*/ 267345 w 678362"/>
                <a:gd name="connsiteY12" fmla="*/ 217759 h 1144902"/>
                <a:gd name="connsiteX13" fmla="*/ 302458 w 678362"/>
                <a:gd name="connsiteY13" fmla="*/ 1135377 h 1144902"/>
                <a:gd name="connsiteX14" fmla="*/ 454857 w 678362"/>
                <a:gd name="connsiteY14" fmla="*/ 1132996 h 1144902"/>
                <a:gd name="connsiteX15" fmla="*/ 519328 w 678362"/>
                <a:gd name="connsiteY15" fmla="*/ 207034 h 1144902"/>
                <a:gd name="connsiteX16" fmla="*/ 538826 w 678362"/>
                <a:gd name="connsiteY16" fmla="*/ 63658 h 1144902"/>
                <a:gd name="connsiteX17" fmla="*/ 678362 w 678362"/>
                <a:gd name="connsiteY17" fmla="*/ 60071 h 1144902"/>
                <a:gd name="connsiteX18" fmla="*/ 525245 w 678362"/>
                <a:gd name="connsiteY18" fmla="*/ 0 h 1144902"/>
                <a:gd name="connsiteX0" fmla="*/ 525245 w 563524"/>
                <a:gd name="connsiteY0" fmla="*/ 0 h 1144902"/>
                <a:gd name="connsiteX1" fmla="*/ 312606 w 563524"/>
                <a:gd name="connsiteY1" fmla="*/ 0 h 1144902"/>
                <a:gd name="connsiteX2" fmla="*/ 312606 w 563524"/>
                <a:gd name="connsiteY2" fmla="*/ 33054 h 1144902"/>
                <a:gd name="connsiteX3" fmla="*/ 198983 w 563524"/>
                <a:gd name="connsiteY3" fmla="*/ 33054 h 1144902"/>
                <a:gd name="connsiteX4" fmla="*/ 198983 w 563524"/>
                <a:gd name="connsiteY4" fmla="*/ 0 h 1144902"/>
                <a:gd name="connsiteX5" fmla="*/ 0 w 563524"/>
                <a:gd name="connsiteY5" fmla="*/ 0 h 1144902"/>
                <a:gd name="connsiteX6" fmla="*/ 0 w 563524"/>
                <a:gd name="connsiteY6" fmla="*/ 45719 h 1144902"/>
                <a:gd name="connsiteX7" fmla="*/ 20739 w 563524"/>
                <a:gd name="connsiteY7" fmla="*/ 45719 h 1144902"/>
                <a:gd name="connsiteX8" fmla="*/ 3455 w 563524"/>
                <a:gd name="connsiteY8" fmla="*/ 218246 h 1144902"/>
                <a:gd name="connsiteX9" fmla="*/ 73857 w 563524"/>
                <a:gd name="connsiteY9" fmla="*/ 1144902 h 1144902"/>
                <a:gd name="connsiteX10" fmla="*/ 223876 w 563524"/>
                <a:gd name="connsiteY10" fmla="*/ 1142521 h 1144902"/>
                <a:gd name="connsiteX11" fmla="*/ 263646 w 563524"/>
                <a:gd name="connsiteY11" fmla="*/ 218443 h 1144902"/>
                <a:gd name="connsiteX12" fmla="*/ 267345 w 563524"/>
                <a:gd name="connsiteY12" fmla="*/ 217759 h 1144902"/>
                <a:gd name="connsiteX13" fmla="*/ 302458 w 563524"/>
                <a:gd name="connsiteY13" fmla="*/ 1135377 h 1144902"/>
                <a:gd name="connsiteX14" fmla="*/ 454857 w 563524"/>
                <a:gd name="connsiteY14" fmla="*/ 1132996 h 1144902"/>
                <a:gd name="connsiteX15" fmla="*/ 519328 w 563524"/>
                <a:gd name="connsiteY15" fmla="*/ 207034 h 1144902"/>
                <a:gd name="connsiteX16" fmla="*/ 538826 w 563524"/>
                <a:gd name="connsiteY16" fmla="*/ 63658 h 1144902"/>
                <a:gd name="connsiteX17" fmla="*/ 563524 w 563524"/>
                <a:gd name="connsiteY17" fmla="*/ 42131 h 1144902"/>
                <a:gd name="connsiteX18" fmla="*/ 525245 w 563524"/>
                <a:gd name="connsiteY18" fmla="*/ 0 h 1144902"/>
                <a:gd name="connsiteX0" fmla="*/ 525245 w 544384"/>
                <a:gd name="connsiteY0" fmla="*/ 0 h 1144902"/>
                <a:gd name="connsiteX1" fmla="*/ 312606 w 544384"/>
                <a:gd name="connsiteY1" fmla="*/ 0 h 1144902"/>
                <a:gd name="connsiteX2" fmla="*/ 312606 w 544384"/>
                <a:gd name="connsiteY2" fmla="*/ 33054 h 1144902"/>
                <a:gd name="connsiteX3" fmla="*/ 198983 w 544384"/>
                <a:gd name="connsiteY3" fmla="*/ 33054 h 1144902"/>
                <a:gd name="connsiteX4" fmla="*/ 198983 w 544384"/>
                <a:gd name="connsiteY4" fmla="*/ 0 h 1144902"/>
                <a:gd name="connsiteX5" fmla="*/ 0 w 544384"/>
                <a:gd name="connsiteY5" fmla="*/ 0 h 1144902"/>
                <a:gd name="connsiteX6" fmla="*/ 0 w 544384"/>
                <a:gd name="connsiteY6" fmla="*/ 45719 h 1144902"/>
                <a:gd name="connsiteX7" fmla="*/ 20739 w 544384"/>
                <a:gd name="connsiteY7" fmla="*/ 45719 h 1144902"/>
                <a:gd name="connsiteX8" fmla="*/ 3455 w 544384"/>
                <a:gd name="connsiteY8" fmla="*/ 218246 h 1144902"/>
                <a:gd name="connsiteX9" fmla="*/ 73857 w 544384"/>
                <a:gd name="connsiteY9" fmla="*/ 1144902 h 1144902"/>
                <a:gd name="connsiteX10" fmla="*/ 223876 w 544384"/>
                <a:gd name="connsiteY10" fmla="*/ 1142521 h 1144902"/>
                <a:gd name="connsiteX11" fmla="*/ 263646 w 544384"/>
                <a:gd name="connsiteY11" fmla="*/ 218443 h 1144902"/>
                <a:gd name="connsiteX12" fmla="*/ 267345 w 544384"/>
                <a:gd name="connsiteY12" fmla="*/ 217759 h 1144902"/>
                <a:gd name="connsiteX13" fmla="*/ 302458 w 544384"/>
                <a:gd name="connsiteY13" fmla="*/ 1135377 h 1144902"/>
                <a:gd name="connsiteX14" fmla="*/ 454857 w 544384"/>
                <a:gd name="connsiteY14" fmla="*/ 1132996 h 1144902"/>
                <a:gd name="connsiteX15" fmla="*/ 519328 w 544384"/>
                <a:gd name="connsiteY15" fmla="*/ 207034 h 1144902"/>
                <a:gd name="connsiteX16" fmla="*/ 538826 w 544384"/>
                <a:gd name="connsiteY16" fmla="*/ 63658 h 1144902"/>
                <a:gd name="connsiteX17" fmla="*/ 544384 w 544384"/>
                <a:gd name="connsiteY17" fmla="*/ 42131 h 1144902"/>
                <a:gd name="connsiteX18" fmla="*/ 525245 w 544384"/>
                <a:gd name="connsiteY18" fmla="*/ 0 h 1144902"/>
                <a:gd name="connsiteX0" fmla="*/ 525245 w 544384"/>
                <a:gd name="connsiteY0" fmla="*/ 0 h 1144902"/>
                <a:gd name="connsiteX1" fmla="*/ 312606 w 544384"/>
                <a:gd name="connsiteY1" fmla="*/ 0 h 1144902"/>
                <a:gd name="connsiteX2" fmla="*/ 312606 w 544384"/>
                <a:gd name="connsiteY2" fmla="*/ 33054 h 1144902"/>
                <a:gd name="connsiteX3" fmla="*/ 198983 w 544384"/>
                <a:gd name="connsiteY3" fmla="*/ 33054 h 1144902"/>
                <a:gd name="connsiteX4" fmla="*/ 198983 w 544384"/>
                <a:gd name="connsiteY4" fmla="*/ 0 h 1144902"/>
                <a:gd name="connsiteX5" fmla="*/ 0 w 544384"/>
                <a:gd name="connsiteY5" fmla="*/ 0 h 1144902"/>
                <a:gd name="connsiteX6" fmla="*/ 0 w 544384"/>
                <a:gd name="connsiteY6" fmla="*/ 45719 h 1144902"/>
                <a:gd name="connsiteX7" fmla="*/ 20739 w 544384"/>
                <a:gd name="connsiteY7" fmla="*/ 45719 h 1144902"/>
                <a:gd name="connsiteX8" fmla="*/ 3455 w 544384"/>
                <a:gd name="connsiteY8" fmla="*/ 218246 h 1144902"/>
                <a:gd name="connsiteX9" fmla="*/ 73857 w 544384"/>
                <a:gd name="connsiteY9" fmla="*/ 1144902 h 1144902"/>
                <a:gd name="connsiteX10" fmla="*/ 223876 w 544384"/>
                <a:gd name="connsiteY10" fmla="*/ 1142521 h 1144902"/>
                <a:gd name="connsiteX11" fmla="*/ 263646 w 544384"/>
                <a:gd name="connsiteY11" fmla="*/ 218443 h 1144902"/>
                <a:gd name="connsiteX12" fmla="*/ 267345 w 544384"/>
                <a:gd name="connsiteY12" fmla="*/ 217759 h 1144902"/>
                <a:gd name="connsiteX13" fmla="*/ 302458 w 544384"/>
                <a:gd name="connsiteY13" fmla="*/ 1135377 h 1144902"/>
                <a:gd name="connsiteX14" fmla="*/ 454857 w 544384"/>
                <a:gd name="connsiteY14" fmla="*/ 1132996 h 1144902"/>
                <a:gd name="connsiteX15" fmla="*/ 519328 w 544384"/>
                <a:gd name="connsiteY15" fmla="*/ 207034 h 1144902"/>
                <a:gd name="connsiteX16" fmla="*/ 538827 w 544384"/>
                <a:gd name="connsiteY16" fmla="*/ 95950 h 1144902"/>
                <a:gd name="connsiteX17" fmla="*/ 544384 w 544384"/>
                <a:gd name="connsiteY17" fmla="*/ 42131 h 1144902"/>
                <a:gd name="connsiteX18" fmla="*/ 525245 w 544384"/>
                <a:gd name="connsiteY18" fmla="*/ 0 h 1144902"/>
                <a:gd name="connsiteX0" fmla="*/ 525245 w 544384"/>
                <a:gd name="connsiteY0" fmla="*/ 0 h 1144902"/>
                <a:gd name="connsiteX1" fmla="*/ 312606 w 544384"/>
                <a:gd name="connsiteY1" fmla="*/ 0 h 1144902"/>
                <a:gd name="connsiteX2" fmla="*/ 312606 w 544384"/>
                <a:gd name="connsiteY2" fmla="*/ 33054 h 1144902"/>
                <a:gd name="connsiteX3" fmla="*/ 198983 w 544384"/>
                <a:gd name="connsiteY3" fmla="*/ 33054 h 1144902"/>
                <a:gd name="connsiteX4" fmla="*/ 198983 w 544384"/>
                <a:gd name="connsiteY4" fmla="*/ 0 h 1144902"/>
                <a:gd name="connsiteX5" fmla="*/ 0 w 544384"/>
                <a:gd name="connsiteY5" fmla="*/ 0 h 1144902"/>
                <a:gd name="connsiteX6" fmla="*/ 0 w 544384"/>
                <a:gd name="connsiteY6" fmla="*/ 45719 h 1144902"/>
                <a:gd name="connsiteX7" fmla="*/ 20739 w 544384"/>
                <a:gd name="connsiteY7" fmla="*/ 45719 h 1144902"/>
                <a:gd name="connsiteX8" fmla="*/ 3455 w 544384"/>
                <a:gd name="connsiteY8" fmla="*/ 218246 h 1144902"/>
                <a:gd name="connsiteX9" fmla="*/ 73857 w 544384"/>
                <a:gd name="connsiteY9" fmla="*/ 1144902 h 1144902"/>
                <a:gd name="connsiteX10" fmla="*/ 223876 w 544384"/>
                <a:gd name="connsiteY10" fmla="*/ 1142521 h 1144902"/>
                <a:gd name="connsiteX11" fmla="*/ 263646 w 544384"/>
                <a:gd name="connsiteY11" fmla="*/ 218443 h 1144902"/>
                <a:gd name="connsiteX12" fmla="*/ 267345 w 544384"/>
                <a:gd name="connsiteY12" fmla="*/ 217759 h 1144902"/>
                <a:gd name="connsiteX13" fmla="*/ 302458 w 544384"/>
                <a:gd name="connsiteY13" fmla="*/ 1135377 h 1144902"/>
                <a:gd name="connsiteX14" fmla="*/ 454857 w 544384"/>
                <a:gd name="connsiteY14" fmla="*/ 1132996 h 1144902"/>
                <a:gd name="connsiteX15" fmla="*/ 533682 w 544384"/>
                <a:gd name="connsiteY15" fmla="*/ 224973 h 1144902"/>
                <a:gd name="connsiteX16" fmla="*/ 538827 w 544384"/>
                <a:gd name="connsiteY16" fmla="*/ 95950 h 1144902"/>
                <a:gd name="connsiteX17" fmla="*/ 544384 w 544384"/>
                <a:gd name="connsiteY17" fmla="*/ 42131 h 1144902"/>
                <a:gd name="connsiteX18" fmla="*/ 525245 w 544384"/>
                <a:gd name="connsiteY18" fmla="*/ 0 h 1144902"/>
                <a:gd name="connsiteX0" fmla="*/ 525245 w 548464"/>
                <a:gd name="connsiteY0" fmla="*/ 0 h 1144902"/>
                <a:gd name="connsiteX1" fmla="*/ 312606 w 548464"/>
                <a:gd name="connsiteY1" fmla="*/ 0 h 1144902"/>
                <a:gd name="connsiteX2" fmla="*/ 312606 w 548464"/>
                <a:gd name="connsiteY2" fmla="*/ 33054 h 1144902"/>
                <a:gd name="connsiteX3" fmla="*/ 198983 w 548464"/>
                <a:gd name="connsiteY3" fmla="*/ 33054 h 1144902"/>
                <a:gd name="connsiteX4" fmla="*/ 198983 w 548464"/>
                <a:gd name="connsiteY4" fmla="*/ 0 h 1144902"/>
                <a:gd name="connsiteX5" fmla="*/ 0 w 548464"/>
                <a:gd name="connsiteY5" fmla="*/ 0 h 1144902"/>
                <a:gd name="connsiteX6" fmla="*/ 0 w 548464"/>
                <a:gd name="connsiteY6" fmla="*/ 45719 h 1144902"/>
                <a:gd name="connsiteX7" fmla="*/ 20739 w 548464"/>
                <a:gd name="connsiteY7" fmla="*/ 45719 h 1144902"/>
                <a:gd name="connsiteX8" fmla="*/ 3455 w 548464"/>
                <a:gd name="connsiteY8" fmla="*/ 218246 h 1144902"/>
                <a:gd name="connsiteX9" fmla="*/ 73857 w 548464"/>
                <a:gd name="connsiteY9" fmla="*/ 1144902 h 1144902"/>
                <a:gd name="connsiteX10" fmla="*/ 223876 w 548464"/>
                <a:gd name="connsiteY10" fmla="*/ 1142521 h 1144902"/>
                <a:gd name="connsiteX11" fmla="*/ 263646 w 548464"/>
                <a:gd name="connsiteY11" fmla="*/ 218443 h 1144902"/>
                <a:gd name="connsiteX12" fmla="*/ 267345 w 548464"/>
                <a:gd name="connsiteY12" fmla="*/ 217759 h 1144902"/>
                <a:gd name="connsiteX13" fmla="*/ 302458 w 548464"/>
                <a:gd name="connsiteY13" fmla="*/ 1135377 h 1144902"/>
                <a:gd name="connsiteX14" fmla="*/ 454857 w 548464"/>
                <a:gd name="connsiteY14" fmla="*/ 1132996 h 1144902"/>
                <a:gd name="connsiteX15" fmla="*/ 533682 w 548464"/>
                <a:gd name="connsiteY15" fmla="*/ 224973 h 1144902"/>
                <a:gd name="connsiteX16" fmla="*/ 548397 w 548464"/>
                <a:gd name="connsiteY16" fmla="*/ 106713 h 1144902"/>
                <a:gd name="connsiteX17" fmla="*/ 544384 w 548464"/>
                <a:gd name="connsiteY17" fmla="*/ 42131 h 1144902"/>
                <a:gd name="connsiteX18" fmla="*/ 525245 w 548464"/>
                <a:gd name="connsiteY18" fmla="*/ 0 h 1144902"/>
                <a:gd name="connsiteX0" fmla="*/ 533215 w 556434"/>
                <a:gd name="connsiteY0" fmla="*/ 0 h 1144902"/>
                <a:gd name="connsiteX1" fmla="*/ 320576 w 556434"/>
                <a:gd name="connsiteY1" fmla="*/ 0 h 1144902"/>
                <a:gd name="connsiteX2" fmla="*/ 320576 w 556434"/>
                <a:gd name="connsiteY2" fmla="*/ 33054 h 1144902"/>
                <a:gd name="connsiteX3" fmla="*/ 206953 w 556434"/>
                <a:gd name="connsiteY3" fmla="*/ 33054 h 1144902"/>
                <a:gd name="connsiteX4" fmla="*/ 206953 w 556434"/>
                <a:gd name="connsiteY4" fmla="*/ 0 h 1144902"/>
                <a:gd name="connsiteX5" fmla="*/ 7970 w 556434"/>
                <a:gd name="connsiteY5" fmla="*/ 0 h 1144902"/>
                <a:gd name="connsiteX6" fmla="*/ 7970 w 556434"/>
                <a:gd name="connsiteY6" fmla="*/ 45719 h 1144902"/>
                <a:gd name="connsiteX7" fmla="*/ 0 w 556434"/>
                <a:gd name="connsiteY7" fmla="*/ 81598 h 1144902"/>
                <a:gd name="connsiteX8" fmla="*/ 11425 w 556434"/>
                <a:gd name="connsiteY8" fmla="*/ 218246 h 1144902"/>
                <a:gd name="connsiteX9" fmla="*/ 81827 w 556434"/>
                <a:gd name="connsiteY9" fmla="*/ 1144902 h 1144902"/>
                <a:gd name="connsiteX10" fmla="*/ 231846 w 556434"/>
                <a:gd name="connsiteY10" fmla="*/ 1142521 h 1144902"/>
                <a:gd name="connsiteX11" fmla="*/ 271616 w 556434"/>
                <a:gd name="connsiteY11" fmla="*/ 218443 h 1144902"/>
                <a:gd name="connsiteX12" fmla="*/ 275315 w 556434"/>
                <a:gd name="connsiteY12" fmla="*/ 217759 h 1144902"/>
                <a:gd name="connsiteX13" fmla="*/ 310428 w 556434"/>
                <a:gd name="connsiteY13" fmla="*/ 1135377 h 1144902"/>
                <a:gd name="connsiteX14" fmla="*/ 462827 w 556434"/>
                <a:gd name="connsiteY14" fmla="*/ 1132996 h 1144902"/>
                <a:gd name="connsiteX15" fmla="*/ 541652 w 556434"/>
                <a:gd name="connsiteY15" fmla="*/ 224973 h 1144902"/>
                <a:gd name="connsiteX16" fmla="*/ 556367 w 556434"/>
                <a:gd name="connsiteY16" fmla="*/ 106713 h 1144902"/>
                <a:gd name="connsiteX17" fmla="*/ 552354 w 556434"/>
                <a:gd name="connsiteY17" fmla="*/ 42131 h 1144902"/>
                <a:gd name="connsiteX18" fmla="*/ 533215 w 556434"/>
                <a:gd name="connsiteY18" fmla="*/ 0 h 1144902"/>
                <a:gd name="connsiteX0" fmla="*/ 536144 w 559363"/>
                <a:gd name="connsiteY0" fmla="*/ 0 h 1144902"/>
                <a:gd name="connsiteX1" fmla="*/ 323505 w 559363"/>
                <a:gd name="connsiteY1" fmla="*/ 0 h 1144902"/>
                <a:gd name="connsiteX2" fmla="*/ 323505 w 559363"/>
                <a:gd name="connsiteY2" fmla="*/ 33054 h 1144902"/>
                <a:gd name="connsiteX3" fmla="*/ 209882 w 559363"/>
                <a:gd name="connsiteY3" fmla="*/ 33054 h 1144902"/>
                <a:gd name="connsiteX4" fmla="*/ 209882 w 559363"/>
                <a:gd name="connsiteY4" fmla="*/ 0 h 1144902"/>
                <a:gd name="connsiteX5" fmla="*/ 10899 w 559363"/>
                <a:gd name="connsiteY5" fmla="*/ 0 h 1144902"/>
                <a:gd name="connsiteX6" fmla="*/ 10899 w 559363"/>
                <a:gd name="connsiteY6" fmla="*/ 45719 h 1144902"/>
                <a:gd name="connsiteX7" fmla="*/ 2929 w 559363"/>
                <a:gd name="connsiteY7" fmla="*/ 81598 h 1144902"/>
                <a:gd name="connsiteX8" fmla="*/ 0 w 559363"/>
                <a:gd name="connsiteY8" fmla="*/ 229010 h 1144902"/>
                <a:gd name="connsiteX9" fmla="*/ 84756 w 559363"/>
                <a:gd name="connsiteY9" fmla="*/ 1144902 h 1144902"/>
                <a:gd name="connsiteX10" fmla="*/ 234775 w 559363"/>
                <a:gd name="connsiteY10" fmla="*/ 1142521 h 1144902"/>
                <a:gd name="connsiteX11" fmla="*/ 274545 w 559363"/>
                <a:gd name="connsiteY11" fmla="*/ 218443 h 1144902"/>
                <a:gd name="connsiteX12" fmla="*/ 278244 w 559363"/>
                <a:gd name="connsiteY12" fmla="*/ 217759 h 1144902"/>
                <a:gd name="connsiteX13" fmla="*/ 313357 w 559363"/>
                <a:gd name="connsiteY13" fmla="*/ 1135377 h 1144902"/>
                <a:gd name="connsiteX14" fmla="*/ 465756 w 559363"/>
                <a:gd name="connsiteY14" fmla="*/ 1132996 h 1144902"/>
                <a:gd name="connsiteX15" fmla="*/ 544581 w 559363"/>
                <a:gd name="connsiteY15" fmla="*/ 224973 h 1144902"/>
                <a:gd name="connsiteX16" fmla="*/ 559296 w 559363"/>
                <a:gd name="connsiteY16" fmla="*/ 106713 h 1144902"/>
                <a:gd name="connsiteX17" fmla="*/ 555283 w 559363"/>
                <a:gd name="connsiteY17" fmla="*/ 42131 h 1144902"/>
                <a:gd name="connsiteX18" fmla="*/ 536144 w 559363"/>
                <a:gd name="connsiteY18" fmla="*/ 0 h 1144902"/>
                <a:gd name="connsiteX0" fmla="*/ 536144 w 568506"/>
                <a:gd name="connsiteY0" fmla="*/ 0 h 1144902"/>
                <a:gd name="connsiteX1" fmla="*/ 323505 w 568506"/>
                <a:gd name="connsiteY1" fmla="*/ 0 h 1144902"/>
                <a:gd name="connsiteX2" fmla="*/ 323505 w 568506"/>
                <a:gd name="connsiteY2" fmla="*/ 33054 h 1144902"/>
                <a:gd name="connsiteX3" fmla="*/ 209882 w 568506"/>
                <a:gd name="connsiteY3" fmla="*/ 33054 h 1144902"/>
                <a:gd name="connsiteX4" fmla="*/ 209882 w 568506"/>
                <a:gd name="connsiteY4" fmla="*/ 0 h 1144902"/>
                <a:gd name="connsiteX5" fmla="*/ 10899 w 568506"/>
                <a:gd name="connsiteY5" fmla="*/ 0 h 1144902"/>
                <a:gd name="connsiteX6" fmla="*/ 10899 w 568506"/>
                <a:gd name="connsiteY6" fmla="*/ 45719 h 1144902"/>
                <a:gd name="connsiteX7" fmla="*/ 2929 w 568506"/>
                <a:gd name="connsiteY7" fmla="*/ 81598 h 1144902"/>
                <a:gd name="connsiteX8" fmla="*/ 0 w 568506"/>
                <a:gd name="connsiteY8" fmla="*/ 229010 h 1144902"/>
                <a:gd name="connsiteX9" fmla="*/ 84756 w 568506"/>
                <a:gd name="connsiteY9" fmla="*/ 1144902 h 1144902"/>
                <a:gd name="connsiteX10" fmla="*/ 234775 w 568506"/>
                <a:gd name="connsiteY10" fmla="*/ 1142521 h 1144902"/>
                <a:gd name="connsiteX11" fmla="*/ 274545 w 568506"/>
                <a:gd name="connsiteY11" fmla="*/ 218443 h 1144902"/>
                <a:gd name="connsiteX12" fmla="*/ 278244 w 568506"/>
                <a:gd name="connsiteY12" fmla="*/ 217759 h 1144902"/>
                <a:gd name="connsiteX13" fmla="*/ 313357 w 568506"/>
                <a:gd name="connsiteY13" fmla="*/ 1135377 h 1144902"/>
                <a:gd name="connsiteX14" fmla="*/ 465756 w 568506"/>
                <a:gd name="connsiteY14" fmla="*/ 1132996 h 1144902"/>
                <a:gd name="connsiteX15" fmla="*/ 568506 w 568506"/>
                <a:gd name="connsiteY15" fmla="*/ 232149 h 1144902"/>
                <a:gd name="connsiteX16" fmla="*/ 559296 w 568506"/>
                <a:gd name="connsiteY16" fmla="*/ 106713 h 1144902"/>
                <a:gd name="connsiteX17" fmla="*/ 555283 w 568506"/>
                <a:gd name="connsiteY17" fmla="*/ 42131 h 1144902"/>
                <a:gd name="connsiteX18" fmla="*/ 536144 w 568506"/>
                <a:gd name="connsiteY18" fmla="*/ 0 h 1144902"/>
                <a:gd name="connsiteX0" fmla="*/ 552390 w 584752"/>
                <a:gd name="connsiteY0" fmla="*/ 0 h 1144902"/>
                <a:gd name="connsiteX1" fmla="*/ 339751 w 584752"/>
                <a:gd name="connsiteY1" fmla="*/ 0 h 1144902"/>
                <a:gd name="connsiteX2" fmla="*/ 339751 w 584752"/>
                <a:gd name="connsiteY2" fmla="*/ 33054 h 1144902"/>
                <a:gd name="connsiteX3" fmla="*/ 226128 w 584752"/>
                <a:gd name="connsiteY3" fmla="*/ 33054 h 1144902"/>
                <a:gd name="connsiteX4" fmla="*/ 226128 w 584752"/>
                <a:gd name="connsiteY4" fmla="*/ 0 h 1144902"/>
                <a:gd name="connsiteX5" fmla="*/ 27145 w 584752"/>
                <a:gd name="connsiteY5" fmla="*/ 0 h 1144902"/>
                <a:gd name="connsiteX6" fmla="*/ 27145 w 584752"/>
                <a:gd name="connsiteY6" fmla="*/ 45719 h 1144902"/>
                <a:gd name="connsiteX7" fmla="*/ 36 w 584752"/>
                <a:gd name="connsiteY7" fmla="*/ 99538 h 1144902"/>
                <a:gd name="connsiteX8" fmla="*/ 16246 w 584752"/>
                <a:gd name="connsiteY8" fmla="*/ 229010 h 1144902"/>
                <a:gd name="connsiteX9" fmla="*/ 101002 w 584752"/>
                <a:gd name="connsiteY9" fmla="*/ 1144902 h 1144902"/>
                <a:gd name="connsiteX10" fmla="*/ 251021 w 584752"/>
                <a:gd name="connsiteY10" fmla="*/ 1142521 h 1144902"/>
                <a:gd name="connsiteX11" fmla="*/ 290791 w 584752"/>
                <a:gd name="connsiteY11" fmla="*/ 218443 h 1144902"/>
                <a:gd name="connsiteX12" fmla="*/ 294490 w 584752"/>
                <a:gd name="connsiteY12" fmla="*/ 217759 h 1144902"/>
                <a:gd name="connsiteX13" fmla="*/ 329603 w 584752"/>
                <a:gd name="connsiteY13" fmla="*/ 1135377 h 1144902"/>
                <a:gd name="connsiteX14" fmla="*/ 482002 w 584752"/>
                <a:gd name="connsiteY14" fmla="*/ 1132996 h 1144902"/>
                <a:gd name="connsiteX15" fmla="*/ 584752 w 584752"/>
                <a:gd name="connsiteY15" fmla="*/ 232149 h 1144902"/>
                <a:gd name="connsiteX16" fmla="*/ 575542 w 584752"/>
                <a:gd name="connsiteY16" fmla="*/ 106713 h 1144902"/>
                <a:gd name="connsiteX17" fmla="*/ 571529 w 584752"/>
                <a:gd name="connsiteY17" fmla="*/ 42131 h 1144902"/>
                <a:gd name="connsiteX18" fmla="*/ 552390 w 584752"/>
                <a:gd name="connsiteY18" fmla="*/ 0 h 1144902"/>
                <a:gd name="connsiteX0" fmla="*/ 552392 w 584754"/>
                <a:gd name="connsiteY0" fmla="*/ 0 h 1144902"/>
                <a:gd name="connsiteX1" fmla="*/ 339753 w 584754"/>
                <a:gd name="connsiteY1" fmla="*/ 0 h 1144902"/>
                <a:gd name="connsiteX2" fmla="*/ 339753 w 584754"/>
                <a:gd name="connsiteY2" fmla="*/ 33054 h 1144902"/>
                <a:gd name="connsiteX3" fmla="*/ 226130 w 584754"/>
                <a:gd name="connsiteY3" fmla="*/ 33054 h 1144902"/>
                <a:gd name="connsiteX4" fmla="*/ 226130 w 584754"/>
                <a:gd name="connsiteY4" fmla="*/ 0 h 1144902"/>
                <a:gd name="connsiteX5" fmla="*/ 27147 w 584754"/>
                <a:gd name="connsiteY5" fmla="*/ 0 h 1144902"/>
                <a:gd name="connsiteX6" fmla="*/ 8007 w 584754"/>
                <a:gd name="connsiteY6" fmla="*/ 42131 h 1144902"/>
                <a:gd name="connsiteX7" fmla="*/ 38 w 584754"/>
                <a:gd name="connsiteY7" fmla="*/ 99538 h 1144902"/>
                <a:gd name="connsiteX8" fmla="*/ 16248 w 584754"/>
                <a:gd name="connsiteY8" fmla="*/ 229010 h 1144902"/>
                <a:gd name="connsiteX9" fmla="*/ 101004 w 584754"/>
                <a:gd name="connsiteY9" fmla="*/ 1144902 h 1144902"/>
                <a:gd name="connsiteX10" fmla="*/ 251023 w 584754"/>
                <a:gd name="connsiteY10" fmla="*/ 1142521 h 1144902"/>
                <a:gd name="connsiteX11" fmla="*/ 290793 w 584754"/>
                <a:gd name="connsiteY11" fmla="*/ 218443 h 1144902"/>
                <a:gd name="connsiteX12" fmla="*/ 294492 w 584754"/>
                <a:gd name="connsiteY12" fmla="*/ 217759 h 1144902"/>
                <a:gd name="connsiteX13" fmla="*/ 329605 w 584754"/>
                <a:gd name="connsiteY13" fmla="*/ 1135377 h 1144902"/>
                <a:gd name="connsiteX14" fmla="*/ 482004 w 584754"/>
                <a:gd name="connsiteY14" fmla="*/ 1132996 h 1144902"/>
                <a:gd name="connsiteX15" fmla="*/ 584754 w 584754"/>
                <a:gd name="connsiteY15" fmla="*/ 232149 h 1144902"/>
                <a:gd name="connsiteX16" fmla="*/ 575544 w 584754"/>
                <a:gd name="connsiteY16" fmla="*/ 106713 h 1144902"/>
                <a:gd name="connsiteX17" fmla="*/ 571531 w 584754"/>
                <a:gd name="connsiteY17" fmla="*/ 42131 h 1144902"/>
                <a:gd name="connsiteX18" fmla="*/ 552392 w 584754"/>
                <a:gd name="connsiteY18" fmla="*/ 0 h 1144902"/>
                <a:gd name="connsiteX0" fmla="*/ 560069 w 592431"/>
                <a:gd name="connsiteY0" fmla="*/ 0 h 1144902"/>
                <a:gd name="connsiteX1" fmla="*/ 347430 w 592431"/>
                <a:gd name="connsiteY1" fmla="*/ 0 h 1144902"/>
                <a:gd name="connsiteX2" fmla="*/ 347430 w 592431"/>
                <a:gd name="connsiteY2" fmla="*/ 33054 h 1144902"/>
                <a:gd name="connsiteX3" fmla="*/ 233807 w 592431"/>
                <a:gd name="connsiteY3" fmla="*/ 33054 h 1144902"/>
                <a:gd name="connsiteX4" fmla="*/ 233807 w 592431"/>
                <a:gd name="connsiteY4" fmla="*/ 0 h 1144902"/>
                <a:gd name="connsiteX5" fmla="*/ 34824 w 592431"/>
                <a:gd name="connsiteY5" fmla="*/ 0 h 1144902"/>
                <a:gd name="connsiteX6" fmla="*/ 15684 w 592431"/>
                <a:gd name="connsiteY6" fmla="*/ 42131 h 1144902"/>
                <a:gd name="connsiteX7" fmla="*/ 7715 w 592431"/>
                <a:gd name="connsiteY7" fmla="*/ 99538 h 1144902"/>
                <a:gd name="connsiteX8" fmla="*/ 0 w 592431"/>
                <a:gd name="connsiteY8" fmla="*/ 239774 h 1144902"/>
                <a:gd name="connsiteX9" fmla="*/ 108681 w 592431"/>
                <a:gd name="connsiteY9" fmla="*/ 1144902 h 1144902"/>
                <a:gd name="connsiteX10" fmla="*/ 258700 w 592431"/>
                <a:gd name="connsiteY10" fmla="*/ 1142521 h 1144902"/>
                <a:gd name="connsiteX11" fmla="*/ 298470 w 592431"/>
                <a:gd name="connsiteY11" fmla="*/ 218443 h 1144902"/>
                <a:gd name="connsiteX12" fmla="*/ 302169 w 592431"/>
                <a:gd name="connsiteY12" fmla="*/ 217759 h 1144902"/>
                <a:gd name="connsiteX13" fmla="*/ 337282 w 592431"/>
                <a:gd name="connsiteY13" fmla="*/ 1135377 h 1144902"/>
                <a:gd name="connsiteX14" fmla="*/ 489681 w 592431"/>
                <a:gd name="connsiteY14" fmla="*/ 1132996 h 1144902"/>
                <a:gd name="connsiteX15" fmla="*/ 592431 w 592431"/>
                <a:gd name="connsiteY15" fmla="*/ 232149 h 1144902"/>
                <a:gd name="connsiteX16" fmla="*/ 583221 w 592431"/>
                <a:gd name="connsiteY16" fmla="*/ 106713 h 1144902"/>
                <a:gd name="connsiteX17" fmla="*/ 579208 w 592431"/>
                <a:gd name="connsiteY17" fmla="*/ 42131 h 1144902"/>
                <a:gd name="connsiteX18" fmla="*/ 560069 w 592431"/>
                <a:gd name="connsiteY18" fmla="*/ 0 h 1144902"/>
                <a:gd name="connsiteX0" fmla="*/ 560069 w 592431"/>
                <a:gd name="connsiteY0" fmla="*/ 0 h 1144902"/>
                <a:gd name="connsiteX1" fmla="*/ 347430 w 592431"/>
                <a:gd name="connsiteY1" fmla="*/ 0 h 1144902"/>
                <a:gd name="connsiteX2" fmla="*/ 347430 w 592431"/>
                <a:gd name="connsiteY2" fmla="*/ 33054 h 1144902"/>
                <a:gd name="connsiteX3" fmla="*/ 233807 w 592431"/>
                <a:gd name="connsiteY3" fmla="*/ 33054 h 1144902"/>
                <a:gd name="connsiteX4" fmla="*/ 233807 w 592431"/>
                <a:gd name="connsiteY4" fmla="*/ 0 h 1144902"/>
                <a:gd name="connsiteX5" fmla="*/ 34824 w 592431"/>
                <a:gd name="connsiteY5" fmla="*/ 0 h 1144902"/>
                <a:gd name="connsiteX6" fmla="*/ 15684 w 592431"/>
                <a:gd name="connsiteY6" fmla="*/ 42131 h 1144902"/>
                <a:gd name="connsiteX7" fmla="*/ 7715 w 592431"/>
                <a:gd name="connsiteY7" fmla="*/ 99538 h 1144902"/>
                <a:gd name="connsiteX8" fmla="*/ 0 w 592431"/>
                <a:gd name="connsiteY8" fmla="*/ 239774 h 1144902"/>
                <a:gd name="connsiteX9" fmla="*/ 108681 w 592431"/>
                <a:gd name="connsiteY9" fmla="*/ 1144902 h 1144902"/>
                <a:gd name="connsiteX10" fmla="*/ 258700 w 592431"/>
                <a:gd name="connsiteY10" fmla="*/ 1142521 h 1144902"/>
                <a:gd name="connsiteX11" fmla="*/ 298470 w 592431"/>
                <a:gd name="connsiteY11" fmla="*/ 218443 h 1144902"/>
                <a:gd name="connsiteX12" fmla="*/ 302169 w 592431"/>
                <a:gd name="connsiteY12" fmla="*/ 217759 h 1144902"/>
                <a:gd name="connsiteX13" fmla="*/ 318142 w 592431"/>
                <a:gd name="connsiteY13" fmla="*/ 1138965 h 1144902"/>
                <a:gd name="connsiteX14" fmla="*/ 489681 w 592431"/>
                <a:gd name="connsiteY14" fmla="*/ 1132996 h 1144902"/>
                <a:gd name="connsiteX15" fmla="*/ 592431 w 592431"/>
                <a:gd name="connsiteY15" fmla="*/ 232149 h 1144902"/>
                <a:gd name="connsiteX16" fmla="*/ 583221 w 592431"/>
                <a:gd name="connsiteY16" fmla="*/ 106713 h 1144902"/>
                <a:gd name="connsiteX17" fmla="*/ 579208 w 592431"/>
                <a:gd name="connsiteY17" fmla="*/ 42131 h 1144902"/>
                <a:gd name="connsiteX18" fmla="*/ 560069 w 592431"/>
                <a:gd name="connsiteY18" fmla="*/ 0 h 1144902"/>
                <a:gd name="connsiteX0" fmla="*/ 560069 w 592431"/>
                <a:gd name="connsiteY0" fmla="*/ 0 h 1144902"/>
                <a:gd name="connsiteX1" fmla="*/ 347430 w 592431"/>
                <a:gd name="connsiteY1" fmla="*/ 0 h 1144902"/>
                <a:gd name="connsiteX2" fmla="*/ 347430 w 592431"/>
                <a:gd name="connsiteY2" fmla="*/ 33054 h 1144902"/>
                <a:gd name="connsiteX3" fmla="*/ 233807 w 592431"/>
                <a:gd name="connsiteY3" fmla="*/ 33054 h 1144902"/>
                <a:gd name="connsiteX4" fmla="*/ 233807 w 592431"/>
                <a:gd name="connsiteY4" fmla="*/ 0 h 1144902"/>
                <a:gd name="connsiteX5" fmla="*/ 34824 w 592431"/>
                <a:gd name="connsiteY5" fmla="*/ 0 h 1144902"/>
                <a:gd name="connsiteX6" fmla="*/ 15684 w 592431"/>
                <a:gd name="connsiteY6" fmla="*/ 42131 h 1144902"/>
                <a:gd name="connsiteX7" fmla="*/ 7715 w 592431"/>
                <a:gd name="connsiteY7" fmla="*/ 99538 h 1144902"/>
                <a:gd name="connsiteX8" fmla="*/ 0 w 592431"/>
                <a:gd name="connsiteY8" fmla="*/ 239774 h 1144902"/>
                <a:gd name="connsiteX9" fmla="*/ 108681 w 592431"/>
                <a:gd name="connsiteY9" fmla="*/ 1144902 h 1144902"/>
                <a:gd name="connsiteX10" fmla="*/ 268271 w 592431"/>
                <a:gd name="connsiteY10" fmla="*/ 1135345 h 1144902"/>
                <a:gd name="connsiteX11" fmla="*/ 298470 w 592431"/>
                <a:gd name="connsiteY11" fmla="*/ 218443 h 1144902"/>
                <a:gd name="connsiteX12" fmla="*/ 302169 w 592431"/>
                <a:gd name="connsiteY12" fmla="*/ 217759 h 1144902"/>
                <a:gd name="connsiteX13" fmla="*/ 318142 w 592431"/>
                <a:gd name="connsiteY13" fmla="*/ 1138965 h 1144902"/>
                <a:gd name="connsiteX14" fmla="*/ 489681 w 592431"/>
                <a:gd name="connsiteY14" fmla="*/ 1132996 h 1144902"/>
                <a:gd name="connsiteX15" fmla="*/ 592431 w 592431"/>
                <a:gd name="connsiteY15" fmla="*/ 232149 h 1144902"/>
                <a:gd name="connsiteX16" fmla="*/ 583221 w 592431"/>
                <a:gd name="connsiteY16" fmla="*/ 106713 h 1144902"/>
                <a:gd name="connsiteX17" fmla="*/ 579208 w 592431"/>
                <a:gd name="connsiteY17" fmla="*/ 42131 h 1144902"/>
                <a:gd name="connsiteX18" fmla="*/ 560069 w 592431"/>
                <a:gd name="connsiteY18" fmla="*/ 0 h 1144902"/>
                <a:gd name="connsiteX0" fmla="*/ 577842 w 610204"/>
                <a:gd name="connsiteY0" fmla="*/ 0 h 1144902"/>
                <a:gd name="connsiteX1" fmla="*/ 365203 w 610204"/>
                <a:gd name="connsiteY1" fmla="*/ 0 h 1144902"/>
                <a:gd name="connsiteX2" fmla="*/ 365203 w 610204"/>
                <a:gd name="connsiteY2" fmla="*/ 33054 h 1144902"/>
                <a:gd name="connsiteX3" fmla="*/ 251580 w 610204"/>
                <a:gd name="connsiteY3" fmla="*/ 33054 h 1144902"/>
                <a:gd name="connsiteX4" fmla="*/ 251580 w 610204"/>
                <a:gd name="connsiteY4" fmla="*/ 0 h 1144902"/>
                <a:gd name="connsiteX5" fmla="*/ 52597 w 610204"/>
                <a:gd name="connsiteY5" fmla="*/ 0 h 1144902"/>
                <a:gd name="connsiteX6" fmla="*/ 33457 w 610204"/>
                <a:gd name="connsiteY6" fmla="*/ 42131 h 1144902"/>
                <a:gd name="connsiteX7" fmla="*/ 25488 w 610204"/>
                <a:gd name="connsiteY7" fmla="*/ 99538 h 1144902"/>
                <a:gd name="connsiteX8" fmla="*/ 0 w 610204"/>
                <a:gd name="connsiteY8" fmla="*/ 239774 h 1144902"/>
                <a:gd name="connsiteX9" fmla="*/ 126454 w 610204"/>
                <a:gd name="connsiteY9" fmla="*/ 1144902 h 1144902"/>
                <a:gd name="connsiteX10" fmla="*/ 286044 w 610204"/>
                <a:gd name="connsiteY10" fmla="*/ 1135345 h 1144902"/>
                <a:gd name="connsiteX11" fmla="*/ 316243 w 610204"/>
                <a:gd name="connsiteY11" fmla="*/ 218443 h 1144902"/>
                <a:gd name="connsiteX12" fmla="*/ 319942 w 610204"/>
                <a:gd name="connsiteY12" fmla="*/ 217759 h 1144902"/>
                <a:gd name="connsiteX13" fmla="*/ 335915 w 610204"/>
                <a:gd name="connsiteY13" fmla="*/ 1138965 h 1144902"/>
                <a:gd name="connsiteX14" fmla="*/ 507454 w 610204"/>
                <a:gd name="connsiteY14" fmla="*/ 1132996 h 1144902"/>
                <a:gd name="connsiteX15" fmla="*/ 610204 w 610204"/>
                <a:gd name="connsiteY15" fmla="*/ 232149 h 1144902"/>
                <a:gd name="connsiteX16" fmla="*/ 600994 w 610204"/>
                <a:gd name="connsiteY16" fmla="*/ 106713 h 1144902"/>
                <a:gd name="connsiteX17" fmla="*/ 596981 w 610204"/>
                <a:gd name="connsiteY17" fmla="*/ 42131 h 1144902"/>
                <a:gd name="connsiteX18" fmla="*/ 577842 w 610204"/>
                <a:gd name="connsiteY18" fmla="*/ 0 h 1144902"/>
                <a:gd name="connsiteX0" fmla="*/ 577842 w 627978"/>
                <a:gd name="connsiteY0" fmla="*/ 0 h 1144902"/>
                <a:gd name="connsiteX1" fmla="*/ 365203 w 627978"/>
                <a:gd name="connsiteY1" fmla="*/ 0 h 1144902"/>
                <a:gd name="connsiteX2" fmla="*/ 365203 w 627978"/>
                <a:gd name="connsiteY2" fmla="*/ 33054 h 1144902"/>
                <a:gd name="connsiteX3" fmla="*/ 251580 w 627978"/>
                <a:gd name="connsiteY3" fmla="*/ 33054 h 1144902"/>
                <a:gd name="connsiteX4" fmla="*/ 251580 w 627978"/>
                <a:gd name="connsiteY4" fmla="*/ 0 h 1144902"/>
                <a:gd name="connsiteX5" fmla="*/ 52597 w 627978"/>
                <a:gd name="connsiteY5" fmla="*/ 0 h 1144902"/>
                <a:gd name="connsiteX6" fmla="*/ 33457 w 627978"/>
                <a:gd name="connsiteY6" fmla="*/ 42131 h 1144902"/>
                <a:gd name="connsiteX7" fmla="*/ 25488 w 627978"/>
                <a:gd name="connsiteY7" fmla="*/ 99538 h 1144902"/>
                <a:gd name="connsiteX8" fmla="*/ 0 w 627978"/>
                <a:gd name="connsiteY8" fmla="*/ 239774 h 1144902"/>
                <a:gd name="connsiteX9" fmla="*/ 126454 w 627978"/>
                <a:gd name="connsiteY9" fmla="*/ 1144902 h 1144902"/>
                <a:gd name="connsiteX10" fmla="*/ 286044 w 627978"/>
                <a:gd name="connsiteY10" fmla="*/ 1135345 h 1144902"/>
                <a:gd name="connsiteX11" fmla="*/ 316243 w 627978"/>
                <a:gd name="connsiteY11" fmla="*/ 218443 h 1144902"/>
                <a:gd name="connsiteX12" fmla="*/ 319942 w 627978"/>
                <a:gd name="connsiteY12" fmla="*/ 217759 h 1144902"/>
                <a:gd name="connsiteX13" fmla="*/ 335915 w 627978"/>
                <a:gd name="connsiteY13" fmla="*/ 1138965 h 1144902"/>
                <a:gd name="connsiteX14" fmla="*/ 507454 w 627978"/>
                <a:gd name="connsiteY14" fmla="*/ 1132996 h 1144902"/>
                <a:gd name="connsiteX15" fmla="*/ 627978 w 627978"/>
                <a:gd name="connsiteY15" fmla="*/ 232149 h 1144902"/>
                <a:gd name="connsiteX16" fmla="*/ 600994 w 627978"/>
                <a:gd name="connsiteY16" fmla="*/ 106713 h 1144902"/>
                <a:gd name="connsiteX17" fmla="*/ 596981 w 627978"/>
                <a:gd name="connsiteY17" fmla="*/ 42131 h 1144902"/>
                <a:gd name="connsiteX18" fmla="*/ 577842 w 627978"/>
                <a:gd name="connsiteY18" fmla="*/ 0 h 1144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27978" h="1144902">
                  <a:moveTo>
                    <a:pt x="577842" y="0"/>
                  </a:moveTo>
                  <a:lnTo>
                    <a:pt x="365203" y="0"/>
                  </a:lnTo>
                  <a:lnTo>
                    <a:pt x="365203" y="33054"/>
                  </a:lnTo>
                  <a:lnTo>
                    <a:pt x="251580" y="33054"/>
                  </a:lnTo>
                  <a:lnTo>
                    <a:pt x="251580" y="0"/>
                  </a:lnTo>
                  <a:lnTo>
                    <a:pt x="52597" y="0"/>
                  </a:lnTo>
                  <a:lnTo>
                    <a:pt x="33457" y="42131"/>
                  </a:lnTo>
                  <a:lnTo>
                    <a:pt x="25488" y="99538"/>
                  </a:lnTo>
                  <a:cubicBezTo>
                    <a:pt x="24512" y="148675"/>
                    <a:pt x="976" y="190637"/>
                    <a:pt x="0" y="239774"/>
                  </a:cubicBezTo>
                  <a:cubicBezTo>
                    <a:pt x="36227" y="541483"/>
                    <a:pt x="90227" y="843193"/>
                    <a:pt x="126454" y="1144902"/>
                  </a:cubicBezTo>
                  <a:cubicBezTo>
                    <a:pt x="178841" y="1144902"/>
                    <a:pt x="233657" y="1135345"/>
                    <a:pt x="286044" y="1135345"/>
                  </a:cubicBezTo>
                  <a:lnTo>
                    <a:pt x="316243" y="218443"/>
                  </a:lnTo>
                  <a:lnTo>
                    <a:pt x="319942" y="217759"/>
                  </a:lnTo>
                  <a:lnTo>
                    <a:pt x="335915" y="1138965"/>
                  </a:lnTo>
                  <a:lnTo>
                    <a:pt x="507454" y="1132996"/>
                  </a:lnTo>
                  <a:lnTo>
                    <a:pt x="627978" y="232149"/>
                  </a:lnTo>
                  <a:cubicBezTo>
                    <a:pt x="626702" y="172771"/>
                    <a:pt x="602270" y="166091"/>
                    <a:pt x="600994" y="106713"/>
                  </a:cubicBezTo>
                  <a:lnTo>
                    <a:pt x="596981" y="42131"/>
                  </a:lnTo>
                  <a:lnTo>
                    <a:pt x="577842" y="0"/>
                  </a:lnTo>
                  <a:close/>
                </a:path>
              </a:pathLst>
            </a:custGeom>
            <a:solidFill>
              <a:srgbClr val="C000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dirty="0"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95" name="Group 194"/>
            <p:cNvGrpSpPr/>
            <p:nvPr/>
          </p:nvGrpSpPr>
          <p:grpSpPr>
            <a:xfrm>
              <a:off x="9926109" y="4414894"/>
              <a:ext cx="185129" cy="125702"/>
              <a:chOff x="8907336" y="3981032"/>
              <a:chExt cx="339329" cy="111506"/>
            </a:xfrm>
          </p:grpSpPr>
          <p:sp>
            <p:nvSpPr>
              <p:cNvPr id="203" name="Freeform 202"/>
              <p:cNvSpPr/>
              <p:nvPr/>
            </p:nvSpPr>
            <p:spPr bwMode="auto">
              <a:xfrm>
                <a:off x="8907336" y="3981032"/>
                <a:ext cx="120854" cy="111506"/>
              </a:xfrm>
              <a:custGeom>
                <a:avLst/>
                <a:gdLst>
                  <a:gd name="connsiteX0" fmla="*/ 41275 w 123825"/>
                  <a:gd name="connsiteY0" fmla="*/ 0 h 127000"/>
                  <a:gd name="connsiteX1" fmla="*/ 0 w 123825"/>
                  <a:gd name="connsiteY1" fmla="*/ 34925 h 127000"/>
                  <a:gd name="connsiteX2" fmla="*/ 104775 w 123825"/>
                  <a:gd name="connsiteY2" fmla="*/ 127000 h 127000"/>
                  <a:gd name="connsiteX3" fmla="*/ 123825 w 123825"/>
                  <a:gd name="connsiteY3" fmla="*/ 15875 h 127000"/>
                  <a:gd name="connsiteX4" fmla="*/ 41275 w 123825"/>
                  <a:gd name="connsiteY4" fmla="*/ 0 h 127000"/>
                  <a:gd name="connsiteX0" fmla="*/ 57150 w 139700"/>
                  <a:gd name="connsiteY0" fmla="*/ 0 h 127000"/>
                  <a:gd name="connsiteX1" fmla="*/ 0 w 139700"/>
                  <a:gd name="connsiteY1" fmla="*/ 34925 h 127000"/>
                  <a:gd name="connsiteX2" fmla="*/ 120650 w 139700"/>
                  <a:gd name="connsiteY2" fmla="*/ 127000 h 127000"/>
                  <a:gd name="connsiteX3" fmla="*/ 139700 w 139700"/>
                  <a:gd name="connsiteY3" fmla="*/ 15875 h 127000"/>
                  <a:gd name="connsiteX4" fmla="*/ 57150 w 139700"/>
                  <a:gd name="connsiteY4" fmla="*/ 0 h 127000"/>
                  <a:gd name="connsiteX0" fmla="*/ 57150 w 139700"/>
                  <a:gd name="connsiteY0" fmla="*/ 0 h 127000"/>
                  <a:gd name="connsiteX1" fmla="*/ 0 w 139700"/>
                  <a:gd name="connsiteY1" fmla="*/ 34925 h 127000"/>
                  <a:gd name="connsiteX2" fmla="*/ 120650 w 139700"/>
                  <a:gd name="connsiteY2" fmla="*/ 127000 h 127000"/>
                  <a:gd name="connsiteX3" fmla="*/ 139700 w 139700"/>
                  <a:gd name="connsiteY3" fmla="*/ 15875 h 127000"/>
                  <a:gd name="connsiteX4" fmla="*/ 57150 w 139700"/>
                  <a:gd name="connsiteY4" fmla="*/ 0 h 127000"/>
                  <a:gd name="connsiteX0" fmla="*/ 59779 w 142329"/>
                  <a:gd name="connsiteY0" fmla="*/ 0 h 127000"/>
                  <a:gd name="connsiteX1" fmla="*/ 2629 w 142329"/>
                  <a:gd name="connsiteY1" fmla="*/ 34925 h 127000"/>
                  <a:gd name="connsiteX2" fmla="*/ 123279 w 142329"/>
                  <a:gd name="connsiteY2" fmla="*/ 127000 h 127000"/>
                  <a:gd name="connsiteX3" fmla="*/ 142329 w 142329"/>
                  <a:gd name="connsiteY3" fmla="*/ 15875 h 127000"/>
                  <a:gd name="connsiteX4" fmla="*/ 59779 w 142329"/>
                  <a:gd name="connsiteY4" fmla="*/ 0 h 127000"/>
                  <a:gd name="connsiteX0" fmla="*/ 59712 w 142262"/>
                  <a:gd name="connsiteY0" fmla="*/ 0 h 131258"/>
                  <a:gd name="connsiteX1" fmla="*/ 2562 w 142262"/>
                  <a:gd name="connsiteY1" fmla="*/ 34925 h 131258"/>
                  <a:gd name="connsiteX2" fmla="*/ 123212 w 142262"/>
                  <a:gd name="connsiteY2" fmla="*/ 127000 h 131258"/>
                  <a:gd name="connsiteX3" fmla="*/ 142262 w 142262"/>
                  <a:gd name="connsiteY3" fmla="*/ 15875 h 131258"/>
                  <a:gd name="connsiteX4" fmla="*/ 59712 w 142262"/>
                  <a:gd name="connsiteY4" fmla="*/ 0 h 1312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262" h="131258">
                    <a:moveTo>
                      <a:pt x="59712" y="0"/>
                    </a:moveTo>
                    <a:cubicBezTo>
                      <a:pt x="78762" y="94192"/>
                      <a:pt x="21612" y="23283"/>
                      <a:pt x="2562" y="34925"/>
                    </a:cubicBezTo>
                    <a:cubicBezTo>
                      <a:pt x="-17546" y="144992"/>
                      <a:pt x="86170" y="134408"/>
                      <a:pt x="123212" y="127000"/>
                    </a:cubicBezTo>
                    <a:lnTo>
                      <a:pt x="142262" y="15875"/>
                    </a:lnTo>
                    <a:lnTo>
                      <a:pt x="59712" y="0"/>
                    </a:lnTo>
                    <a:close/>
                  </a:path>
                </a:pathLst>
              </a:custGeom>
              <a:solidFill>
                <a:srgbClr val="3F3F3F">
                  <a:lumMod val="95000"/>
                  <a:lumOff val="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04" name="Freeform 203"/>
              <p:cNvSpPr/>
              <p:nvPr/>
            </p:nvSpPr>
            <p:spPr bwMode="auto">
              <a:xfrm flipH="1">
                <a:off x="9125811" y="3981032"/>
                <a:ext cx="120854" cy="111506"/>
              </a:xfrm>
              <a:custGeom>
                <a:avLst/>
                <a:gdLst>
                  <a:gd name="connsiteX0" fmla="*/ 41275 w 123825"/>
                  <a:gd name="connsiteY0" fmla="*/ 0 h 127000"/>
                  <a:gd name="connsiteX1" fmla="*/ 0 w 123825"/>
                  <a:gd name="connsiteY1" fmla="*/ 34925 h 127000"/>
                  <a:gd name="connsiteX2" fmla="*/ 104775 w 123825"/>
                  <a:gd name="connsiteY2" fmla="*/ 127000 h 127000"/>
                  <a:gd name="connsiteX3" fmla="*/ 123825 w 123825"/>
                  <a:gd name="connsiteY3" fmla="*/ 15875 h 127000"/>
                  <a:gd name="connsiteX4" fmla="*/ 41275 w 123825"/>
                  <a:gd name="connsiteY4" fmla="*/ 0 h 127000"/>
                  <a:gd name="connsiteX0" fmla="*/ 57150 w 139700"/>
                  <a:gd name="connsiteY0" fmla="*/ 0 h 127000"/>
                  <a:gd name="connsiteX1" fmla="*/ 0 w 139700"/>
                  <a:gd name="connsiteY1" fmla="*/ 34925 h 127000"/>
                  <a:gd name="connsiteX2" fmla="*/ 120650 w 139700"/>
                  <a:gd name="connsiteY2" fmla="*/ 127000 h 127000"/>
                  <a:gd name="connsiteX3" fmla="*/ 139700 w 139700"/>
                  <a:gd name="connsiteY3" fmla="*/ 15875 h 127000"/>
                  <a:gd name="connsiteX4" fmla="*/ 57150 w 139700"/>
                  <a:gd name="connsiteY4" fmla="*/ 0 h 127000"/>
                  <a:gd name="connsiteX0" fmla="*/ 57150 w 139700"/>
                  <a:gd name="connsiteY0" fmla="*/ 0 h 127000"/>
                  <a:gd name="connsiteX1" fmla="*/ 0 w 139700"/>
                  <a:gd name="connsiteY1" fmla="*/ 34925 h 127000"/>
                  <a:gd name="connsiteX2" fmla="*/ 120650 w 139700"/>
                  <a:gd name="connsiteY2" fmla="*/ 127000 h 127000"/>
                  <a:gd name="connsiteX3" fmla="*/ 139700 w 139700"/>
                  <a:gd name="connsiteY3" fmla="*/ 15875 h 127000"/>
                  <a:gd name="connsiteX4" fmla="*/ 57150 w 139700"/>
                  <a:gd name="connsiteY4" fmla="*/ 0 h 127000"/>
                  <a:gd name="connsiteX0" fmla="*/ 59779 w 142329"/>
                  <a:gd name="connsiteY0" fmla="*/ 0 h 127000"/>
                  <a:gd name="connsiteX1" fmla="*/ 2629 w 142329"/>
                  <a:gd name="connsiteY1" fmla="*/ 34925 h 127000"/>
                  <a:gd name="connsiteX2" fmla="*/ 123279 w 142329"/>
                  <a:gd name="connsiteY2" fmla="*/ 127000 h 127000"/>
                  <a:gd name="connsiteX3" fmla="*/ 142329 w 142329"/>
                  <a:gd name="connsiteY3" fmla="*/ 15875 h 127000"/>
                  <a:gd name="connsiteX4" fmla="*/ 59779 w 142329"/>
                  <a:gd name="connsiteY4" fmla="*/ 0 h 127000"/>
                  <a:gd name="connsiteX0" fmla="*/ 59712 w 142262"/>
                  <a:gd name="connsiteY0" fmla="*/ 0 h 131258"/>
                  <a:gd name="connsiteX1" fmla="*/ 2562 w 142262"/>
                  <a:gd name="connsiteY1" fmla="*/ 34925 h 131258"/>
                  <a:gd name="connsiteX2" fmla="*/ 123212 w 142262"/>
                  <a:gd name="connsiteY2" fmla="*/ 127000 h 131258"/>
                  <a:gd name="connsiteX3" fmla="*/ 142262 w 142262"/>
                  <a:gd name="connsiteY3" fmla="*/ 15875 h 131258"/>
                  <a:gd name="connsiteX4" fmla="*/ 59712 w 142262"/>
                  <a:gd name="connsiteY4" fmla="*/ 0 h 1312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262" h="131258">
                    <a:moveTo>
                      <a:pt x="59712" y="0"/>
                    </a:moveTo>
                    <a:cubicBezTo>
                      <a:pt x="78762" y="94192"/>
                      <a:pt x="21612" y="23283"/>
                      <a:pt x="2562" y="34925"/>
                    </a:cubicBezTo>
                    <a:cubicBezTo>
                      <a:pt x="-17546" y="144992"/>
                      <a:pt x="86170" y="134408"/>
                      <a:pt x="123212" y="127000"/>
                    </a:cubicBezTo>
                    <a:lnTo>
                      <a:pt x="142262" y="15875"/>
                    </a:lnTo>
                    <a:lnTo>
                      <a:pt x="59712" y="0"/>
                    </a:lnTo>
                    <a:close/>
                  </a:path>
                </a:pathLst>
              </a:custGeom>
              <a:solidFill>
                <a:srgbClr val="3F3F3F">
                  <a:lumMod val="95000"/>
                  <a:lumOff val="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dirty="0" smtClean="0">
                  <a:gradFill>
                    <a:gsLst>
                      <a:gs pos="0">
                        <a:srgbClr val="FFFFFF"/>
                      </a:gs>
                      <a:gs pos="100000">
                        <a:srgbClr val="FFFFFF"/>
                      </a:gs>
                    </a:gsLst>
                    <a:lin ang="5400000" scaled="0"/>
                  </a:gradFill>
                  <a:ea typeface="Segoe UI" pitchFamily="34" charset="0"/>
                  <a:cs typeface="Segoe UI" pitchFamily="34" charset="0"/>
                </a:endParaRPr>
              </a:p>
            </p:txBody>
          </p:sp>
        </p:grpSp>
        <p:sp>
          <p:nvSpPr>
            <p:cNvPr id="196" name="Rounded Rectangle 195"/>
            <p:cNvSpPr/>
            <p:nvPr/>
          </p:nvSpPr>
          <p:spPr bwMode="auto">
            <a:xfrm>
              <a:off x="9763917" y="5107151"/>
              <a:ext cx="47364" cy="86486"/>
            </a:xfrm>
            <a:prstGeom prst="roundRect">
              <a:avLst>
                <a:gd name="adj" fmla="val 50000"/>
              </a:avLst>
            </a:prstGeom>
            <a:solidFill>
              <a:srgbClr val="FFC0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dirty="0"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97" name="Group 196"/>
            <p:cNvGrpSpPr/>
            <p:nvPr/>
          </p:nvGrpSpPr>
          <p:grpSpPr>
            <a:xfrm>
              <a:off x="9917315" y="5979459"/>
              <a:ext cx="188578" cy="84933"/>
              <a:chOff x="8947799" y="5725197"/>
              <a:chExt cx="257734" cy="58573"/>
            </a:xfrm>
          </p:grpSpPr>
          <p:sp>
            <p:nvSpPr>
              <p:cNvPr id="201" name="Freeform 200"/>
              <p:cNvSpPr/>
              <p:nvPr/>
            </p:nvSpPr>
            <p:spPr bwMode="auto">
              <a:xfrm>
                <a:off x="8947799" y="5725197"/>
                <a:ext cx="118153" cy="58573"/>
              </a:xfrm>
              <a:custGeom>
                <a:avLst/>
                <a:gdLst>
                  <a:gd name="connsiteX0" fmla="*/ 93857 w 187714"/>
                  <a:gd name="connsiteY0" fmla="*/ 0 h 93056"/>
                  <a:gd name="connsiteX1" fmla="*/ 180525 w 187714"/>
                  <a:gd name="connsiteY1" fmla="*/ 57448 h 93056"/>
                  <a:gd name="connsiteX2" fmla="*/ 187714 w 187714"/>
                  <a:gd name="connsiteY2" fmla="*/ 93056 h 93056"/>
                  <a:gd name="connsiteX3" fmla="*/ 0 w 187714"/>
                  <a:gd name="connsiteY3" fmla="*/ 93056 h 93056"/>
                  <a:gd name="connsiteX4" fmla="*/ 7189 w 187714"/>
                  <a:gd name="connsiteY4" fmla="*/ 57448 h 93056"/>
                  <a:gd name="connsiteX5" fmla="*/ 93857 w 187714"/>
                  <a:gd name="connsiteY5" fmla="*/ 0 h 93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7714" h="93056">
                    <a:moveTo>
                      <a:pt x="93857" y="0"/>
                    </a:moveTo>
                    <a:cubicBezTo>
                      <a:pt x="132818" y="0"/>
                      <a:pt x="166246" y="23688"/>
                      <a:pt x="180525" y="57448"/>
                    </a:cubicBezTo>
                    <a:lnTo>
                      <a:pt x="187714" y="93056"/>
                    </a:lnTo>
                    <a:lnTo>
                      <a:pt x="0" y="93056"/>
                    </a:lnTo>
                    <a:lnTo>
                      <a:pt x="7189" y="57448"/>
                    </a:lnTo>
                    <a:cubicBezTo>
                      <a:pt x="21468" y="23688"/>
                      <a:pt x="54896" y="0"/>
                      <a:pt x="93857" y="0"/>
                    </a:cubicBezTo>
                    <a:close/>
                  </a:path>
                </a:pathLst>
              </a:custGeom>
              <a:solidFill>
                <a:srgbClr val="6633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1836" kern="0" dirty="0" smtClean="0">
                  <a:solidFill>
                    <a:srgbClr val="FFFFFF"/>
                  </a:solidFill>
                </a:endParaRPr>
              </a:p>
            </p:txBody>
          </p:sp>
          <p:sp>
            <p:nvSpPr>
              <p:cNvPr id="202" name="Freeform 201"/>
              <p:cNvSpPr/>
              <p:nvPr/>
            </p:nvSpPr>
            <p:spPr bwMode="auto">
              <a:xfrm>
                <a:off x="9087380" y="5725197"/>
                <a:ext cx="118153" cy="58573"/>
              </a:xfrm>
              <a:custGeom>
                <a:avLst/>
                <a:gdLst>
                  <a:gd name="connsiteX0" fmla="*/ 93857 w 187714"/>
                  <a:gd name="connsiteY0" fmla="*/ 0 h 93056"/>
                  <a:gd name="connsiteX1" fmla="*/ 180525 w 187714"/>
                  <a:gd name="connsiteY1" fmla="*/ 57448 h 93056"/>
                  <a:gd name="connsiteX2" fmla="*/ 187714 w 187714"/>
                  <a:gd name="connsiteY2" fmla="*/ 93056 h 93056"/>
                  <a:gd name="connsiteX3" fmla="*/ 0 w 187714"/>
                  <a:gd name="connsiteY3" fmla="*/ 93056 h 93056"/>
                  <a:gd name="connsiteX4" fmla="*/ 7189 w 187714"/>
                  <a:gd name="connsiteY4" fmla="*/ 57448 h 93056"/>
                  <a:gd name="connsiteX5" fmla="*/ 93857 w 187714"/>
                  <a:gd name="connsiteY5" fmla="*/ 0 h 93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7714" h="93056">
                    <a:moveTo>
                      <a:pt x="93857" y="0"/>
                    </a:moveTo>
                    <a:cubicBezTo>
                      <a:pt x="132818" y="0"/>
                      <a:pt x="166246" y="23688"/>
                      <a:pt x="180525" y="57448"/>
                    </a:cubicBezTo>
                    <a:lnTo>
                      <a:pt x="187714" y="93056"/>
                    </a:lnTo>
                    <a:lnTo>
                      <a:pt x="0" y="93056"/>
                    </a:lnTo>
                    <a:lnTo>
                      <a:pt x="7189" y="57448"/>
                    </a:lnTo>
                    <a:cubicBezTo>
                      <a:pt x="21468" y="23688"/>
                      <a:pt x="54896" y="0"/>
                      <a:pt x="93857" y="0"/>
                    </a:cubicBezTo>
                    <a:close/>
                  </a:path>
                </a:pathLst>
              </a:custGeom>
              <a:solidFill>
                <a:srgbClr val="6633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1836" kern="0" dirty="0" smtClean="0">
                  <a:solidFill>
                    <a:srgbClr val="FFFFFF"/>
                  </a:solidFill>
                </a:endParaRPr>
              </a:p>
            </p:txBody>
          </p:sp>
        </p:grpSp>
        <p:sp>
          <p:nvSpPr>
            <p:cNvPr id="198" name="Freeform 197"/>
            <p:cNvSpPr/>
            <p:nvPr/>
          </p:nvSpPr>
          <p:spPr bwMode="auto">
            <a:xfrm rot="5400000">
              <a:off x="9708774" y="4556804"/>
              <a:ext cx="619863" cy="192415"/>
            </a:xfrm>
            <a:custGeom>
              <a:avLst/>
              <a:gdLst>
                <a:gd name="connsiteX0" fmla="*/ 0 w 392904"/>
                <a:gd name="connsiteY0" fmla="*/ 184191 h 309562"/>
                <a:gd name="connsiteX1" fmla="*/ 0 w 392904"/>
                <a:gd name="connsiteY1" fmla="*/ 125371 h 309562"/>
                <a:gd name="connsiteX2" fmla="*/ 95323 w 392904"/>
                <a:gd name="connsiteY2" fmla="*/ 30048 h 309562"/>
                <a:gd name="connsiteX3" fmla="*/ 107911 w 392904"/>
                <a:gd name="connsiteY3" fmla="*/ 30048 h 309562"/>
                <a:gd name="connsiteX4" fmla="*/ 116458 w 392904"/>
                <a:gd name="connsiteY4" fmla="*/ 9416 h 309562"/>
                <a:gd name="connsiteX5" fmla="*/ 139189 w 392904"/>
                <a:gd name="connsiteY5" fmla="*/ 0 h 309562"/>
                <a:gd name="connsiteX6" fmla="*/ 182279 w 392904"/>
                <a:gd name="connsiteY6" fmla="*/ 0 h 309562"/>
                <a:gd name="connsiteX7" fmla="*/ 205010 w 392904"/>
                <a:gd name="connsiteY7" fmla="*/ 9416 h 309562"/>
                <a:gd name="connsiteX8" fmla="*/ 213557 w 392904"/>
                <a:gd name="connsiteY8" fmla="*/ 30048 h 309562"/>
                <a:gd name="connsiteX9" fmla="*/ 252339 w 392904"/>
                <a:gd name="connsiteY9" fmla="*/ 30048 h 309562"/>
                <a:gd name="connsiteX10" fmla="*/ 319742 w 392904"/>
                <a:gd name="connsiteY10" fmla="*/ 57968 h 309562"/>
                <a:gd name="connsiteX11" fmla="*/ 336441 w 392904"/>
                <a:gd name="connsiteY11" fmla="*/ 82735 h 309562"/>
                <a:gd name="connsiteX12" fmla="*/ 357186 w 392904"/>
                <a:gd name="connsiteY12" fmla="*/ 80848 h 309562"/>
                <a:gd name="connsiteX13" fmla="*/ 392904 w 392904"/>
                <a:gd name="connsiteY13" fmla="*/ 152286 h 309562"/>
                <a:gd name="connsiteX14" fmla="*/ 357186 w 392904"/>
                <a:gd name="connsiteY14" fmla="*/ 235629 h 309562"/>
                <a:gd name="connsiteX15" fmla="*/ 330992 w 392904"/>
                <a:gd name="connsiteY15" fmla="*/ 235629 h 309562"/>
                <a:gd name="connsiteX16" fmla="*/ 330992 w 392904"/>
                <a:gd name="connsiteY16" fmla="*/ 234909 h 309562"/>
                <a:gd name="connsiteX17" fmla="*/ 319742 w 392904"/>
                <a:gd name="connsiteY17" fmla="*/ 251594 h 309562"/>
                <a:gd name="connsiteX18" fmla="*/ 252339 w 392904"/>
                <a:gd name="connsiteY18" fmla="*/ 279514 h 309562"/>
                <a:gd name="connsiteX19" fmla="*/ 213557 w 392904"/>
                <a:gd name="connsiteY19" fmla="*/ 279514 h 309562"/>
                <a:gd name="connsiteX20" fmla="*/ 205010 w 392904"/>
                <a:gd name="connsiteY20" fmla="*/ 300146 h 309562"/>
                <a:gd name="connsiteX21" fmla="*/ 182279 w 392904"/>
                <a:gd name="connsiteY21" fmla="*/ 309562 h 309562"/>
                <a:gd name="connsiteX22" fmla="*/ 139189 w 392904"/>
                <a:gd name="connsiteY22" fmla="*/ 309562 h 309562"/>
                <a:gd name="connsiteX23" fmla="*/ 116458 w 392904"/>
                <a:gd name="connsiteY23" fmla="*/ 300146 h 309562"/>
                <a:gd name="connsiteX24" fmla="*/ 107911 w 392904"/>
                <a:gd name="connsiteY24" fmla="*/ 279514 h 309562"/>
                <a:gd name="connsiteX25" fmla="*/ 95323 w 392904"/>
                <a:gd name="connsiteY25" fmla="*/ 279514 h 309562"/>
                <a:gd name="connsiteX26" fmla="*/ 0 w 392904"/>
                <a:gd name="connsiteY26" fmla="*/ 184191 h 309562"/>
                <a:gd name="connsiteX0" fmla="*/ 0 w 887486"/>
                <a:gd name="connsiteY0" fmla="*/ 184191 h 309562"/>
                <a:gd name="connsiteX1" fmla="*/ 0 w 887486"/>
                <a:gd name="connsiteY1" fmla="*/ 125371 h 309562"/>
                <a:gd name="connsiteX2" fmla="*/ 95323 w 887486"/>
                <a:gd name="connsiteY2" fmla="*/ 30048 h 309562"/>
                <a:gd name="connsiteX3" fmla="*/ 107911 w 887486"/>
                <a:gd name="connsiteY3" fmla="*/ 30048 h 309562"/>
                <a:gd name="connsiteX4" fmla="*/ 116458 w 887486"/>
                <a:gd name="connsiteY4" fmla="*/ 9416 h 309562"/>
                <a:gd name="connsiteX5" fmla="*/ 139189 w 887486"/>
                <a:gd name="connsiteY5" fmla="*/ 0 h 309562"/>
                <a:gd name="connsiteX6" fmla="*/ 182279 w 887486"/>
                <a:gd name="connsiteY6" fmla="*/ 0 h 309562"/>
                <a:gd name="connsiteX7" fmla="*/ 205010 w 887486"/>
                <a:gd name="connsiteY7" fmla="*/ 9416 h 309562"/>
                <a:gd name="connsiteX8" fmla="*/ 213557 w 887486"/>
                <a:gd name="connsiteY8" fmla="*/ 30048 h 309562"/>
                <a:gd name="connsiteX9" fmla="*/ 252339 w 887486"/>
                <a:gd name="connsiteY9" fmla="*/ 30048 h 309562"/>
                <a:gd name="connsiteX10" fmla="*/ 319742 w 887486"/>
                <a:gd name="connsiteY10" fmla="*/ 57968 h 309562"/>
                <a:gd name="connsiteX11" fmla="*/ 336441 w 887486"/>
                <a:gd name="connsiteY11" fmla="*/ 82735 h 309562"/>
                <a:gd name="connsiteX12" fmla="*/ 357186 w 887486"/>
                <a:gd name="connsiteY12" fmla="*/ 80848 h 309562"/>
                <a:gd name="connsiteX13" fmla="*/ 887486 w 887486"/>
                <a:gd name="connsiteY13" fmla="*/ 152287 h 309562"/>
                <a:gd name="connsiteX14" fmla="*/ 357186 w 887486"/>
                <a:gd name="connsiteY14" fmla="*/ 235629 h 309562"/>
                <a:gd name="connsiteX15" fmla="*/ 330992 w 887486"/>
                <a:gd name="connsiteY15" fmla="*/ 235629 h 309562"/>
                <a:gd name="connsiteX16" fmla="*/ 330992 w 887486"/>
                <a:gd name="connsiteY16" fmla="*/ 234909 h 309562"/>
                <a:gd name="connsiteX17" fmla="*/ 319742 w 887486"/>
                <a:gd name="connsiteY17" fmla="*/ 251594 h 309562"/>
                <a:gd name="connsiteX18" fmla="*/ 252339 w 887486"/>
                <a:gd name="connsiteY18" fmla="*/ 279514 h 309562"/>
                <a:gd name="connsiteX19" fmla="*/ 213557 w 887486"/>
                <a:gd name="connsiteY19" fmla="*/ 279514 h 309562"/>
                <a:gd name="connsiteX20" fmla="*/ 205010 w 887486"/>
                <a:gd name="connsiteY20" fmla="*/ 300146 h 309562"/>
                <a:gd name="connsiteX21" fmla="*/ 182279 w 887486"/>
                <a:gd name="connsiteY21" fmla="*/ 309562 h 309562"/>
                <a:gd name="connsiteX22" fmla="*/ 139189 w 887486"/>
                <a:gd name="connsiteY22" fmla="*/ 309562 h 309562"/>
                <a:gd name="connsiteX23" fmla="*/ 116458 w 887486"/>
                <a:gd name="connsiteY23" fmla="*/ 300146 h 309562"/>
                <a:gd name="connsiteX24" fmla="*/ 107911 w 887486"/>
                <a:gd name="connsiteY24" fmla="*/ 279514 h 309562"/>
                <a:gd name="connsiteX25" fmla="*/ 95323 w 887486"/>
                <a:gd name="connsiteY25" fmla="*/ 279514 h 309562"/>
                <a:gd name="connsiteX26" fmla="*/ 0 w 887486"/>
                <a:gd name="connsiteY26" fmla="*/ 184191 h 309562"/>
                <a:gd name="connsiteX0" fmla="*/ 0 w 887486"/>
                <a:gd name="connsiteY0" fmla="*/ 184191 h 309562"/>
                <a:gd name="connsiteX1" fmla="*/ 0 w 887486"/>
                <a:gd name="connsiteY1" fmla="*/ 125371 h 309562"/>
                <a:gd name="connsiteX2" fmla="*/ 95323 w 887486"/>
                <a:gd name="connsiteY2" fmla="*/ 30048 h 309562"/>
                <a:gd name="connsiteX3" fmla="*/ 107911 w 887486"/>
                <a:gd name="connsiteY3" fmla="*/ 30048 h 309562"/>
                <a:gd name="connsiteX4" fmla="*/ 116458 w 887486"/>
                <a:gd name="connsiteY4" fmla="*/ 9416 h 309562"/>
                <a:gd name="connsiteX5" fmla="*/ 139189 w 887486"/>
                <a:gd name="connsiteY5" fmla="*/ 0 h 309562"/>
                <a:gd name="connsiteX6" fmla="*/ 182279 w 887486"/>
                <a:gd name="connsiteY6" fmla="*/ 0 h 309562"/>
                <a:gd name="connsiteX7" fmla="*/ 205010 w 887486"/>
                <a:gd name="connsiteY7" fmla="*/ 9416 h 309562"/>
                <a:gd name="connsiteX8" fmla="*/ 213557 w 887486"/>
                <a:gd name="connsiteY8" fmla="*/ 30048 h 309562"/>
                <a:gd name="connsiteX9" fmla="*/ 252339 w 887486"/>
                <a:gd name="connsiteY9" fmla="*/ 30048 h 309562"/>
                <a:gd name="connsiteX10" fmla="*/ 319742 w 887486"/>
                <a:gd name="connsiteY10" fmla="*/ 57968 h 309562"/>
                <a:gd name="connsiteX11" fmla="*/ 336441 w 887486"/>
                <a:gd name="connsiteY11" fmla="*/ 82735 h 309562"/>
                <a:gd name="connsiteX12" fmla="*/ 357186 w 887486"/>
                <a:gd name="connsiteY12" fmla="*/ 80848 h 309562"/>
                <a:gd name="connsiteX13" fmla="*/ 887486 w 887486"/>
                <a:gd name="connsiteY13" fmla="*/ 168632 h 309562"/>
                <a:gd name="connsiteX14" fmla="*/ 357186 w 887486"/>
                <a:gd name="connsiteY14" fmla="*/ 235629 h 309562"/>
                <a:gd name="connsiteX15" fmla="*/ 330992 w 887486"/>
                <a:gd name="connsiteY15" fmla="*/ 235629 h 309562"/>
                <a:gd name="connsiteX16" fmla="*/ 330992 w 887486"/>
                <a:gd name="connsiteY16" fmla="*/ 234909 h 309562"/>
                <a:gd name="connsiteX17" fmla="*/ 319742 w 887486"/>
                <a:gd name="connsiteY17" fmla="*/ 251594 h 309562"/>
                <a:gd name="connsiteX18" fmla="*/ 252339 w 887486"/>
                <a:gd name="connsiteY18" fmla="*/ 279514 h 309562"/>
                <a:gd name="connsiteX19" fmla="*/ 213557 w 887486"/>
                <a:gd name="connsiteY19" fmla="*/ 279514 h 309562"/>
                <a:gd name="connsiteX20" fmla="*/ 205010 w 887486"/>
                <a:gd name="connsiteY20" fmla="*/ 300146 h 309562"/>
                <a:gd name="connsiteX21" fmla="*/ 182279 w 887486"/>
                <a:gd name="connsiteY21" fmla="*/ 309562 h 309562"/>
                <a:gd name="connsiteX22" fmla="*/ 139189 w 887486"/>
                <a:gd name="connsiteY22" fmla="*/ 309562 h 309562"/>
                <a:gd name="connsiteX23" fmla="*/ 116458 w 887486"/>
                <a:gd name="connsiteY23" fmla="*/ 300146 h 309562"/>
                <a:gd name="connsiteX24" fmla="*/ 107911 w 887486"/>
                <a:gd name="connsiteY24" fmla="*/ 279514 h 309562"/>
                <a:gd name="connsiteX25" fmla="*/ 95323 w 887486"/>
                <a:gd name="connsiteY25" fmla="*/ 279514 h 309562"/>
                <a:gd name="connsiteX26" fmla="*/ 0 w 887486"/>
                <a:gd name="connsiteY26" fmla="*/ 184191 h 309562"/>
                <a:gd name="connsiteX0" fmla="*/ 0 w 887486"/>
                <a:gd name="connsiteY0" fmla="*/ 184191 h 309562"/>
                <a:gd name="connsiteX1" fmla="*/ 0 w 887486"/>
                <a:gd name="connsiteY1" fmla="*/ 125371 h 309562"/>
                <a:gd name="connsiteX2" fmla="*/ 95323 w 887486"/>
                <a:gd name="connsiteY2" fmla="*/ 30048 h 309562"/>
                <a:gd name="connsiteX3" fmla="*/ 107911 w 887486"/>
                <a:gd name="connsiteY3" fmla="*/ 30048 h 309562"/>
                <a:gd name="connsiteX4" fmla="*/ 116458 w 887486"/>
                <a:gd name="connsiteY4" fmla="*/ 9416 h 309562"/>
                <a:gd name="connsiteX5" fmla="*/ 139189 w 887486"/>
                <a:gd name="connsiteY5" fmla="*/ 0 h 309562"/>
                <a:gd name="connsiteX6" fmla="*/ 182279 w 887486"/>
                <a:gd name="connsiteY6" fmla="*/ 0 h 309562"/>
                <a:gd name="connsiteX7" fmla="*/ 205010 w 887486"/>
                <a:gd name="connsiteY7" fmla="*/ 9416 h 309562"/>
                <a:gd name="connsiteX8" fmla="*/ 213557 w 887486"/>
                <a:gd name="connsiteY8" fmla="*/ 30048 h 309562"/>
                <a:gd name="connsiteX9" fmla="*/ 252339 w 887486"/>
                <a:gd name="connsiteY9" fmla="*/ 30048 h 309562"/>
                <a:gd name="connsiteX10" fmla="*/ 319742 w 887486"/>
                <a:gd name="connsiteY10" fmla="*/ 57968 h 309562"/>
                <a:gd name="connsiteX11" fmla="*/ 336441 w 887486"/>
                <a:gd name="connsiteY11" fmla="*/ 82735 h 309562"/>
                <a:gd name="connsiteX12" fmla="*/ 584871 w 887486"/>
                <a:gd name="connsiteY12" fmla="*/ 80848 h 309562"/>
                <a:gd name="connsiteX13" fmla="*/ 887486 w 887486"/>
                <a:gd name="connsiteY13" fmla="*/ 168632 h 309562"/>
                <a:gd name="connsiteX14" fmla="*/ 357186 w 887486"/>
                <a:gd name="connsiteY14" fmla="*/ 235629 h 309562"/>
                <a:gd name="connsiteX15" fmla="*/ 330992 w 887486"/>
                <a:gd name="connsiteY15" fmla="*/ 235629 h 309562"/>
                <a:gd name="connsiteX16" fmla="*/ 330992 w 887486"/>
                <a:gd name="connsiteY16" fmla="*/ 234909 h 309562"/>
                <a:gd name="connsiteX17" fmla="*/ 319742 w 887486"/>
                <a:gd name="connsiteY17" fmla="*/ 251594 h 309562"/>
                <a:gd name="connsiteX18" fmla="*/ 252339 w 887486"/>
                <a:gd name="connsiteY18" fmla="*/ 279514 h 309562"/>
                <a:gd name="connsiteX19" fmla="*/ 213557 w 887486"/>
                <a:gd name="connsiteY19" fmla="*/ 279514 h 309562"/>
                <a:gd name="connsiteX20" fmla="*/ 205010 w 887486"/>
                <a:gd name="connsiteY20" fmla="*/ 300146 h 309562"/>
                <a:gd name="connsiteX21" fmla="*/ 182279 w 887486"/>
                <a:gd name="connsiteY21" fmla="*/ 309562 h 309562"/>
                <a:gd name="connsiteX22" fmla="*/ 139189 w 887486"/>
                <a:gd name="connsiteY22" fmla="*/ 309562 h 309562"/>
                <a:gd name="connsiteX23" fmla="*/ 116458 w 887486"/>
                <a:gd name="connsiteY23" fmla="*/ 300146 h 309562"/>
                <a:gd name="connsiteX24" fmla="*/ 107911 w 887486"/>
                <a:gd name="connsiteY24" fmla="*/ 279514 h 309562"/>
                <a:gd name="connsiteX25" fmla="*/ 95323 w 887486"/>
                <a:gd name="connsiteY25" fmla="*/ 279514 h 309562"/>
                <a:gd name="connsiteX26" fmla="*/ 0 w 887486"/>
                <a:gd name="connsiteY26" fmla="*/ 184191 h 309562"/>
                <a:gd name="connsiteX0" fmla="*/ 0 w 887486"/>
                <a:gd name="connsiteY0" fmla="*/ 184191 h 309562"/>
                <a:gd name="connsiteX1" fmla="*/ 0 w 887486"/>
                <a:gd name="connsiteY1" fmla="*/ 125371 h 309562"/>
                <a:gd name="connsiteX2" fmla="*/ 95323 w 887486"/>
                <a:gd name="connsiteY2" fmla="*/ 30048 h 309562"/>
                <a:gd name="connsiteX3" fmla="*/ 107911 w 887486"/>
                <a:gd name="connsiteY3" fmla="*/ 30048 h 309562"/>
                <a:gd name="connsiteX4" fmla="*/ 116458 w 887486"/>
                <a:gd name="connsiteY4" fmla="*/ 9416 h 309562"/>
                <a:gd name="connsiteX5" fmla="*/ 139189 w 887486"/>
                <a:gd name="connsiteY5" fmla="*/ 0 h 309562"/>
                <a:gd name="connsiteX6" fmla="*/ 182279 w 887486"/>
                <a:gd name="connsiteY6" fmla="*/ 0 h 309562"/>
                <a:gd name="connsiteX7" fmla="*/ 205010 w 887486"/>
                <a:gd name="connsiteY7" fmla="*/ 9416 h 309562"/>
                <a:gd name="connsiteX8" fmla="*/ 213557 w 887486"/>
                <a:gd name="connsiteY8" fmla="*/ 30048 h 309562"/>
                <a:gd name="connsiteX9" fmla="*/ 252339 w 887486"/>
                <a:gd name="connsiteY9" fmla="*/ 30048 h 309562"/>
                <a:gd name="connsiteX10" fmla="*/ 319742 w 887486"/>
                <a:gd name="connsiteY10" fmla="*/ 57968 h 309562"/>
                <a:gd name="connsiteX11" fmla="*/ 336441 w 887486"/>
                <a:gd name="connsiteY11" fmla="*/ 82735 h 309562"/>
                <a:gd name="connsiteX12" fmla="*/ 584871 w 887486"/>
                <a:gd name="connsiteY12" fmla="*/ 80848 h 309562"/>
                <a:gd name="connsiteX13" fmla="*/ 887486 w 887486"/>
                <a:gd name="connsiteY13" fmla="*/ 168632 h 309562"/>
                <a:gd name="connsiteX14" fmla="*/ 499490 w 887486"/>
                <a:gd name="connsiteY14" fmla="*/ 235628 h 309562"/>
                <a:gd name="connsiteX15" fmla="*/ 330992 w 887486"/>
                <a:gd name="connsiteY15" fmla="*/ 235629 h 309562"/>
                <a:gd name="connsiteX16" fmla="*/ 330992 w 887486"/>
                <a:gd name="connsiteY16" fmla="*/ 234909 h 309562"/>
                <a:gd name="connsiteX17" fmla="*/ 319742 w 887486"/>
                <a:gd name="connsiteY17" fmla="*/ 251594 h 309562"/>
                <a:gd name="connsiteX18" fmla="*/ 252339 w 887486"/>
                <a:gd name="connsiteY18" fmla="*/ 279514 h 309562"/>
                <a:gd name="connsiteX19" fmla="*/ 213557 w 887486"/>
                <a:gd name="connsiteY19" fmla="*/ 279514 h 309562"/>
                <a:gd name="connsiteX20" fmla="*/ 205010 w 887486"/>
                <a:gd name="connsiteY20" fmla="*/ 300146 h 309562"/>
                <a:gd name="connsiteX21" fmla="*/ 182279 w 887486"/>
                <a:gd name="connsiteY21" fmla="*/ 309562 h 309562"/>
                <a:gd name="connsiteX22" fmla="*/ 139189 w 887486"/>
                <a:gd name="connsiteY22" fmla="*/ 309562 h 309562"/>
                <a:gd name="connsiteX23" fmla="*/ 116458 w 887486"/>
                <a:gd name="connsiteY23" fmla="*/ 300146 h 309562"/>
                <a:gd name="connsiteX24" fmla="*/ 107911 w 887486"/>
                <a:gd name="connsiteY24" fmla="*/ 279514 h 309562"/>
                <a:gd name="connsiteX25" fmla="*/ 95323 w 887486"/>
                <a:gd name="connsiteY25" fmla="*/ 279514 h 309562"/>
                <a:gd name="connsiteX26" fmla="*/ 0 w 887486"/>
                <a:gd name="connsiteY26" fmla="*/ 184191 h 309562"/>
                <a:gd name="connsiteX0" fmla="*/ 0 w 887486"/>
                <a:gd name="connsiteY0" fmla="*/ 184191 h 309562"/>
                <a:gd name="connsiteX1" fmla="*/ 0 w 887486"/>
                <a:gd name="connsiteY1" fmla="*/ 125371 h 309562"/>
                <a:gd name="connsiteX2" fmla="*/ 95323 w 887486"/>
                <a:gd name="connsiteY2" fmla="*/ 30048 h 309562"/>
                <a:gd name="connsiteX3" fmla="*/ 107911 w 887486"/>
                <a:gd name="connsiteY3" fmla="*/ 30048 h 309562"/>
                <a:gd name="connsiteX4" fmla="*/ 116458 w 887486"/>
                <a:gd name="connsiteY4" fmla="*/ 9416 h 309562"/>
                <a:gd name="connsiteX5" fmla="*/ 139189 w 887486"/>
                <a:gd name="connsiteY5" fmla="*/ 0 h 309562"/>
                <a:gd name="connsiteX6" fmla="*/ 182279 w 887486"/>
                <a:gd name="connsiteY6" fmla="*/ 0 h 309562"/>
                <a:gd name="connsiteX7" fmla="*/ 205010 w 887486"/>
                <a:gd name="connsiteY7" fmla="*/ 9416 h 309562"/>
                <a:gd name="connsiteX8" fmla="*/ 213557 w 887486"/>
                <a:gd name="connsiteY8" fmla="*/ 30048 h 309562"/>
                <a:gd name="connsiteX9" fmla="*/ 252339 w 887486"/>
                <a:gd name="connsiteY9" fmla="*/ 30048 h 309562"/>
                <a:gd name="connsiteX10" fmla="*/ 319742 w 887486"/>
                <a:gd name="connsiteY10" fmla="*/ 57968 h 309562"/>
                <a:gd name="connsiteX11" fmla="*/ 336441 w 887486"/>
                <a:gd name="connsiteY11" fmla="*/ 82735 h 309562"/>
                <a:gd name="connsiteX12" fmla="*/ 584871 w 887486"/>
                <a:gd name="connsiteY12" fmla="*/ 80848 h 309562"/>
                <a:gd name="connsiteX13" fmla="*/ 887486 w 887486"/>
                <a:gd name="connsiteY13" fmla="*/ 168632 h 309562"/>
                <a:gd name="connsiteX14" fmla="*/ 499490 w 887486"/>
                <a:gd name="connsiteY14" fmla="*/ 224968 h 309562"/>
                <a:gd name="connsiteX15" fmla="*/ 330992 w 887486"/>
                <a:gd name="connsiteY15" fmla="*/ 235629 h 309562"/>
                <a:gd name="connsiteX16" fmla="*/ 330992 w 887486"/>
                <a:gd name="connsiteY16" fmla="*/ 234909 h 309562"/>
                <a:gd name="connsiteX17" fmla="*/ 319742 w 887486"/>
                <a:gd name="connsiteY17" fmla="*/ 251594 h 309562"/>
                <a:gd name="connsiteX18" fmla="*/ 252339 w 887486"/>
                <a:gd name="connsiteY18" fmla="*/ 279514 h 309562"/>
                <a:gd name="connsiteX19" fmla="*/ 213557 w 887486"/>
                <a:gd name="connsiteY19" fmla="*/ 279514 h 309562"/>
                <a:gd name="connsiteX20" fmla="*/ 205010 w 887486"/>
                <a:gd name="connsiteY20" fmla="*/ 300146 h 309562"/>
                <a:gd name="connsiteX21" fmla="*/ 182279 w 887486"/>
                <a:gd name="connsiteY21" fmla="*/ 309562 h 309562"/>
                <a:gd name="connsiteX22" fmla="*/ 139189 w 887486"/>
                <a:gd name="connsiteY22" fmla="*/ 309562 h 309562"/>
                <a:gd name="connsiteX23" fmla="*/ 116458 w 887486"/>
                <a:gd name="connsiteY23" fmla="*/ 300146 h 309562"/>
                <a:gd name="connsiteX24" fmla="*/ 107911 w 887486"/>
                <a:gd name="connsiteY24" fmla="*/ 279514 h 309562"/>
                <a:gd name="connsiteX25" fmla="*/ 95323 w 887486"/>
                <a:gd name="connsiteY25" fmla="*/ 279514 h 309562"/>
                <a:gd name="connsiteX26" fmla="*/ 0 w 887486"/>
                <a:gd name="connsiteY26" fmla="*/ 184191 h 309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87486" h="309562">
                  <a:moveTo>
                    <a:pt x="0" y="184191"/>
                  </a:moveTo>
                  <a:lnTo>
                    <a:pt x="0" y="125371"/>
                  </a:lnTo>
                  <a:cubicBezTo>
                    <a:pt x="0" y="72726"/>
                    <a:pt x="42678" y="30048"/>
                    <a:pt x="95323" y="30048"/>
                  </a:cubicBezTo>
                  <a:lnTo>
                    <a:pt x="107911" y="30048"/>
                  </a:lnTo>
                  <a:lnTo>
                    <a:pt x="116458" y="9416"/>
                  </a:lnTo>
                  <a:cubicBezTo>
                    <a:pt x="122275" y="3598"/>
                    <a:pt x="130312" y="0"/>
                    <a:pt x="139189" y="0"/>
                  </a:cubicBezTo>
                  <a:lnTo>
                    <a:pt x="182279" y="0"/>
                  </a:lnTo>
                  <a:cubicBezTo>
                    <a:pt x="191156" y="0"/>
                    <a:pt x="199193" y="3598"/>
                    <a:pt x="205010" y="9416"/>
                  </a:cubicBezTo>
                  <a:lnTo>
                    <a:pt x="213557" y="30048"/>
                  </a:lnTo>
                  <a:lnTo>
                    <a:pt x="252339" y="30048"/>
                  </a:lnTo>
                  <a:cubicBezTo>
                    <a:pt x="278662" y="30048"/>
                    <a:pt x="302492" y="40718"/>
                    <a:pt x="319742" y="57968"/>
                  </a:cubicBezTo>
                  <a:lnTo>
                    <a:pt x="336441" y="82735"/>
                  </a:lnTo>
                  <a:lnTo>
                    <a:pt x="584871" y="80848"/>
                  </a:lnTo>
                  <a:lnTo>
                    <a:pt x="887486" y="168632"/>
                  </a:lnTo>
                  <a:lnTo>
                    <a:pt x="499490" y="224968"/>
                  </a:lnTo>
                  <a:lnTo>
                    <a:pt x="330992" y="235629"/>
                  </a:lnTo>
                  <a:lnTo>
                    <a:pt x="330992" y="234909"/>
                  </a:lnTo>
                  <a:lnTo>
                    <a:pt x="319742" y="251594"/>
                  </a:lnTo>
                  <a:cubicBezTo>
                    <a:pt x="302492" y="268845"/>
                    <a:pt x="278662" y="279514"/>
                    <a:pt x="252339" y="279514"/>
                  </a:cubicBezTo>
                  <a:lnTo>
                    <a:pt x="213557" y="279514"/>
                  </a:lnTo>
                  <a:lnTo>
                    <a:pt x="205010" y="300146"/>
                  </a:lnTo>
                  <a:cubicBezTo>
                    <a:pt x="199193" y="305964"/>
                    <a:pt x="191156" y="309562"/>
                    <a:pt x="182279" y="309562"/>
                  </a:cubicBezTo>
                  <a:lnTo>
                    <a:pt x="139189" y="309562"/>
                  </a:lnTo>
                  <a:cubicBezTo>
                    <a:pt x="130312" y="309562"/>
                    <a:pt x="122275" y="305964"/>
                    <a:pt x="116458" y="300146"/>
                  </a:cubicBezTo>
                  <a:lnTo>
                    <a:pt x="107911" y="279514"/>
                  </a:lnTo>
                  <a:lnTo>
                    <a:pt x="95323" y="279514"/>
                  </a:lnTo>
                  <a:cubicBezTo>
                    <a:pt x="42678" y="279514"/>
                    <a:pt x="0" y="236836"/>
                    <a:pt x="0" y="184191"/>
                  </a:cubicBezTo>
                  <a:close/>
                </a:path>
              </a:pathLst>
            </a:custGeom>
            <a:solidFill>
              <a:srgbClr val="FFC0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99" name="Freeform 198"/>
            <p:cNvSpPr/>
            <p:nvPr/>
          </p:nvSpPr>
          <p:spPr bwMode="auto">
            <a:xfrm flipH="1">
              <a:off x="9922498" y="4314829"/>
              <a:ext cx="192415" cy="175443"/>
            </a:xfrm>
            <a:custGeom>
              <a:avLst/>
              <a:gdLst>
                <a:gd name="connsiteX0" fmla="*/ 300038 w 300038"/>
                <a:gd name="connsiteY0" fmla="*/ 190500 h 190500"/>
                <a:gd name="connsiteX1" fmla="*/ 271463 w 300038"/>
                <a:gd name="connsiteY1" fmla="*/ 116681 h 190500"/>
                <a:gd name="connsiteX2" fmla="*/ 195263 w 300038"/>
                <a:gd name="connsiteY2" fmla="*/ 107156 h 190500"/>
                <a:gd name="connsiteX3" fmla="*/ 52388 w 300038"/>
                <a:gd name="connsiteY3" fmla="*/ 100012 h 190500"/>
                <a:gd name="connsiteX4" fmla="*/ 21431 w 300038"/>
                <a:gd name="connsiteY4" fmla="*/ 119062 h 190500"/>
                <a:gd name="connsiteX5" fmla="*/ 23813 w 300038"/>
                <a:gd name="connsiteY5" fmla="*/ 164306 h 190500"/>
                <a:gd name="connsiteX6" fmla="*/ 0 w 300038"/>
                <a:gd name="connsiteY6" fmla="*/ 171450 h 190500"/>
                <a:gd name="connsiteX7" fmla="*/ 97631 w 300038"/>
                <a:gd name="connsiteY7" fmla="*/ 0 h 190500"/>
                <a:gd name="connsiteX8" fmla="*/ 214313 w 300038"/>
                <a:gd name="connsiteY8" fmla="*/ 40481 h 190500"/>
                <a:gd name="connsiteX9" fmla="*/ 300038 w 300038"/>
                <a:gd name="connsiteY9" fmla="*/ 190500 h 190500"/>
                <a:gd name="connsiteX0" fmla="*/ 300038 w 300038"/>
                <a:gd name="connsiteY0" fmla="*/ 190500 h 190500"/>
                <a:gd name="connsiteX1" fmla="*/ 271463 w 300038"/>
                <a:gd name="connsiteY1" fmla="*/ 116681 h 190500"/>
                <a:gd name="connsiteX2" fmla="*/ 195263 w 300038"/>
                <a:gd name="connsiteY2" fmla="*/ 107156 h 190500"/>
                <a:gd name="connsiteX3" fmla="*/ 52388 w 300038"/>
                <a:gd name="connsiteY3" fmla="*/ 100012 h 190500"/>
                <a:gd name="connsiteX4" fmla="*/ 21431 w 300038"/>
                <a:gd name="connsiteY4" fmla="*/ 119062 h 190500"/>
                <a:gd name="connsiteX5" fmla="*/ 23813 w 300038"/>
                <a:gd name="connsiteY5" fmla="*/ 164306 h 190500"/>
                <a:gd name="connsiteX6" fmla="*/ 0 w 300038"/>
                <a:gd name="connsiteY6" fmla="*/ 171450 h 190500"/>
                <a:gd name="connsiteX7" fmla="*/ 97631 w 300038"/>
                <a:gd name="connsiteY7" fmla="*/ 0 h 190500"/>
                <a:gd name="connsiteX8" fmla="*/ 214313 w 300038"/>
                <a:gd name="connsiteY8" fmla="*/ 40481 h 190500"/>
                <a:gd name="connsiteX9" fmla="*/ 300038 w 300038"/>
                <a:gd name="connsiteY9" fmla="*/ 190500 h 190500"/>
                <a:gd name="connsiteX0" fmla="*/ 300038 w 300038"/>
                <a:gd name="connsiteY0" fmla="*/ 190500 h 190500"/>
                <a:gd name="connsiteX1" fmla="*/ 271463 w 300038"/>
                <a:gd name="connsiteY1" fmla="*/ 116681 h 190500"/>
                <a:gd name="connsiteX2" fmla="*/ 195263 w 300038"/>
                <a:gd name="connsiteY2" fmla="*/ 107156 h 190500"/>
                <a:gd name="connsiteX3" fmla="*/ 52388 w 300038"/>
                <a:gd name="connsiteY3" fmla="*/ 100012 h 190500"/>
                <a:gd name="connsiteX4" fmla="*/ 21431 w 300038"/>
                <a:gd name="connsiteY4" fmla="*/ 119062 h 190500"/>
                <a:gd name="connsiteX5" fmla="*/ 23813 w 300038"/>
                <a:gd name="connsiteY5" fmla="*/ 164306 h 190500"/>
                <a:gd name="connsiteX6" fmla="*/ 0 w 300038"/>
                <a:gd name="connsiteY6" fmla="*/ 171450 h 190500"/>
                <a:gd name="connsiteX7" fmla="*/ 97631 w 300038"/>
                <a:gd name="connsiteY7" fmla="*/ 0 h 190500"/>
                <a:gd name="connsiteX8" fmla="*/ 214313 w 300038"/>
                <a:gd name="connsiteY8" fmla="*/ 40481 h 190500"/>
                <a:gd name="connsiteX9" fmla="*/ 300038 w 300038"/>
                <a:gd name="connsiteY9" fmla="*/ 190500 h 190500"/>
                <a:gd name="connsiteX0" fmla="*/ 300038 w 301649"/>
                <a:gd name="connsiteY0" fmla="*/ 190500 h 190500"/>
                <a:gd name="connsiteX1" fmla="*/ 271463 w 301649"/>
                <a:gd name="connsiteY1" fmla="*/ 116681 h 190500"/>
                <a:gd name="connsiteX2" fmla="*/ 195263 w 301649"/>
                <a:gd name="connsiteY2" fmla="*/ 107156 h 190500"/>
                <a:gd name="connsiteX3" fmla="*/ 52388 w 301649"/>
                <a:gd name="connsiteY3" fmla="*/ 100012 h 190500"/>
                <a:gd name="connsiteX4" fmla="*/ 21431 w 301649"/>
                <a:gd name="connsiteY4" fmla="*/ 119062 h 190500"/>
                <a:gd name="connsiteX5" fmla="*/ 23813 w 301649"/>
                <a:gd name="connsiteY5" fmla="*/ 164306 h 190500"/>
                <a:gd name="connsiteX6" fmla="*/ 0 w 301649"/>
                <a:gd name="connsiteY6" fmla="*/ 171450 h 190500"/>
                <a:gd name="connsiteX7" fmla="*/ 97631 w 301649"/>
                <a:gd name="connsiteY7" fmla="*/ 0 h 190500"/>
                <a:gd name="connsiteX8" fmla="*/ 214313 w 301649"/>
                <a:gd name="connsiteY8" fmla="*/ 40481 h 190500"/>
                <a:gd name="connsiteX9" fmla="*/ 300038 w 301649"/>
                <a:gd name="connsiteY9" fmla="*/ 190500 h 190500"/>
                <a:gd name="connsiteX0" fmla="*/ 300038 w 301649"/>
                <a:gd name="connsiteY0" fmla="*/ 194507 h 194507"/>
                <a:gd name="connsiteX1" fmla="*/ 271463 w 301649"/>
                <a:gd name="connsiteY1" fmla="*/ 120688 h 194507"/>
                <a:gd name="connsiteX2" fmla="*/ 195263 w 301649"/>
                <a:gd name="connsiteY2" fmla="*/ 111163 h 194507"/>
                <a:gd name="connsiteX3" fmla="*/ 52388 w 301649"/>
                <a:gd name="connsiteY3" fmla="*/ 104019 h 194507"/>
                <a:gd name="connsiteX4" fmla="*/ 21431 w 301649"/>
                <a:gd name="connsiteY4" fmla="*/ 123069 h 194507"/>
                <a:gd name="connsiteX5" fmla="*/ 23813 w 301649"/>
                <a:gd name="connsiteY5" fmla="*/ 168313 h 194507"/>
                <a:gd name="connsiteX6" fmla="*/ 0 w 301649"/>
                <a:gd name="connsiteY6" fmla="*/ 175457 h 194507"/>
                <a:gd name="connsiteX7" fmla="*/ 97631 w 301649"/>
                <a:gd name="connsiteY7" fmla="*/ 4007 h 194507"/>
                <a:gd name="connsiteX8" fmla="*/ 214313 w 301649"/>
                <a:gd name="connsiteY8" fmla="*/ 44488 h 194507"/>
                <a:gd name="connsiteX9" fmla="*/ 300038 w 301649"/>
                <a:gd name="connsiteY9" fmla="*/ 194507 h 194507"/>
                <a:gd name="connsiteX0" fmla="*/ 300038 w 301649"/>
                <a:gd name="connsiteY0" fmla="*/ 195665 h 195665"/>
                <a:gd name="connsiteX1" fmla="*/ 271463 w 301649"/>
                <a:gd name="connsiteY1" fmla="*/ 121846 h 195665"/>
                <a:gd name="connsiteX2" fmla="*/ 195263 w 301649"/>
                <a:gd name="connsiteY2" fmla="*/ 112321 h 195665"/>
                <a:gd name="connsiteX3" fmla="*/ 52388 w 301649"/>
                <a:gd name="connsiteY3" fmla="*/ 105177 h 195665"/>
                <a:gd name="connsiteX4" fmla="*/ 21431 w 301649"/>
                <a:gd name="connsiteY4" fmla="*/ 124227 h 195665"/>
                <a:gd name="connsiteX5" fmla="*/ 23813 w 301649"/>
                <a:gd name="connsiteY5" fmla="*/ 169471 h 195665"/>
                <a:gd name="connsiteX6" fmla="*/ 0 w 301649"/>
                <a:gd name="connsiteY6" fmla="*/ 176615 h 195665"/>
                <a:gd name="connsiteX7" fmla="*/ 97631 w 301649"/>
                <a:gd name="connsiteY7" fmla="*/ 5165 h 195665"/>
                <a:gd name="connsiteX8" fmla="*/ 214313 w 301649"/>
                <a:gd name="connsiteY8" fmla="*/ 45646 h 195665"/>
                <a:gd name="connsiteX9" fmla="*/ 300038 w 301649"/>
                <a:gd name="connsiteY9" fmla="*/ 195665 h 195665"/>
                <a:gd name="connsiteX0" fmla="*/ 300038 w 301649"/>
                <a:gd name="connsiteY0" fmla="*/ 195665 h 195665"/>
                <a:gd name="connsiteX1" fmla="*/ 271463 w 301649"/>
                <a:gd name="connsiteY1" fmla="*/ 121846 h 195665"/>
                <a:gd name="connsiteX2" fmla="*/ 195263 w 301649"/>
                <a:gd name="connsiteY2" fmla="*/ 112321 h 195665"/>
                <a:gd name="connsiteX3" fmla="*/ 52388 w 301649"/>
                <a:gd name="connsiteY3" fmla="*/ 105177 h 195665"/>
                <a:gd name="connsiteX4" fmla="*/ 45243 w 301649"/>
                <a:gd name="connsiteY4" fmla="*/ 150420 h 195665"/>
                <a:gd name="connsiteX5" fmla="*/ 23813 w 301649"/>
                <a:gd name="connsiteY5" fmla="*/ 169471 h 195665"/>
                <a:gd name="connsiteX6" fmla="*/ 0 w 301649"/>
                <a:gd name="connsiteY6" fmla="*/ 176615 h 195665"/>
                <a:gd name="connsiteX7" fmla="*/ 97631 w 301649"/>
                <a:gd name="connsiteY7" fmla="*/ 5165 h 195665"/>
                <a:gd name="connsiteX8" fmla="*/ 214313 w 301649"/>
                <a:gd name="connsiteY8" fmla="*/ 45646 h 195665"/>
                <a:gd name="connsiteX9" fmla="*/ 300038 w 301649"/>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5688 w 302094"/>
                <a:gd name="connsiteY4" fmla="*/ 150420 h 195665"/>
                <a:gd name="connsiteX5" fmla="*/ 24258 w 302094"/>
                <a:gd name="connsiteY5" fmla="*/ 169471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5688 w 302094"/>
                <a:gd name="connsiteY4" fmla="*/ 150420 h 195665"/>
                <a:gd name="connsiteX5" fmla="*/ 21877 w 302094"/>
                <a:gd name="connsiteY5" fmla="*/ 131371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3307 w 302094"/>
                <a:gd name="connsiteY4" fmla="*/ 126608 h 195665"/>
                <a:gd name="connsiteX5" fmla="*/ 21877 w 302094"/>
                <a:gd name="connsiteY5" fmla="*/ 131371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3307 w 302094"/>
                <a:gd name="connsiteY4" fmla="*/ 126608 h 195665"/>
                <a:gd name="connsiteX5" fmla="*/ 12352 w 302094"/>
                <a:gd name="connsiteY5" fmla="*/ 171852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3307 w 302094"/>
                <a:gd name="connsiteY4" fmla="*/ 126608 h 195665"/>
                <a:gd name="connsiteX5" fmla="*/ 12352 w 302094"/>
                <a:gd name="connsiteY5" fmla="*/ 171852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3307 w 302094"/>
                <a:gd name="connsiteY4" fmla="*/ 126608 h 195665"/>
                <a:gd name="connsiteX5" fmla="*/ 12352 w 302094"/>
                <a:gd name="connsiteY5" fmla="*/ 171852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3307 w 302094"/>
                <a:gd name="connsiteY4" fmla="*/ 126608 h 195665"/>
                <a:gd name="connsiteX5" fmla="*/ 12352 w 302094"/>
                <a:gd name="connsiteY5" fmla="*/ 171852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3307 w 302094"/>
                <a:gd name="connsiteY4" fmla="*/ 126608 h 195665"/>
                <a:gd name="connsiteX5" fmla="*/ 12352 w 302094"/>
                <a:gd name="connsiteY5" fmla="*/ 171852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1906"/>
                <a:gd name="connsiteY0" fmla="*/ 195665 h 195665"/>
                <a:gd name="connsiteX1" fmla="*/ 271908 w 301906"/>
                <a:gd name="connsiteY1" fmla="*/ 121846 h 195665"/>
                <a:gd name="connsiteX2" fmla="*/ 195708 w 301906"/>
                <a:gd name="connsiteY2" fmla="*/ 112321 h 195665"/>
                <a:gd name="connsiteX3" fmla="*/ 52833 w 301906"/>
                <a:gd name="connsiteY3" fmla="*/ 105177 h 195665"/>
                <a:gd name="connsiteX4" fmla="*/ 43307 w 301906"/>
                <a:gd name="connsiteY4" fmla="*/ 126608 h 195665"/>
                <a:gd name="connsiteX5" fmla="*/ 12352 w 301906"/>
                <a:gd name="connsiteY5" fmla="*/ 171852 h 195665"/>
                <a:gd name="connsiteX6" fmla="*/ 445 w 301906"/>
                <a:gd name="connsiteY6" fmla="*/ 176615 h 195665"/>
                <a:gd name="connsiteX7" fmla="*/ 98076 w 301906"/>
                <a:gd name="connsiteY7" fmla="*/ 5165 h 195665"/>
                <a:gd name="connsiteX8" fmla="*/ 214758 w 301906"/>
                <a:gd name="connsiteY8" fmla="*/ 45646 h 195665"/>
                <a:gd name="connsiteX9" fmla="*/ 300483 w 301906"/>
                <a:gd name="connsiteY9" fmla="*/ 195665 h 195665"/>
                <a:gd name="connsiteX0" fmla="*/ 300483 w 301906"/>
                <a:gd name="connsiteY0" fmla="*/ 195665 h 195665"/>
                <a:gd name="connsiteX1" fmla="*/ 271908 w 301906"/>
                <a:gd name="connsiteY1" fmla="*/ 121846 h 195665"/>
                <a:gd name="connsiteX2" fmla="*/ 195708 w 301906"/>
                <a:gd name="connsiteY2" fmla="*/ 112321 h 195665"/>
                <a:gd name="connsiteX3" fmla="*/ 52833 w 301906"/>
                <a:gd name="connsiteY3" fmla="*/ 105177 h 195665"/>
                <a:gd name="connsiteX4" fmla="*/ 43307 w 301906"/>
                <a:gd name="connsiteY4" fmla="*/ 126608 h 195665"/>
                <a:gd name="connsiteX5" fmla="*/ 12352 w 301906"/>
                <a:gd name="connsiteY5" fmla="*/ 171852 h 195665"/>
                <a:gd name="connsiteX6" fmla="*/ 445 w 301906"/>
                <a:gd name="connsiteY6" fmla="*/ 176615 h 195665"/>
                <a:gd name="connsiteX7" fmla="*/ 98076 w 301906"/>
                <a:gd name="connsiteY7" fmla="*/ 5165 h 195665"/>
                <a:gd name="connsiteX8" fmla="*/ 214758 w 301906"/>
                <a:gd name="connsiteY8" fmla="*/ 45646 h 195665"/>
                <a:gd name="connsiteX9" fmla="*/ 300483 w 301906"/>
                <a:gd name="connsiteY9" fmla="*/ 195665 h 195665"/>
                <a:gd name="connsiteX0" fmla="*/ 300157 w 305426"/>
                <a:gd name="connsiteY0" fmla="*/ 207197 h 207197"/>
                <a:gd name="connsiteX1" fmla="*/ 271582 w 305426"/>
                <a:gd name="connsiteY1" fmla="*/ 133378 h 207197"/>
                <a:gd name="connsiteX2" fmla="*/ 195382 w 305426"/>
                <a:gd name="connsiteY2" fmla="*/ 123853 h 207197"/>
                <a:gd name="connsiteX3" fmla="*/ 52507 w 305426"/>
                <a:gd name="connsiteY3" fmla="*/ 116709 h 207197"/>
                <a:gd name="connsiteX4" fmla="*/ 42981 w 305426"/>
                <a:gd name="connsiteY4" fmla="*/ 138140 h 207197"/>
                <a:gd name="connsiteX5" fmla="*/ 12026 w 305426"/>
                <a:gd name="connsiteY5" fmla="*/ 183384 h 207197"/>
                <a:gd name="connsiteX6" fmla="*/ 119 w 305426"/>
                <a:gd name="connsiteY6" fmla="*/ 188147 h 207197"/>
                <a:gd name="connsiteX7" fmla="*/ 97750 w 305426"/>
                <a:gd name="connsiteY7" fmla="*/ 16697 h 207197"/>
                <a:gd name="connsiteX8" fmla="*/ 236657 w 305426"/>
                <a:gd name="connsiteY8" fmla="*/ 25428 h 207197"/>
                <a:gd name="connsiteX9" fmla="*/ 300157 w 305426"/>
                <a:gd name="connsiteY9" fmla="*/ 207197 h 207197"/>
                <a:gd name="connsiteX0" fmla="*/ 301589 w 306858"/>
                <a:gd name="connsiteY0" fmla="*/ 228594 h 228594"/>
                <a:gd name="connsiteX1" fmla="*/ 273014 w 306858"/>
                <a:gd name="connsiteY1" fmla="*/ 154775 h 228594"/>
                <a:gd name="connsiteX2" fmla="*/ 196814 w 306858"/>
                <a:gd name="connsiteY2" fmla="*/ 145250 h 228594"/>
                <a:gd name="connsiteX3" fmla="*/ 53939 w 306858"/>
                <a:gd name="connsiteY3" fmla="*/ 138106 h 228594"/>
                <a:gd name="connsiteX4" fmla="*/ 44413 w 306858"/>
                <a:gd name="connsiteY4" fmla="*/ 159537 h 228594"/>
                <a:gd name="connsiteX5" fmla="*/ 13458 w 306858"/>
                <a:gd name="connsiteY5" fmla="*/ 204781 h 228594"/>
                <a:gd name="connsiteX6" fmla="*/ 1551 w 306858"/>
                <a:gd name="connsiteY6" fmla="*/ 209544 h 228594"/>
                <a:gd name="connsiteX7" fmla="*/ 35682 w 306858"/>
                <a:gd name="connsiteY7" fmla="*/ 9519 h 228594"/>
                <a:gd name="connsiteX8" fmla="*/ 238089 w 306858"/>
                <a:gd name="connsiteY8" fmla="*/ 46825 h 228594"/>
                <a:gd name="connsiteX9" fmla="*/ 301589 w 306858"/>
                <a:gd name="connsiteY9" fmla="*/ 228594 h 228594"/>
                <a:gd name="connsiteX0" fmla="*/ 309678 w 314947"/>
                <a:gd name="connsiteY0" fmla="*/ 254831 h 254831"/>
                <a:gd name="connsiteX1" fmla="*/ 281103 w 314947"/>
                <a:gd name="connsiteY1" fmla="*/ 181012 h 254831"/>
                <a:gd name="connsiteX2" fmla="*/ 204903 w 314947"/>
                <a:gd name="connsiteY2" fmla="*/ 171487 h 254831"/>
                <a:gd name="connsiteX3" fmla="*/ 62028 w 314947"/>
                <a:gd name="connsiteY3" fmla="*/ 164343 h 254831"/>
                <a:gd name="connsiteX4" fmla="*/ 52502 w 314947"/>
                <a:gd name="connsiteY4" fmla="*/ 185774 h 254831"/>
                <a:gd name="connsiteX5" fmla="*/ 21547 w 314947"/>
                <a:gd name="connsiteY5" fmla="*/ 231018 h 254831"/>
                <a:gd name="connsiteX6" fmla="*/ 9640 w 314947"/>
                <a:gd name="connsiteY6" fmla="*/ 235781 h 254831"/>
                <a:gd name="connsiteX7" fmla="*/ 43771 w 314947"/>
                <a:gd name="connsiteY7" fmla="*/ 35756 h 254831"/>
                <a:gd name="connsiteX8" fmla="*/ 246178 w 314947"/>
                <a:gd name="connsiteY8" fmla="*/ 73062 h 254831"/>
                <a:gd name="connsiteX9" fmla="*/ 309678 w 314947"/>
                <a:gd name="connsiteY9" fmla="*/ 254831 h 254831"/>
                <a:gd name="connsiteX0" fmla="*/ 322378 w 324871"/>
                <a:gd name="connsiteY0" fmla="*/ 280231 h 280231"/>
                <a:gd name="connsiteX1" fmla="*/ 281103 w 324871"/>
                <a:gd name="connsiteY1" fmla="*/ 181012 h 280231"/>
                <a:gd name="connsiteX2" fmla="*/ 204903 w 324871"/>
                <a:gd name="connsiteY2" fmla="*/ 171487 h 280231"/>
                <a:gd name="connsiteX3" fmla="*/ 62028 w 324871"/>
                <a:gd name="connsiteY3" fmla="*/ 164343 h 280231"/>
                <a:gd name="connsiteX4" fmla="*/ 52502 w 324871"/>
                <a:gd name="connsiteY4" fmla="*/ 185774 h 280231"/>
                <a:gd name="connsiteX5" fmla="*/ 21547 w 324871"/>
                <a:gd name="connsiteY5" fmla="*/ 231018 h 280231"/>
                <a:gd name="connsiteX6" fmla="*/ 9640 w 324871"/>
                <a:gd name="connsiteY6" fmla="*/ 235781 h 280231"/>
                <a:gd name="connsiteX7" fmla="*/ 43771 w 324871"/>
                <a:gd name="connsiteY7" fmla="*/ 35756 h 280231"/>
                <a:gd name="connsiteX8" fmla="*/ 246178 w 324871"/>
                <a:gd name="connsiteY8" fmla="*/ 73062 h 280231"/>
                <a:gd name="connsiteX9" fmla="*/ 322378 w 324871"/>
                <a:gd name="connsiteY9" fmla="*/ 280231 h 280231"/>
                <a:gd name="connsiteX0" fmla="*/ 322378 w 335881"/>
                <a:gd name="connsiteY0" fmla="*/ 280231 h 280231"/>
                <a:gd name="connsiteX1" fmla="*/ 281103 w 335881"/>
                <a:gd name="connsiteY1" fmla="*/ 181012 h 280231"/>
                <a:gd name="connsiteX2" fmla="*/ 204903 w 335881"/>
                <a:gd name="connsiteY2" fmla="*/ 171487 h 280231"/>
                <a:gd name="connsiteX3" fmla="*/ 62028 w 335881"/>
                <a:gd name="connsiteY3" fmla="*/ 164343 h 280231"/>
                <a:gd name="connsiteX4" fmla="*/ 52502 w 335881"/>
                <a:gd name="connsiteY4" fmla="*/ 185774 h 280231"/>
                <a:gd name="connsiteX5" fmla="*/ 21547 w 335881"/>
                <a:gd name="connsiteY5" fmla="*/ 231018 h 280231"/>
                <a:gd name="connsiteX6" fmla="*/ 9640 w 335881"/>
                <a:gd name="connsiteY6" fmla="*/ 235781 h 280231"/>
                <a:gd name="connsiteX7" fmla="*/ 43771 w 335881"/>
                <a:gd name="connsiteY7" fmla="*/ 35756 h 280231"/>
                <a:gd name="connsiteX8" fmla="*/ 246178 w 335881"/>
                <a:gd name="connsiteY8" fmla="*/ 73062 h 280231"/>
                <a:gd name="connsiteX9" fmla="*/ 322378 w 335881"/>
                <a:gd name="connsiteY9" fmla="*/ 280231 h 280231"/>
                <a:gd name="connsiteX0" fmla="*/ 320006 w 333509"/>
                <a:gd name="connsiteY0" fmla="*/ 256912 h 256912"/>
                <a:gd name="connsiteX1" fmla="*/ 278731 w 333509"/>
                <a:gd name="connsiteY1" fmla="*/ 157693 h 256912"/>
                <a:gd name="connsiteX2" fmla="*/ 202531 w 333509"/>
                <a:gd name="connsiteY2" fmla="*/ 148168 h 256912"/>
                <a:gd name="connsiteX3" fmla="*/ 59656 w 333509"/>
                <a:gd name="connsiteY3" fmla="*/ 141024 h 256912"/>
                <a:gd name="connsiteX4" fmla="*/ 50130 w 333509"/>
                <a:gd name="connsiteY4" fmla="*/ 162455 h 256912"/>
                <a:gd name="connsiteX5" fmla="*/ 19175 w 333509"/>
                <a:gd name="connsiteY5" fmla="*/ 207699 h 256912"/>
                <a:gd name="connsiteX6" fmla="*/ 918 w 333509"/>
                <a:gd name="connsiteY6" fmla="*/ 253737 h 256912"/>
                <a:gd name="connsiteX7" fmla="*/ 41399 w 333509"/>
                <a:gd name="connsiteY7" fmla="*/ 12437 h 256912"/>
                <a:gd name="connsiteX8" fmla="*/ 243806 w 333509"/>
                <a:gd name="connsiteY8" fmla="*/ 49743 h 256912"/>
                <a:gd name="connsiteX9" fmla="*/ 320006 w 333509"/>
                <a:gd name="connsiteY9" fmla="*/ 256912 h 256912"/>
                <a:gd name="connsiteX0" fmla="*/ 340397 w 353900"/>
                <a:gd name="connsiteY0" fmla="*/ 256912 h 256912"/>
                <a:gd name="connsiteX1" fmla="*/ 299122 w 353900"/>
                <a:gd name="connsiteY1" fmla="*/ 157693 h 256912"/>
                <a:gd name="connsiteX2" fmla="*/ 222922 w 353900"/>
                <a:gd name="connsiteY2" fmla="*/ 148168 h 256912"/>
                <a:gd name="connsiteX3" fmla="*/ 80047 w 353900"/>
                <a:gd name="connsiteY3" fmla="*/ 141024 h 256912"/>
                <a:gd name="connsiteX4" fmla="*/ 70521 w 353900"/>
                <a:gd name="connsiteY4" fmla="*/ 162455 h 256912"/>
                <a:gd name="connsiteX5" fmla="*/ 39566 w 353900"/>
                <a:gd name="connsiteY5" fmla="*/ 207699 h 256912"/>
                <a:gd name="connsiteX6" fmla="*/ 21309 w 353900"/>
                <a:gd name="connsiteY6" fmla="*/ 253737 h 256912"/>
                <a:gd name="connsiteX7" fmla="*/ 61790 w 353900"/>
                <a:gd name="connsiteY7" fmla="*/ 12437 h 256912"/>
                <a:gd name="connsiteX8" fmla="*/ 264197 w 353900"/>
                <a:gd name="connsiteY8" fmla="*/ 49743 h 256912"/>
                <a:gd name="connsiteX9" fmla="*/ 340397 w 353900"/>
                <a:gd name="connsiteY9" fmla="*/ 256912 h 256912"/>
                <a:gd name="connsiteX0" fmla="*/ 351275 w 364778"/>
                <a:gd name="connsiteY0" fmla="*/ 283264 h 283264"/>
                <a:gd name="connsiteX1" fmla="*/ 310000 w 364778"/>
                <a:gd name="connsiteY1" fmla="*/ 184045 h 283264"/>
                <a:gd name="connsiteX2" fmla="*/ 233800 w 364778"/>
                <a:gd name="connsiteY2" fmla="*/ 174520 h 283264"/>
                <a:gd name="connsiteX3" fmla="*/ 90925 w 364778"/>
                <a:gd name="connsiteY3" fmla="*/ 167376 h 283264"/>
                <a:gd name="connsiteX4" fmla="*/ 81399 w 364778"/>
                <a:gd name="connsiteY4" fmla="*/ 188807 h 283264"/>
                <a:gd name="connsiteX5" fmla="*/ 50444 w 364778"/>
                <a:gd name="connsiteY5" fmla="*/ 234051 h 283264"/>
                <a:gd name="connsiteX6" fmla="*/ 32187 w 364778"/>
                <a:gd name="connsiteY6" fmla="*/ 280089 h 283264"/>
                <a:gd name="connsiteX7" fmla="*/ 72668 w 364778"/>
                <a:gd name="connsiteY7" fmla="*/ 38789 h 283264"/>
                <a:gd name="connsiteX8" fmla="*/ 275075 w 364778"/>
                <a:gd name="connsiteY8" fmla="*/ 76095 h 283264"/>
                <a:gd name="connsiteX9" fmla="*/ 351275 w 364778"/>
                <a:gd name="connsiteY9" fmla="*/ 283264 h 283264"/>
                <a:gd name="connsiteX0" fmla="*/ 351275 w 374648"/>
                <a:gd name="connsiteY0" fmla="*/ 286181 h 286181"/>
                <a:gd name="connsiteX1" fmla="*/ 310000 w 374648"/>
                <a:gd name="connsiteY1" fmla="*/ 186962 h 286181"/>
                <a:gd name="connsiteX2" fmla="*/ 233800 w 374648"/>
                <a:gd name="connsiteY2" fmla="*/ 177437 h 286181"/>
                <a:gd name="connsiteX3" fmla="*/ 90925 w 374648"/>
                <a:gd name="connsiteY3" fmla="*/ 170293 h 286181"/>
                <a:gd name="connsiteX4" fmla="*/ 81399 w 374648"/>
                <a:gd name="connsiteY4" fmla="*/ 191724 h 286181"/>
                <a:gd name="connsiteX5" fmla="*/ 50444 w 374648"/>
                <a:gd name="connsiteY5" fmla="*/ 236968 h 286181"/>
                <a:gd name="connsiteX6" fmla="*/ 32187 w 374648"/>
                <a:gd name="connsiteY6" fmla="*/ 283006 h 286181"/>
                <a:gd name="connsiteX7" fmla="*/ 72668 w 374648"/>
                <a:gd name="connsiteY7" fmla="*/ 41706 h 286181"/>
                <a:gd name="connsiteX8" fmla="*/ 307978 w 374648"/>
                <a:gd name="connsiteY8" fmla="*/ 66435 h 286181"/>
                <a:gd name="connsiteX9" fmla="*/ 351275 w 374648"/>
                <a:gd name="connsiteY9" fmla="*/ 286181 h 286181"/>
                <a:gd name="connsiteX0" fmla="*/ 351275 w 366478"/>
                <a:gd name="connsiteY0" fmla="*/ 289222 h 289222"/>
                <a:gd name="connsiteX1" fmla="*/ 310000 w 366478"/>
                <a:gd name="connsiteY1" fmla="*/ 190003 h 289222"/>
                <a:gd name="connsiteX2" fmla="*/ 233800 w 366478"/>
                <a:gd name="connsiteY2" fmla="*/ 180478 h 289222"/>
                <a:gd name="connsiteX3" fmla="*/ 90925 w 366478"/>
                <a:gd name="connsiteY3" fmla="*/ 173334 h 289222"/>
                <a:gd name="connsiteX4" fmla="*/ 81399 w 366478"/>
                <a:gd name="connsiteY4" fmla="*/ 194765 h 289222"/>
                <a:gd name="connsiteX5" fmla="*/ 50444 w 366478"/>
                <a:gd name="connsiteY5" fmla="*/ 240009 h 289222"/>
                <a:gd name="connsiteX6" fmla="*/ 32187 w 366478"/>
                <a:gd name="connsiteY6" fmla="*/ 286047 h 289222"/>
                <a:gd name="connsiteX7" fmla="*/ 72668 w 366478"/>
                <a:gd name="connsiteY7" fmla="*/ 44747 h 289222"/>
                <a:gd name="connsiteX8" fmla="*/ 282618 w 366478"/>
                <a:gd name="connsiteY8" fmla="*/ 57997 h 289222"/>
                <a:gd name="connsiteX9" fmla="*/ 351275 w 366478"/>
                <a:gd name="connsiteY9" fmla="*/ 289222 h 289222"/>
                <a:gd name="connsiteX0" fmla="*/ 351275 w 362099"/>
                <a:gd name="connsiteY0" fmla="*/ 289222 h 289222"/>
                <a:gd name="connsiteX1" fmla="*/ 310000 w 362099"/>
                <a:gd name="connsiteY1" fmla="*/ 190003 h 289222"/>
                <a:gd name="connsiteX2" fmla="*/ 233800 w 362099"/>
                <a:gd name="connsiteY2" fmla="*/ 180478 h 289222"/>
                <a:gd name="connsiteX3" fmla="*/ 90925 w 362099"/>
                <a:gd name="connsiteY3" fmla="*/ 173334 h 289222"/>
                <a:gd name="connsiteX4" fmla="*/ 81399 w 362099"/>
                <a:gd name="connsiteY4" fmla="*/ 194765 h 289222"/>
                <a:gd name="connsiteX5" fmla="*/ 50444 w 362099"/>
                <a:gd name="connsiteY5" fmla="*/ 240009 h 289222"/>
                <a:gd name="connsiteX6" fmla="*/ 32187 w 362099"/>
                <a:gd name="connsiteY6" fmla="*/ 286047 h 289222"/>
                <a:gd name="connsiteX7" fmla="*/ 72668 w 362099"/>
                <a:gd name="connsiteY7" fmla="*/ 44747 h 289222"/>
                <a:gd name="connsiteX8" fmla="*/ 282618 w 362099"/>
                <a:gd name="connsiteY8" fmla="*/ 57997 h 289222"/>
                <a:gd name="connsiteX9" fmla="*/ 351275 w 362099"/>
                <a:gd name="connsiteY9" fmla="*/ 289222 h 289222"/>
                <a:gd name="connsiteX0" fmla="*/ 351275 w 362099"/>
                <a:gd name="connsiteY0" fmla="*/ 293611 h 293611"/>
                <a:gd name="connsiteX1" fmla="*/ 310000 w 362099"/>
                <a:gd name="connsiteY1" fmla="*/ 194392 h 293611"/>
                <a:gd name="connsiteX2" fmla="*/ 233800 w 362099"/>
                <a:gd name="connsiteY2" fmla="*/ 184867 h 293611"/>
                <a:gd name="connsiteX3" fmla="*/ 90925 w 362099"/>
                <a:gd name="connsiteY3" fmla="*/ 177723 h 293611"/>
                <a:gd name="connsiteX4" fmla="*/ 81399 w 362099"/>
                <a:gd name="connsiteY4" fmla="*/ 199154 h 293611"/>
                <a:gd name="connsiteX5" fmla="*/ 50444 w 362099"/>
                <a:gd name="connsiteY5" fmla="*/ 244398 h 293611"/>
                <a:gd name="connsiteX6" fmla="*/ 32187 w 362099"/>
                <a:gd name="connsiteY6" fmla="*/ 290436 h 293611"/>
                <a:gd name="connsiteX7" fmla="*/ 72668 w 362099"/>
                <a:gd name="connsiteY7" fmla="*/ 49136 h 293611"/>
                <a:gd name="connsiteX8" fmla="*/ 282618 w 362099"/>
                <a:gd name="connsiteY8" fmla="*/ 62386 h 293611"/>
                <a:gd name="connsiteX9" fmla="*/ 351275 w 362099"/>
                <a:gd name="connsiteY9" fmla="*/ 293611 h 293611"/>
                <a:gd name="connsiteX0" fmla="*/ 351275 w 369395"/>
                <a:gd name="connsiteY0" fmla="*/ 299808 h 299808"/>
                <a:gd name="connsiteX1" fmla="*/ 310000 w 369395"/>
                <a:gd name="connsiteY1" fmla="*/ 200589 h 299808"/>
                <a:gd name="connsiteX2" fmla="*/ 233800 w 369395"/>
                <a:gd name="connsiteY2" fmla="*/ 191064 h 299808"/>
                <a:gd name="connsiteX3" fmla="*/ 90925 w 369395"/>
                <a:gd name="connsiteY3" fmla="*/ 183920 h 299808"/>
                <a:gd name="connsiteX4" fmla="*/ 81399 w 369395"/>
                <a:gd name="connsiteY4" fmla="*/ 205351 h 299808"/>
                <a:gd name="connsiteX5" fmla="*/ 50444 w 369395"/>
                <a:gd name="connsiteY5" fmla="*/ 250595 h 299808"/>
                <a:gd name="connsiteX6" fmla="*/ 32187 w 369395"/>
                <a:gd name="connsiteY6" fmla="*/ 296633 h 299808"/>
                <a:gd name="connsiteX7" fmla="*/ 72668 w 369395"/>
                <a:gd name="connsiteY7" fmla="*/ 55333 h 299808"/>
                <a:gd name="connsiteX8" fmla="*/ 314316 w 369395"/>
                <a:gd name="connsiteY8" fmla="*/ 51363 h 299808"/>
                <a:gd name="connsiteX9" fmla="*/ 351275 w 369395"/>
                <a:gd name="connsiteY9" fmla="*/ 299808 h 299808"/>
                <a:gd name="connsiteX0" fmla="*/ 351275 w 369395"/>
                <a:gd name="connsiteY0" fmla="*/ 296292 h 296292"/>
                <a:gd name="connsiteX1" fmla="*/ 310000 w 369395"/>
                <a:gd name="connsiteY1" fmla="*/ 197073 h 296292"/>
                <a:gd name="connsiteX2" fmla="*/ 233800 w 369395"/>
                <a:gd name="connsiteY2" fmla="*/ 187548 h 296292"/>
                <a:gd name="connsiteX3" fmla="*/ 90925 w 369395"/>
                <a:gd name="connsiteY3" fmla="*/ 180404 h 296292"/>
                <a:gd name="connsiteX4" fmla="*/ 81399 w 369395"/>
                <a:gd name="connsiteY4" fmla="*/ 201835 h 296292"/>
                <a:gd name="connsiteX5" fmla="*/ 50444 w 369395"/>
                <a:gd name="connsiteY5" fmla="*/ 247079 h 296292"/>
                <a:gd name="connsiteX6" fmla="*/ 32187 w 369395"/>
                <a:gd name="connsiteY6" fmla="*/ 293117 h 296292"/>
                <a:gd name="connsiteX7" fmla="*/ 72668 w 369395"/>
                <a:gd name="connsiteY7" fmla="*/ 51817 h 296292"/>
                <a:gd name="connsiteX8" fmla="*/ 314316 w 369395"/>
                <a:gd name="connsiteY8" fmla="*/ 47847 h 296292"/>
                <a:gd name="connsiteX9" fmla="*/ 351275 w 369395"/>
                <a:gd name="connsiteY9" fmla="*/ 296292 h 296292"/>
                <a:gd name="connsiteX0" fmla="*/ 351275 w 364876"/>
                <a:gd name="connsiteY0" fmla="*/ 296292 h 296292"/>
                <a:gd name="connsiteX1" fmla="*/ 310000 w 364876"/>
                <a:gd name="connsiteY1" fmla="*/ 197073 h 296292"/>
                <a:gd name="connsiteX2" fmla="*/ 233800 w 364876"/>
                <a:gd name="connsiteY2" fmla="*/ 187548 h 296292"/>
                <a:gd name="connsiteX3" fmla="*/ 90925 w 364876"/>
                <a:gd name="connsiteY3" fmla="*/ 180404 h 296292"/>
                <a:gd name="connsiteX4" fmla="*/ 81399 w 364876"/>
                <a:gd name="connsiteY4" fmla="*/ 201835 h 296292"/>
                <a:gd name="connsiteX5" fmla="*/ 50444 w 364876"/>
                <a:gd name="connsiteY5" fmla="*/ 247079 h 296292"/>
                <a:gd name="connsiteX6" fmla="*/ 32187 w 364876"/>
                <a:gd name="connsiteY6" fmla="*/ 293117 h 296292"/>
                <a:gd name="connsiteX7" fmla="*/ 72668 w 364876"/>
                <a:gd name="connsiteY7" fmla="*/ 51817 h 296292"/>
                <a:gd name="connsiteX8" fmla="*/ 314316 w 364876"/>
                <a:gd name="connsiteY8" fmla="*/ 47847 h 296292"/>
                <a:gd name="connsiteX9" fmla="*/ 351275 w 364876"/>
                <a:gd name="connsiteY9" fmla="*/ 296292 h 296292"/>
                <a:gd name="connsiteX0" fmla="*/ 351275 w 364876"/>
                <a:gd name="connsiteY0" fmla="*/ 296292 h 296292"/>
                <a:gd name="connsiteX1" fmla="*/ 310000 w 364876"/>
                <a:gd name="connsiteY1" fmla="*/ 197073 h 296292"/>
                <a:gd name="connsiteX2" fmla="*/ 233800 w 364876"/>
                <a:gd name="connsiteY2" fmla="*/ 187548 h 296292"/>
                <a:gd name="connsiteX3" fmla="*/ 90925 w 364876"/>
                <a:gd name="connsiteY3" fmla="*/ 180404 h 296292"/>
                <a:gd name="connsiteX4" fmla="*/ 81399 w 364876"/>
                <a:gd name="connsiteY4" fmla="*/ 201835 h 296292"/>
                <a:gd name="connsiteX5" fmla="*/ 50444 w 364876"/>
                <a:gd name="connsiteY5" fmla="*/ 247079 h 296292"/>
                <a:gd name="connsiteX6" fmla="*/ 32187 w 364876"/>
                <a:gd name="connsiteY6" fmla="*/ 293117 h 296292"/>
                <a:gd name="connsiteX7" fmla="*/ 72668 w 364876"/>
                <a:gd name="connsiteY7" fmla="*/ 51817 h 296292"/>
                <a:gd name="connsiteX8" fmla="*/ 314316 w 364876"/>
                <a:gd name="connsiteY8" fmla="*/ 47847 h 296292"/>
                <a:gd name="connsiteX9" fmla="*/ 351275 w 364876"/>
                <a:gd name="connsiteY9" fmla="*/ 296292 h 296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4876" h="296292">
                  <a:moveTo>
                    <a:pt x="351275" y="296292"/>
                  </a:moveTo>
                  <a:cubicBezTo>
                    <a:pt x="282218" y="259780"/>
                    <a:pt x="319525" y="221679"/>
                    <a:pt x="310000" y="197073"/>
                  </a:cubicBezTo>
                  <a:cubicBezTo>
                    <a:pt x="284600" y="205805"/>
                    <a:pt x="259200" y="190723"/>
                    <a:pt x="233800" y="187548"/>
                  </a:cubicBezTo>
                  <a:cubicBezTo>
                    <a:pt x="155219" y="213742"/>
                    <a:pt x="124262" y="199454"/>
                    <a:pt x="90925" y="180404"/>
                  </a:cubicBezTo>
                  <a:lnTo>
                    <a:pt x="81399" y="201835"/>
                  </a:lnTo>
                  <a:cubicBezTo>
                    <a:pt x="71081" y="216916"/>
                    <a:pt x="70287" y="253430"/>
                    <a:pt x="50444" y="247079"/>
                  </a:cubicBezTo>
                  <a:lnTo>
                    <a:pt x="32187" y="293117"/>
                  </a:lnTo>
                  <a:cubicBezTo>
                    <a:pt x="-18613" y="199454"/>
                    <a:pt x="-12263" y="146141"/>
                    <a:pt x="72668" y="51817"/>
                  </a:cubicBezTo>
                  <a:cubicBezTo>
                    <a:pt x="157599" y="-42507"/>
                    <a:pt x="265958" y="14324"/>
                    <a:pt x="314316" y="47847"/>
                  </a:cubicBezTo>
                  <a:cubicBezTo>
                    <a:pt x="358046" y="96698"/>
                    <a:pt x="381438" y="266130"/>
                    <a:pt x="351275" y="296292"/>
                  </a:cubicBezTo>
                  <a:close/>
                </a:path>
              </a:pathLst>
            </a:custGeom>
            <a:solidFill>
              <a:schemeClr val="accent3"/>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00" name="Freeform 199"/>
            <p:cNvSpPr/>
            <p:nvPr/>
          </p:nvSpPr>
          <p:spPr bwMode="auto">
            <a:xfrm>
              <a:off x="9757348" y="4627289"/>
              <a:ext cx="513108" cy="609581"/>
            </a:xfrm>
            <a:custGeom>
              <a:avLst/>
              <a:gdLst>
                <a:gd name="connsiteX0" fmla="*/ 336550 w 825500"/>
                <a:gd name="connsiteY0" fmla="*/ 0 h 815975"/>
                <a:gd name="connsiteX1" fmla="*/ 415925 w 825500"/>
                <a:gd name="connsiteY1" fmla="*/ 574675 h 815975"/>
                <a:gd name="connsiteX2" fmla="*/ 492125 w 825500"/>
                <a:gd name="connsiteY2" fmla="*/ 3175 h 815975"/>
                <a:gd name="connsiteX3" fmla="*/ 676275 w 825500"/>
                <a:gd name="connsiteY3" fmla="*/ 19050 h 815975"/>
                <a:gd name="connsiteX4" fmla="*/ 825500 w 825500"/>
                <a:gd name="connsiteY4" fmla="*/ 654050 h 815975"/>
                <a:gd name="connsiteX5" fmla="*/ 717550 w 825500"/>
                <a:gd name="connsiteY5" fmla="*/ 657225 h 815975"/>
                <a:gd name="connsiteX6" fmla="*/ 676275 w 825500"/>
                <a:gd name="connsiteY6" fmla="*/ 285750 h 815975"/>
                <a:gd name="connsiteX7" fmla="*/ 638175 w 825500"/>
                <a:gd name="connsiteY7" fmla="*/ 815975 h 815975"/>
                <a:gd name="connsiteX8" fmla="*/ 187325 w 825500"/>
                <a:gd name="connsiteY8" fmla="*/ 815975 h 815975"/>
                <a:gd name="connsiteX9" fmla="*/ 171450 w 825500"/>
                <a:gd name="connsiteY9" fmla="*/ 285750 h 815975"/>
                <a:gd name="connsiteX10" fmla="*/ 98425 w 825500"/>
                <a:gd name="connsiteY10" fmla="*/ 657225 h 815975"/>
                <a:gd name="connsiteX11" fmla="*/ 0 w 825500"/>
                <a:gd name="connsiteY11" fmla="*/ 657225 h 815975"/>
                <a:gd name="connsiteX12" fmla="*/ 149225 w 825500"/>
                <a:gd name="connsiteY12" fmla="*/ 28575 h 815975"/>
                <a:gd name="connsiteX13" fmla="*/ 336550 w 825500"/>
                <a:gd name="connsiteY13" fmla="*/ 0 h 815975"/>
                <a:gd name="connsiteX0" fmla="*/ 336550 w 825500"/>
                <a:gd name="connsiteY0" fmla="*/ 0 h 815975"/>
                <a:gd name="connsiteX1" fmla="*/ 415925 w 825500"/>
                <a:gd name="connsiteY1" fmla="*/ 574675 h 815975"/>
                <a:gd name="connsiteX2" fmla="*/ 492125 w 825500"/>
                <a:gd name="connsiteY2" fmla="*/ 3175 h 815975"/>
                <a:gd name="connsiteX3" fmla="*/ 676275 w 825500"/>
                <a:gd name="connsiteY3" fmla="*/ 19050 h 815975"/>
                <a:gd name="connsiteX4" fmla="*/ 825500 w 825500"/>
                <a:gd name="connsiteY4" fmla="*/ 654050 h 815975"/>
                <a:gd name="connsiteX5" fmla="*/ 717550 w 825500"/>
                <a:gd name="connsiteY5" fmla="*/ 657225 h 815975"/>
                <a:gd name="connsiteX6" fmla="*/ 676275 w 825500"/>
                <a:gd name="connsiteY6" fmla="*/ 285750 h 815975"/>
                <a:gd name="connsiteX7" fmla="*/ 638175 w 825500"/>
                <a:gd name="connsiteY7" fmla="*/ 815975 h 815975"/>
                <a:gd name="connsiteX8" fmla="*/ 187325 w 825500"/>
                <a:gd name="connsiteY8" fmla="*/ 815975 h 815975"/>
                <a:gd name="connsiteX9" fmla="*/ 171450 w 825500"/>
                <a:gd name="connsiteY9" fmla="*/ 285750 h 815975"/>
                <a:gd name="connsiteX10" fmla="*/ 98425 w 825500"/>
                <a:gd name="connsiteY10" fmla="*/ 657225 h 815975"/>
                <a:gd name="connsiteX11" fmla="*/ 0 w 825500"/>
                <a:gd name="connsiteY11" fmla="*/ 657225 h 815975"/>
                <a:gd name="connsiteX12" fmla="*/ 149225 w 825500"/>
                <a:gd name="connsiteY12" fmla="*/ 28575 h 815975"/>
                <a:gd name="connsiteX13" fmla="*/ 336550 w 825500"/>
                <a:gd name="connsiteY13" fmla="*/ 0 h 815975"/>
                <a:gd name="connsiteX0" fmla="*/ 336550 w 825500"/>
                <a:gd name="connsiteY0" fmla="*/ 0 h 815975"/>
                <a:gd name="connsiteX1" fmla="*/ 415925 w 825500"/>
                <a:gd name="connsiteY1" fmla="*/ 574675 h 815975"/>
                <a:gd name="connsiteX2" fmla="*/ 492125 w 825500"/>
                <a:gd name="connsiteY2" fmla="*/ 3175 h 815975"/>
                <a:gd name="connsiteX3" fmla="*/ 676275 w 825500"/>
                <a:gd name="connsiteY3" fmla="*/ 19050 h 815975"/>
                <a:gd name="connsiteX4" fmla="*/ 825500 w 825500"/>
                <a:gd name="connsiteY4" fmla="*/ 654050 h 815975"/>
                <a:gd name="connsiteX5" fmla="*/ 717550 w 825500"/>
                <a:gd name="connsiteY5" fmla="*/ 657225 h 815975"/>
                <a:gd name="connsiteX6" fmla="*/ 676275 w 825500"/>
                <a:gd name="connsiteY6" fmla="*/ 285750 h 815975"/>
                <a:gd name="connsiteX7" fmla="*/ 638175 w 825500"/>
                <a:gd name="connsiteY7" fmla="*/ 815975 h 815975"/>
                <a:gd name="connsiteX8" fmla="*/ 187325 w 825500"/>
                <a:gd name="connsiteY8" fmla="*/ 815975 h 815975"/>
                <a:gd name="connsiteX9" fmla="*/ 171450 w 825500"/>
                <a:gd name="connsiteY9" fmla="*/ 285750 h 815975"/>
                <a:gd name="connsiteX10" fmla="*/ 98425 w 825500"/>
                <a:gd name="connsiteY10" fmla="*/ 657225 h 815975"/>
                <a:gd name="connsiteX11" fmla="*/ 0 w 825500"/>
                <a:gd name="connsiteY11" fmla="*/ 657225 h 815975"/>
                <a:gd name="connsiteX12" fmla="*/ 149225 w 825500"/>
                <a:gd name="connsiteY12" fmla="*/ 28575 h 815975"/>
                <a:gd name="connsiteX13" fmla="*/ 336550 w 825500"/>
                <a:gd name="connsiteY13" fmla="*/ 0 h 815975"/>
                <a:gd name="connsiteX0" fmla="*/ 336550 w 825500"/>
                <a:gd name="connsiteY0" fmla="*/ 0 h 815975"/>
                <a:gd name="connsiteX1" fmla="*/ 415925 w 825500"/>
                <a:gd name="connsiteY1" fmla="*/ 574675 h 815975"/>
                <a:gd name="connsiteX2" fmla="*/ 492125 w 825500"/>
                <a:gd name="connsiteY2" fmla="*/ 3175 h 815975"/>
                <a:gd name="connsiteX3" fmla="*/ 676275 w 825500"/>
                <a:gd name="connsiteY3" fmla="*/ 19050 h 815975"/>
                <a:gd name="connsiteX4" fmla="*/ 825500 w 825500"/>
                <a:gd name="connsiteY4" fmla="*/ 654050 h 815975"/>
                <a:gd name="connsiteX5" fmla="*/ 717550 w 825500"/>
                <a:gd name="connsiteY5" fmla="*/ 657225 h 815975"/>
                <a:gd name="connsiteX6" fmla="*/ 676275 w 825500"/>
                <a:gd name="connsiteY6" fmla="*/ 285750 h 815975"/>
                <a:gd name="connsiteX7" fmla="*/ 638175 w 825500"/>
                <a:gd name="connsiteY7" fmla="*/ 815975 h 815975"/>
                <a:gd name="connsiteX8" fmla="*/ 187325 w 825500"/>
                <a:gd name="connsiteY8" fmla="*/ 815975 h 815975"/>
                <a:gd name="connsiteX9" fmla="*/ 171450 w 825500"/>
                <a:gd name="connsiteY9" fmla="*/ 285750 h 815975"/>
                <a:gd name="connsiteX10" fmla="*/ 98425 w 825500"/>
                <a:gd name="connsiteY10" fmla="*/ 657225 h 815975"/>
                <a:gd name="connsiteX11" fmla="*/ 0 w 825500"/>
                <a:gd name="connsiteY11" fmla="*/ 657225 h 815975"/>
                <a:gd name="connsiteX12" fmla="*/ 149225 w 825500"/>
                <a:gd name="connsiteY12" fmla="*/ 28575 h 815975"/>
                <a:gd name="connsiteX13" fmla="*/ 336550 w 825500"/>
                <a:gd name="connsiteY13" fmla="*/ 0 h 815975"/>
                <a:gd name="connsiteX0" fmla="*/ 336550 w 825500"/>
                <a:gd name="connsiteY0" fmla="*/ 0 h 815975"/>
                <a:gd name="connsiteX1" fmla="*/ 415925 w 825500"/>
                <a:gd name="connsiteY1" fmla="*/ 574675 h 815975"/>
                <a:gd name="connsiteX2" fmla="*/ 492125 w 825500"/>
                <a:gd name="connsiteY2" fmla="*/ 3175 h 815975"/>
                <a:gd name="connsiteX3" fmla="*/ 676275 w 825500"/>
                <a:gd name="connsiteY3" fmla="*/ 19050 h 815975"/>
                <a:gd name="connsiteX4" fmla="*/ 825500 w 825500"/>
                <a:gd name="connsiteY4" fmla="*/ 654050 h 815975"/>
                <a:gd name="connsiteX5" fmla="*/ 717550 w 825500"/>
                <a:gd name="connsiteY5" fmla="*/ 657225 h 815975"/>
                <a:gd name="connsiteX6" fmla="*/ 676275 w 825500"/>
                <a:gd name="connsiteY6" fmla="*/ 285750 h 815975"/>
                <a:gd name="connsiteX7" fmla="*/ 638175 w 825500"/>
                <a:gd name="connsiteY7" fmla="*/ 815975 h 815975"/>
                <a:gd name="connsiteX8" fmla="*/ 187325 w 825500"/>
                <a:gd name="connsiteY8" fmla="*/ 815975 h 815975"/>
                <a:gd name="connsiteX9" fmla="*/ 171450 w 825500"/>
                <a:gd name="connsiteY9" fmla="*/ 285750 h 815975"/>
                <a:gd name="connsiteX10" fmla="*/ 98425 w 825500"/>
                <a:gd name="connsiteY10" fmla="*/ 657225 h 815975"/>
                <a:gd name="connsiteX11" fmla="*/ 0 w 825500"/>
                <a:gd name="connsiteY11" fmla="*/ 657225 h 815975"/>
                <a:gd name="connsiteX12" fmla="*/ 149225 w 825500"/>
                <a:gd name="connsiteY12" fmla="*/ 28575 h 815975"/>
                <a:gd name="connsiteX13" fmla="*/ 336550 w 825500"/>
                <a:gd name="connsiteY13" fmla="*/ 0 h 815975"/>
                <a:gd name="connsiteX0" fmla="*/ 336550 w 825500"/>
                <a:gd name="connsiteY0" fmla="*/ 0 h 815975"/>
                <a:gd name="connsiteX1" fmla="*/ 415925 w 825500"/>
                <a:gd name="connsiteY1" fmla="*/ 574675 h 815975"/>
                <a:gd name="connsiteX2" fmla="*/ 492125 w 825500"/>
                <a:gd name="connsiteY2" fmla="*/ 3175 h 815975"/>
                <a:gd name="connsiteX3" fmla="*/ 676275 w 825500"/>
                <a:gd name="connsiteY3" fmla="*/ 19050 h 815975"/>
                <a:gd name="connsiteX4" fmla="*/ 825500 w 825500"/>
                <a:gd name="connsiteY4" fmla="*/ 654050 h 815975"/>
                <a:gd name="connsiteX5" fmla="*/ 717550 w 825500"/>
                <a:gd name="connsiteY5" fmla="*/ 657225 h 815975"/>
                <a:gd name="connsiteX6" fmla="*/ 666750 w 825500"/>
                <a:gd name="connsiteY6" fmla="*/ 285750 h 815975"/>
                <a:gd name="connsiteX7" fmla="*/ 638175 w 825500"/>
                <a:gd name="connsiteY7" fmla="*/ 815975 h 815975"/>
                <a:gd name="connsiteX8" fmla="*/ 187325 w 825500"/>
                <a:gd name="connsiteY8" fmla="*/ 815975 h 815975"/>
                <a:gd name="connsiteX9" fmla="*/ 171450 w 825500"/>
                <a:gd name="connsiteY9" fmla="*/ 285750 h 815975"/>
                <a:gd name="connsiteX10" fmla="*/ 98425 w 825500"/>
                <a:gd name="connsiteY10" fmla="*/ 657225 h 815975"/>
                <a:gd name="connsiteX11" fmla="*/ 0 w 825500"/>
                <a:gd name="connsiteY11" fmla="*/ 657225 h 815975"/>
                <a:gd name="connsiteX12" fmla="*/ 149225 w 825500"/>
                <a:gd name="connsiteY12" fmla="*/ 28575 h 815975"/>
                <a:gd name="connsiteX13" fmla="*/ 336550 w 825500"/>
                <a:gd name="connsiteY13" fmla="*/ 0 h 815975"/>
                <a:gd name="connsiteX0" fmla="*/ 336550 w 825500"/>
                <a:gd name="connsiteY0" fmla="*/ 0 h 815975"/>
                <a:gd name="connsiteX1" fmla="*/ 415925 w 825500"/>
                <a:gd name="connsiteY1" fmla="*/ 574675 h 815975"/>
                <a:gd name="connsiteX2" fmla="*/ 492125 w 825500"/>
                <a:gd name="connsiteY2" fmla="*/ 3175 h 815975"/>
                <a:gd name="connsiteX3" fmla="*/ 676275 w 825500"/>
                <a:gd name="connsiteY3" fmla="*/ 19050 h 815975"/>
                <a:gd name="connsiteX4" fmla="*/ 825500 w 825500"/>
                <a:gd name="connsiteY4" fmla="*/ 654050 h 815975"/>
                <a:gd name="connsiteX5" fmla="*/ 717550 w 825500"/>
                <a:gd name="connsiteY5" fmla="*/ 657225 h 815975"/>
                <a:gd name="connsiteX6" fmla="*/ 666750 w 825500"/>
                <a:gd name="connsiteY6" fmla="*/ 285750 h 815975"/>
                <a:gd name="connsiteX7" fmla="*/ 638175 w 825500"/>
                <a:gd name="connsiteY7" fmla="*/ 815975 h 815975"/>
                <a:gd name="connsiteX8" fmla="*/ 187325 w 825500"/>
                <a:gd name="connsiteY8" fmla="*/ 815975 h 815975"/>
                <a:gd name="connsiteX9" fmla="*/ 171450 w 825500"/>
                <a:gd name="connsiteY9" fmla="*/ 285750 h 815975"/>
                <a:gd name="connsiteX10" fmla="*/ 98425 w 825500"/>
                <a:gd name="connsiteY10" fmla="*/ 657225 h 815975"/>
                <a:gd name="connsiteX11" fmla="*/ 0 w 825500"/>
                <a:gd name="connsiteY11" fmla="*/ 657225 h 815975"/>
                <a:gd name="connsiteX12" fmla="*/ 149225 w 825500"/>
                <a:gd name="connsiteY12" fmla="*/ 28575 h 815975"/>
                <a:gd name="connsiteX13" fmla="*/ 336550 w 825500"/>
                <a:gd name="connsiteY13" fmla="*/ 0 h 815975"/>
                <a:gd name="connsiteX0" fmla="*/ 336550 w 825500"/>
                <a:gd name="connsiteY0" fmla="*/ 0 h 815975"/>
                <a:gd name="connsiteX1" fmla="*/ 415925 w 825500"/>
                <a:gd name="connsiteY1" fmla="*/ 574675 h 815975"/>
                <a:gd name="connsiteX2" fmla="*/ 492125 w 825500"/>
                <a:gd name="connsiteY2" fmla="*/ 3175 h 815975"/>
                <a:gd name="connsiteX3" fmla="*/ 676275 w 825500"/>
                <a:gd name="connsiteY3" fmla="*/ 19050 h 815975"/>
                <a:gd name="connsiteX4" fmla="*/ 825500 w 825500"/>
                <a:gd name="connsiteY4" fmla="*/ 654050 h 815975"/>
                <a:gd name="connsiteX5" fmla="*/ 717550 w 825500"/>
                <a:gd name="connsiteY5" fmla="*/ 657225 h 815975"/>
                <a:gd name="connsiteX6" fmla="*/ 666750 w 825500"/>
                <a:gd name="connsiteY6" fmla="*/ 285750 h 815975"/>
                <a:gd name="connsiteX7" fmla="*/ 638175 w 825500"/>
                <a:gd name="connsiteY7" fmla="*/ 815975 h 815975"/>
                <a:gd name="connsiteX8" fmla="*/ 187325 w 825500"/>
                <a:gd name="connsiteY8" fmla="*/ 815975 h 815975"/>
                <a:gd name="connsiteX9" fmla="*/ 171450 w 825500"/>
                <a:gd name="connsiteY9" fmla="*/ 285750 h 815975"/>
                <a:gd name="connsiteX10" fmla="*/ 98425 w 825500"/>
                <a:gd name="connsiteY10" fmla="*/ 657225 h 815975"/>
                <a:gd name="connsiteX11" fmla="*/ 0 w 825500"/>
                <a:gd name="connsiteY11" fmla="*/ 657225 h 815975"/>
                <a:gd name="connsiteX12" fmla="*/ 149225 w 825500"/>
                <a:gd name="connsiteY12" fmla="*/ 28575 h 815975"/>
                <a:gd name="connsiteX13" fmla="*/ 336550 w 825500"/>
                <a:gd name="connsiteY13" fmla="*/ 0 h 815975"/>
                <a:gd name="connsiteX0" fmla="*/ 336550 w 825500"/>
                <a:gd name="connsiteY0" fmla="*/ 0 h 815975"/>
                <a:gd name="connsiteX1" fmla="*/ 415925 w 825500"/>
                <a:gd name="connsiteY1" fmla="*/ 574675 h 815975"/>
                <a:gd name="connsiteX2" fmla="*/ 492125 w 825500"/>
                <a:gd name="connsiteY2" fmla="*/ 3175 h 815975"/>
                <a:gd name="connsiteX3" fmla="*/ 676275 w 825500"/>
                <a:gd name="connsiteY3" fmla="*/ 19050 h 815975"/>
                <a:gd name="connsiteX4" fmla="*/ 825500 w 825500"/>
                <a:gd name="connsiteY4" fmla="*/ 654050 h 815975"/>
                <a:gd name="connsiteX5" fmla="*/ 717550 w 825500"/>
                <a:gd name="connsiteY5" fmla="*/ 657225 h 815975"/>
                <a:gd name="connsiteX6" fmla="*/ 666750 w 825500"/>
                <a:gd name="connsiteY6" fmla="*/ 285750 h 815975"/>
                <a:gd name="connsiteX7" fmla="*/ 638175 w 825500"/>
                <a:gd name="connsiteY7" fmla="*/ 815975 h 815975"/>
                <a:gd name="connsiteX8" fmla="*/ 187325 w 825500"/>
                <a:gd name="connsiteY8" fmla="*/ 815975 h 815975"/>
                <a:gd name="connsiteX9" fmla="*/ 171450 w 825500"/>
                <a:gd name="connsiteY9" fmla="*/ 285750 h 815975"/>
                <a:gd name="connsiteX10" fmla="*/ 98425 w 825500"/>
                <a:gd name="connsiteY10" fmla="*/ 657225 h 815975"/>
                <a:gd name="connsiteX11" fmla="*/ 0 w 825500"/>
                <a:gd name="connsiteY11" fmla="*/ 657225 h 815975"/>
                <a:gd name="connsiteX12" fmla="*/ 149225 w 825500"/>
                <a:gd name="connsiteY12" fmla="*/ 28575 h 815975"/>
                <a:gd name="connsiteX13" fmla="*/ 336550 w 825500"/>
                <a:gd name="connsiteY13" fmla="*/ 0 h 815975"/>
                <a:gd name="connsiteX0" fmla="*/ 336550 w 825500"/>
                <a:gd name="connsiteY0" fmla="*/ 0 h 815975"/>
                <a:gd name="connsiteX1" fmla="*/ 415925 w 825500"/>
                <a:gd name="connsiteY1" fmla="*/ 574675 h 815975"/>
                <a:gd name="connsiteX2" fmla="*/ 492125 w 825500"/>
                <a:gd name="connsiteY2" fmla="*/ 3175 h 815975"/>
                <a:gd name="connsiteX3" fmla="*/ 676275 w 825500"/>
                <a:gd name="connsiteY3" fmla="*/ 19050 h 815975"/>
                <a:gd name="connsiteX4" fmla="*/ 825500 w 825500"/>
                <a:gd name="connsiteY4" fmla="*/ 654050 h 815975"/>
                <a:gd name="connsiteX5" fmla="*/ 717550 w 825500"/>
                <a:gd name="connsiteY5" fmla="*/ 657225 h 815975"/>
                <a:gd name="connsiteX6" fmla="*/ 666750 w 825500"/>
                <a:gd name="connsiteY6" fmla="*/ 285750 h 815975"/>
                <a:gd name="connsiteX7" fmla="*/ 638175 w 825500"/>
                <a:gd name="connsiteY7" fmla="*/ 815975 h 815975"/>
                <a:gd name="connsiteX8" fmla="*/ 187325 w 825500"/>
                <a:gd name="connsiteY8" fmla="*/ 815975 h 815975"/>
                <a:gd name="connsiteX9" fmla="*/ 171450 w 825500"/>
                <a:gd name="connsiteY9" fmla="*/ 285750 h 815975"/>
                <a:gd name="connsiteX10" fmla="*/ 98425 w 825500"/>
                <a:gd name="connsiteY10" fmla="*/ 657225 h 815975"/>
                <a:gd name="connsiteX11" fmla="*/ 0 w 825500"/>
                <a:gd name="connsiteY11" fmla="*/ 657225 h 815975"/>
                <a:gd name="connsiteX12" fmla="*/ 149225 w 825500"/>
                <a:gd name="connsiteY12" fmla="*/ 28575 h 815975"/>
                <a:gd name="connsiteX13" fmla="*/ 336550 w 825500"/>
                <a:gd name="connsiteY13" fmla="*/ 0 h 815975"/>
                <a:gd name="connsiteX0" fmla="*/ 336550 w 825500"/>
                <a:gd name="connsiteY0" fmla="*/ 0 h 815975"/>
                <a:gd name="connsiteX1" fmla="*/ 415925 w 825500"/>
                <a:gd name="connsiteY1" fmla="*/ 574675 h 815975"/>
                <a:gd name="connsiteX2" fmla="*/ 492125 w 825500"/>
                <a:gd name="connsiteY2" fmla="*/ 3175 h 815975"/>
                <a:gd name="connsiteX3" fmla="*/ 676275 w 825500"/>
                <a:gd name="connsiteY3" fmla="*/ 19050 h 815975"/>
                <a:gd name="connsiteX4" fmla="*/ 825500 w 825500"/>
                <a:gd name="connsiteY4" fmla="*/ 654050 h 815975"/>
                <a:gd name="connsiteX5" fmla="*/ 717550 w 825500"/>
                <a:gd name="connsiteY5" fmla="*/ 657225 h 815975"/>
                <a:gd name="connsiteX6" fmla="*/ 666750 w 825500"/>
                <a:gd name="connsiteY6" fmla="*/ 285750 h 815975"/>
                <a:gd name="connsiteX7" fmla="*/ 638175 w 825500"/>
                <a:gd name="connsiteY7" fmla="*/ 815975 h 815975"/>
                <a:gd name="connsiteX8" fmla="*/ 187325 w 825500"/>
                <a:gd name="connsiteY8" fmla="*/ 815975 h 815975"/>
                <a:gd name="connsiteX9" fmla="*/ 171450 w 825500"/>
                <a:gd name="connsiteY9" fmla="*/ 285750 h 815975"/>
                <a:gd name="connsiteX10" fmla="*/ 98425 w 825500"/>
                <a:gd name="connsiteY10" fmla="*/ 657225 h 815975"/>
                <a:gd name="connsiteX11" fmla="*/ 0 w 825500"/>
                <a:gd name="connsiteY11" fmla="*/ 657225 h 815975"/>
                <a:gd name="connsiteX12" fmla="*/ 149225 w 825500"/>
                <a:gd name="connsiteY12" fmla="*/ 28575 h 815975"/>
                <a:gd name="connsiteX13" fmla="*/ 336550 w 825500"/>
                <a:gd name="connsiteY13" fmla="*/ 0 h 815975"/>
                <a:gd name="connsiteX0" fmla="*/ 336550 w 825500"/>
                <a:gd name="connsiteY0" fmla="*/ 0 h 815975"/>
                <a:gd name="connsiteX1" fmla="*/ 415925 w 825500"/>
                <a:gd name="connsiteY1" fmla="*/ 574675 h 815975"/>
                <a:gd name="connsiteX2" fmla="*/ 492125 w 825500"/>
                <a:gd name="connsiteY2" fmla="*/ 3175 h 815975"/>
                <a:gd name="connsiteX3" fmla="*/ 676275 w 825500"/>
                <a:gd name="connsiteY3" fmla="*/ 19050 h 815975"/>
                <a:gd name="connsiteX4" fmla="*/ 825500 w 825500"/>
                <a:gd name="connsiteY4" fmla="*/ 654050 h 815975"/>
                <a:gd name="connsiteX5" fmla="*/ 717550 w 825500"/>
                <a:gd name="connsiteY5" fmla="*/ 657225 h 815975"/>
                <a:gd name="connsiteX6" fmla="*/ 666750 w 825500"/>
                <a:gd name="connsiteY6" fmla="*/ 285750 h 815975"/>
                <a:gd name="connsiteX7" fmla="*/ 638175 w 825500"/>
                <a:gd name="connsiteY7" fmla="*/ 815975 h 815975"/>
                <a:gd name="connsiteX8" fmla="*/ 187325 w 825500"/>
                <a:gd name="connsiteY8" fmla="*/ 815975 h 815975"/>
                <a:gd name="connsiteX9" fmla="*/ 171450 w 825500"/>
                <a:gd name="connsiteY9" fmla="*/ 285750 h 815975"/>
                <a:gd name="connsiteX10" fmla="*/ 104775 w 825500"/>
                <a:gd name="connsiteY10" fmla="*/ 660400 h 815975"/>
                <a:gd name="connsiteX11" fmla="*/ 0 w 825500"/>
                <a:gd name="connsiteY11" fmla="*/ 657225 h 815975"/>
                <a:gd name="connsiteX12" fmla="*/ 149225 w 825500"/>
                <a:gd name="connsiteY12" fmla="*/ 28575 h 815975"/>
                <a:gd name="connsiteX13" fmla="*/ 336550 w 825500"/>
                <a:gd name="connsiteY13" fmla="*/ 0 h 815975"/>
                <a:gd name="connsiteX0" fmla="*/ 336550 w 825500"/>
                <a:gd name="connsiteY0" fmla="*/ 0 h 815975"/>
                <a:gd name="connsiteX1" fmla="*/ 415925 w 825500"/>
                <a:gd name="connsiteY1" fmla="*/ 574675 h 815975"/>
                <a:gd name="connsiteX2" fmla="*/ 492125 w 825500"/>
                <a:gd name="connsiteY2" fmla="*/ 3175 h 815975"/>
                <a:gd name="connsiteX3" fmla="*/ 676275 w 825500"/>
                <a:gd name="connsiteY3" fmla="*/ 19050 h 815975"/>
                <a:gd name="connsiteX4" fmla="*/ 825500 w 825500"/>
                <a:gd name="connsiteY4" fmla="*/ 654050 h 815975"/>
                <a:gd name="connsiteX5" fmla="*/ 717550 w 825500"/>
                <a:gd name="connsiteY5" fmla="*/ 657225 h 815975"/>
                <a:gd name="connsiteX6" fmla="*/ 666750 w 825500"/>
                <a:gd name="connsiteY6" fmla="*/ 285750 h 815975"/>
                <a:gd name="connsiteX7" fmla="*/ 638175 w 825500"/>
                <a:gd name="connsiteY7" fmla="*/ 815975 h 815975"/>
                <a:gd name="connsiteX8" fmla="*/ 187325 w 825500"/>
                <a:gd name="connsiteY8" fmla="*/ 815975 h 815975"/>
                <a:gd name="connsiteX9" fmla="*/ 171450 w 825500"/>
                <a:gd name="connsiteY9" fmla="*/ 285750 h 815975"/>
                <a:gd name="connsiteX10" fmla="*/ 104775 w 825500"/>
                <a:gd name="connsiteY10" fmla="*/ 660400 h 815975"/>
                <a:gd name="connsiteX11" fmla="*/ 0 w 825500"/>
                <a:gd name="connsiteY11" fmla="*/ 657225 h 815975"/>
                <a:gd name="connsiteX12" fmla="*/ 149225 w 825500"/>
                <a:gd name="connsiteY12" fmla="*/ 28575 h 815975"/>
                <a:gd name="connsiteX13" fmla="*/ 336550 w 825500"/>
                <a:gd name="connsiteY13" fmla="*/ 0 h 815975"/>
                <a:gd name="connsiteX0" fmla="*/ 336550 w 825500"/>
                <a:gd name="connsiteY0" fmla="*/ 0 h 815975"/>
                <a:gd name="connsiteX1" fmla="*/ 415925 w 825500"/>
                <a:gd name="connsiteY1" fmla="*/ 574675 h 815975"/>
                <a:gd name="connsiteX2" fmla="*/ 492125 w 825500"/>
                <a:gd name="connsiteY2" fmla="*/ 3175 h 815975"/>
                <a:gd name="connsiteX3" fmla="*/ 676275 w 825500"/>
                <a:gd name="connsiteY3" fmla="*/ 19050 h 815975"/>
                <a:gd name="connsiteX4" fmla="*/ 825500 w 825500"/>
                <a:gd name="connsiteY4" fmla="*/ 654050 h 815975"/>
                <a:gd name="connsiteX5" fmla="*/ 717550 w 825500"/>
                <a:gd name="connsiteY5" fmla="*/ 657225 h 815975"/>
                <a:gd name="connsiteX6" fmla="*/ 666750 w 825500"/>
                <a:gd name="connsiteY6" fmla="*/ 285750 h 815975"/>
                <a:gd name="connsiteX7" fmla="*/ 641735 w 825500"/>
                <a:gd name="connsiteY7" fmla="*/ 628653 h 815975"/>
                <a:gd name="connsiteX8" fmla="*/ 638175 w 825500"/>
                <a:gd name="connsiteY8" fmla="*/ 815975 h 815975"/>
                <a:gd name="connsiteX9" fmla="*/ 187325 w 825500"/>
                <a:gd name="connsiteY9" fmla="*/ 815975 h 815975"/>
                <a:gd name="connsiteX10" fmla="*/ 171450 w 825500"/>
                <a:gd name="connsiteY10" fmla="*/ 285750 h 815975"/>
                <a:gd name="connsiteX11" fmla="*/ 104775 w 825500"/>
                <a:gd name="connsiteY11" fmla="*/ 660400 h 815975"/>
                <a:gd name="connsiteX12" fmla="*/ 0 w 825500"/>
                <a:gd name="connsiteY12" fmla="*/ 657225 h 815975"/>
                <a:gd name="connsiteX13" fmla="*/ 149225 w 825500"/>
                <a:gd name="connsiteY13" fmla="*/ 28575 h 815975"/>
                <a:gd name="connsiteX14" fmla="*/ 336550 w 825500"/>
                <a:gd name="connsiteY14" fmla="*/ 0 h 815975"/>
                <a:gd name="connsiteX0" fmla="*/ 336550 w 825500"/>
                <a:gd name="connsiteY0" fmla="*/ 0 h 815975"/>
                <a:gd name="connsiteX1" fmla="*/ 415925 w 825500"/>
                <a:gd name="connsiteY1" fmla="*/ 574675 h 815975"/>
                <a:gd name="connsiteX2" fmla="*/ 492125 w 825500"/>
                <a:gd name="connsiteY2" fmla="*/ 3175 h 815975"/>
                <a:gd name="connsiteX3" fmla="*/ 676275 w 825500"/>
                <a:gd name="connsiteY3" fmla="*/ 19050 h 815975"/>
                <a:gd name="connsiteX4" fmla="*/ 825500 w 825500"/>
                <a:gd name="connsiteY4" fmla="*/ 654050 h 815975"/>
                <a:gd name="connsiteX5" fmla="*/ 717550 w 825500"/>
                <a:gd name="connsiteY5" fmla="*/ 657225 h 815975"/>
                <a:gd name="connsiteX6" fmla="*/ 666750 w 825500"/>
                <a:gd name="connsiteY6" fmla="*/ 285750 h 815975"/>
                <a:gd name="connsiteX7" fmla="*/ 641735 w 825500"/>
                <a:gd name="connsiteY7" fmla="*/ 628653 h 815975"/>
                <a:gd name="connsiteX8" fmla="*/ 638175 w 825500"/>
                <a:gd name="connsiteY8" fmla="*/ 815975 h 815975"/>
                <a:gd name="connsiteX9" fmla="*/ 187325 w 825500"/>
                <a:gd name="connsiteY9" fmla="*/ 815975 h 815975"/>
                <a:gd name="connsiteX10" fmla="*/ 181945 w 825500"/>
                <a:gd name="connsiteY10" fmla="*/ 603541 h 815975"/>
                <a:gd name="connsiteX11" fmla="*/ 171450 w 825500"/>
                <a:gd name="connsiteY11" fmla="*/ 285750 h 815975"/>
                <a:gd name="connsiteX12" fmla="*/ 104775 w 825500"/>
                <a:gd name="connsiteY12" fmla="*/ 660400 h 815975"/>
                <a:gd name="connsiteX13" fmla="*/ 0 w 825500"/>
                <a:gd name="connsiteY13" fmla="*/ 657225 h 815975"/>
                <a:gd name="connsiteX14" fmla="*/ 149225 w 825500"/>
                <a:gd name="connsiteY14" fmla="*/ 28575 h 815975"/>
                <a:gd name="connsiteX15" fmla="*/ 336550 w 825500"/>
                <a:gd name="connsiteY15" fmla="*/ 0 h 815975"/>
                <a:gd name="connsiteX0" fmla="*/ 336550 w 825500"/>
                <a:gd name="connsiteY0" fmla="*/ 0 h 815975"/>
                <a:gd name="connsiteX1" fmla="*/ 415925 w 825500"/>
                <a:gd name="connsiteY1" fmla="*/ 574675 h 815975"/>
                <a:gd name="connsiteX2" fmla="*/ 492125 w 825500"/>
                <a:gd name="connsiteY2" fmla="*/ 3175 h 815975"/>
                <a:gd name="connsiteX3" fmla="*/ 676275 w 825500"/>
                <a:gd name="connsiteY3" fmla="*/ 19050 h 815975"/>
                <a:gd name="connsiteX4" fmla="*/ 825500 w 825500"/>
                <a:gd name="connsiteY4" fmla="*/ 654050 h 815975"/>
                <a:gd name="connsiteX5" fmla="*/ 717550 w 825500"/>
                <a:gd name="connsiteY5" fmla="*/ 657225 h 815975"/>
                <a:gd name="connsiteX6" fmla="*/ 666750 w 825500"/>
                <a:gd name="connsiteY6" fmla="*/ 285750 h 815975"/>
                <a:gd name="connsiteX7" fmla="*/ 621744 w 825500"/>
                <a:gd name="connsiteY7" fmla="*/ 547039 h 815975"/>
                <a:gd name="connsiteX8" fmla="*/ 638175 w 825500"/>
                <a:gd name="connsiteY8" fmla="*/ 815975 h 815975"/>
                <a:gd name="connsiteX9" fmla="*/ 187325 w 825500"/>
                <a:gd name="connsiteY9" fmla="*/ 815975 h 815975"/>
                <a:gd name="connsiteX10" fmla="*/ 181945 w 825500"/>
                <a:gd name="connsiteY10" fmla="*/ 603541 h 815975"/>
                <a:gd name="connsiteX11" fmla="*/ 171450 w 825500"/>
                <a:gd name="connsiteY11" fmla="*/ 285750 h 815975"/>
                <a:gd name="connsiteX12" fmla="*/ 104775 w 825500"/>
                <a:gd name="connsiteY12" fmla="*/ 660400 h 815975"/>
                <a:gd name="connsiteX13" fmla="*/ 0 w 825500"/>
                <a:gd name="connsiteY13" fmla="*/ 657225 h 815975"/>
                <a:gd name="connsiteX14" fmla="*/ 149225 w 825500"/>
                <a:gd name="connsiteY14" fmla="*/ 28575 h 815975"/>
                <a:gd name="connsiteX15" fmla="*/ 336550 w 825500"/>
                <a:gd name="connsiteY15" fmla="*/ 0 h 815975"/>
                <a:gd name="connsiteX0" fmla="*/ 336550 w 825500"/>
                <a:gd name="connsiteY0" fmla="*/ 0 h 815975"/>
                <a:gd name="connsiteX1" fmla="*/ 415925 w 825500"/>
                <a:gd name="connsiteY1" fmla="*/ 574675 h 815975"/>
                <a:gd name="connsiteX2" fmla="*/ 492125 w 825500"/>
                <a:gd name="connsiteY2" fmla="*/ 3175 h 815975"/>
                <a:gd name="connsiteX3" fmla="*/ 676275 w 825500"/>
                <a:gd name="connsiteY3" fmla="*/ 19050 h 815975"/>
                <a:gd name="connsiteX4" fmla="*/ 825500 w 825500"/>
                <a:gd name="connsiteY4" fmla="*/ 654050 h 815975"/>
                <a:gd name="connsiteX5" fmla="*/ 717550 w 825500"/>
                <a:gd name="connsiteY5" fmla="*/ 657225 h 815975"/>
                <a:gd name="connsiteX6" fmla="*/ 666750 w 825500"/>
                <a:gd name="connsiteY6" fmla="*/ 285750 h 815975"/>
                <a:gd name="connsiteX7" fmla="*/ 621744 w 825500"/>
                <a:gd name="connsiteY7" fmla="*/ 547039 h 815975"/>
                <a:gd name="connsiteX8" fmla="*/ 638175 w 825500"/>
                <a:gd name="connsiteY8" fmla="*/ 815975 h 815975"/>
                <a:gd name="connsiteX9" fmla="*/ 187325 w 825500"/>
                <a:gd name="connsiteY9" fmla="*/ 815975 h 815975"/>
                <a:gd name="connsiteX10" fmla="*/ 208599 w 825500"/>
                <a:gd name="connsiteY10" fmla="*/ 559596 h 815975"/>
                <a:gd name="connsiteX11" fmla="*/ 171450 w 825500"/>
                <a:gd name="connsiteY11" fmla="*/ 285750 h 815975"/>
                <a:gd name="connsiteX12" fmla="*/ 104775 w 825500"/>
                <a:gd name="connsiteY12" fmla="*/ 660400 h 815975"/>
                <a:gd name="connsiteX13" fmla="*/ 0 w 825500"/>
                <a:gd name="connsiteY13" fmla="*/ 657225 h 815975"/>
                <a:gd name="connsiteX14" fmla="*/ 149225 w 825500"/>
                <a:gd name="connsiteY14" fmla="*/ 28575 h 815975"/>
                <a:gd name="connsiteX15" fmla="*/ 336550 w 825500"/>
                <a:gd name="connsiteY15" fmla="*/ 0 h 815975"/>
                <a:gd name="connsiteX0" fmla="*/ 336550 w 825500"/>
                <a:gd name="connsiteY0" fmla="*/ 0 h 815975"/>
                <a:gd name="connsiteX1" fmla="*/ 415925 w 825500"/>
                <a:gd name="connsiteY1" fmla="*/ 574675 h 815975"/>
                <a:gd name="connsiteX2" fmla="*/ 492125 w 825500"/>
                <a:gd name="connsiteY2" fmla="*/ 3175 h 815975"/>
                <a:gd name="connsiteX3" fmla="*/ 676275 w 825500"/>
                <a:gd name="connsiteY3" fmla="*/ 19050 h 815975"/>
                <a:gd name="connsiteX4" fmla="*/ 825500 w 825500"/>
                <a:gd name="connsiteY4" fmla="*/ 654050 h 815975"/>
                <a:gd name="connsiteX5" fmla="*/ 717550 w 825500"/>
                <a:gd name="connsiteY5" fmla="*/ 657225 h 815975"/>
                <a:gd name="connsiteX6" fmla="*/ 646759 w 825500"/>
                <a:gd name="connsiteY6" fmla="*/ 285750 h 815975"/>
                <a:gd name="connsiteX7" fmla="*/ 621744 w 825500"/>
                <a:gd name="connsiteY7" fmla="*/ 547039 h 815975"/>
                <a:gd name="connsiteX8" fmla="*/ 638175 w 825500"/>
                <a:gd name="connsiteY8" fmla="*/ 815975 h 815975"/>
                <a:gd name="connsiteX9" fmla="*/ 187325 w 825500"/>
                <a:gd name="connsiteY9" fmla="*/ 815975 h 815975"/>
                <a:gd name="connsiteX10" fmla="*/ 208599 w 825500"/>
                <a:gd name="connsiteY10" fmla="*/ 559596 h 815975"/>
                <a:gd name="connsiteX11" fmla="*/ 171450 w 825500"/>
                <a:gd name="connsiteY11" fmla="*/ 285750 h 815975"/>
                <a:gd name="connsiteX12" fmla="*/ 104775 w 825500"/>
                <a:gd name="connsiteY12" fmla="*/ 660400 h 815975"/>
                <a:gd name="connsiteX13" fmla="*/ 0 w 825500"/>
                <a:gd name="connsiteY13" fmla="*/ 657225 h 815975"/>
                <a:gd name="connsiteX14" fmla="*/ 149225 w 825500"/>
                <a:gd name="connsiteY14" fmla="*/ 28575 h 815975"/>
                <a:gd name="connsiteX15" fmla="*/ 336550 w 825500"/>
                <a:gd name="connsiteY15" fmla="*/ 0 h 815975"/>
                <a:gd name="connsiteX0" fmla="*/ 336550 w 825500"/>
                <a:gd name="connsiteY0" fmla="*/ 0 h 815975"/>
                <a:gd name="connsiteX1" fmla="*/ 415925 w 825500"/>
                <a:gd name="connsiteY1" fmla="*/ 574675 h 815975"/>
                <a:gd name="connsiteX2" fmla="*/ 492125 w 825500"/>
                <a:gd name="connsiteY2" fmla="*/ 3175 h 815975"/>
                <a:gd name="connsiteX3" fmla="*/ 676275 w 825500"/>
                <a:gd name="connsiteY3" fmla="*/ 19050 h 815975"/>
                <a:gd name="connsiteX4" fmla="*/ 825500 w 825500"/>
                <a:gd name="connsiteY4" fmla="*/ 654050 h 815975"/>
                <a:gd name="connsiteX5" fmla="*/ 717550 w 825500"/>
                <a:gd name="connsiteY5" fmla="*/ 657225 h 815975"/>
                <a:gd name="connsiteX6" fmla="*/ 646759 w 825500"/>
                <a:gd name="connsiteY6" fmla="*/ 285750 h 815975"/>
                <a:gd name="connsiteX7" fmla="*/ 621744 w 825500"/>
                <a:gd name="connsiteY7" fmla="*/ 547039 h 815975"/>
                <a:gd name="connsiteX8" fmla="*/ 638175 w 825500"/>
                <a:gd name="connsiteY8" fmla="*/ 815975 h 815975"/>
                <a:gd name="connsiteX9" fmla="*/ 187325 w 825500"/>
                <a:gd name="connsiteY9" fmla="*/ 815975 h 815975"/>
                <a:gd name="connsiteX10" fmla="*/ 208599 w 825500"/>
                <a:gd name="connsiteY10" fmla="*/ 559596 h 815975"/>
                <a:gd name="connsiteX11" fmla="*/ 191441 w 825500"/>
                <a:gd name="connsiteY11" fmla="*/ 285750 h 815975"/>
                <a:gd name="connsiteX12" fmla="*/ 104775 w 825500"/>
                <a:gd name="connsiteY12" fmla="*/ 660400 h 815975"/>
                <a:gd name="connsiteX13" fmla="*/ 0 w 825500"/>
                <a:gd name="connsiteY13" fmla="*/ 657225 h 815975"/>
                <a:gd name="connsiteX14" fmla="*/ 149225 w 825500"/>
                <a:gd name="connsiteY14" fmla="*/ 28575 h 815975"/>
                <a:gd name="connsiteX15" fmla="*/ 336550 w 825500"/>
                <a:gd name="connsiteY15" fmla="*/ 0 h 815975"/>
                <a:gd name="connsiteX0" fmla="*/ 336550 w 825500"/>
                <a:gd name="connsiteY0" fmla="*/ 0 h 815975"/>
                <a:gd name="connsiteX1" fmla="*/ 415925 w 825500"/>
                <a:gd name="connsiteY1" fmla="*/ 260776 h 815975"/>
                <a:gd name="connsiteX2" fmla="*/ 492125 w 825500"/>
                <a:gd name="connsiteY2" fmla="*/ 3175 h 815975"/>
                <a:gd name="connsiteX3" fmla="*/ 676275 w 825500"/>
                <a:gd name="connsiteY3" fmla="*/ 19050 h 815975"/>
                <a:gd name="connsiteX4" fmla="*/ 825500 w 825500"/>
                <a:gd name="connsiteY4" fmla="*/ 654050 h 815975"/>
                <a:gd name="connsiteX5" fmla="*/ 717550 w 825500"/>
                <a:gd name="connsiteY5" fmla="*/ 657225 h 815975"/>
                <a:gd name="connsiteX6" fmla="*/ 646759 w 825500"/>
                <a:gd name="connsiteY6" fmla="*/ 285750 h 815975"/>
                <a:gd name="connsiteX7" fmla="*/ 621744 w 825500"/>
                <a:gd name="connsiteY7" fmla="*/ 547039 h 815975"/>
                <a:gd name="connsiteX8" fmla="*/ 638175 w 825500"/>
                <a:gd name="connsiteY8" fmla="*/ 815975 h 815975"/>
                <a:gd name="connsiteX9" fmla="*/ 187325 w 825500"/>
                <a:gd name="connsiteY9" fmla="*/ 815975 h 815975"/>
                <a:gd name="connsiteX10" fmla="*/ 208599 w 825500"/>
                <a:gd name="connsiteY10" fmla="*/ 559596 h 815975"/>
                <a:gd name="connsiteX11" fmla="*/ 191441 w 825500"/>
                <a:gd name="connsiteY11" fmla="*/ 285750 h 815975"/>
                <a:gd name="connsiteX12" fmla="*/ 104775 w 825500"/>
                <a:gd name="connsiteY12" fmla="*/ 660400 h 815975"/>
                <a:gd name="connsiteX13" fmla="*/ 0 w 825500"/>
                <a:gd name="connsiteY13" fmla="*/ 657225 h 815975"/>
                <a:gd name="connsiteX14" fmla="*/ 149225 w 825500"/>
                <a:gd name="connsiteY14" fmla="*/ 28575 h 815975"/>
                <a:gd name="connsiteX15" fmla="*/ 336550 w 825500"/>
                <a:gd name="connsiteY15" fmla="*/ 0 h 815975"/>
                <a:gd name="connsiteX0" fmla="*/ 336550 w 825500"/>
                <a:gd name="connsiteY0" fmla="*/ 0 h 815975"/>
                <a:gd name="connsiteX1" fmla="*/ 415925 w 825500"/>
                <a:gd name="connsiteY1" fmla="*/ 260776 h 815975"/>
                <a:gd name="connsiteX2" fmla="*/ 492125 w 825500"/>
                <a:gd name="connsiteY2" fmla="*/ 3175 h 815975"/>
                <a:gd name="connsiteX3" fmla="*/ 676275 w 825500"/>
                <a:gd name="connsiteY3" fmla="*/ 19050 h 815975"/>
                <a:gd name="connsiteX4" fmla="*/ 825500 w 825500"/>
                <a:gd name="connsiteY4" fmla="*/ 654050 h 815975"/>
                <a:gd name="connsiteX5" fmla="*/ 717550 w 825500"/>
                <a:gd name="connsiteY5" fmla="*/ 657225 h 815975"/>
                <a:gd name="connsiteX6" fmla="*/ 646759 w 825500"/>
                <a:gd name="connsiteY6" fmla="*/ 285750 h 815975"/>
                <a:gd name="connsiteX7" fmla="*/ 621744 w 825500"/>
                <a:gd name="connsiteY7" fmla="*/ 547039 h 815975"/>
                <a:gd name="connsiteX8" fmla="*/ 638175 w 825500"/>
                <a:gd name="connsiteY8" fmla="*/ 815975 h 815975"/>
                <a:gd name="connsiteX9" fmla="*/ 160670 w 825500"/>
                <a:gd name="connsiteY9" fmla="*/ 815975 h 815975"/>
                <a:gd name="connsiteX10" fmla="*/ 208599 w 825500"/>
                <a:gd name="connsiteY10" fmla="*/ 559596 h 815975"/>
                <a:gd name="connsiteX11" fmla="*/ 191441 w 825500"/>
                <a:gd name="connsiteY11" fmla="*/ 285750 h 815975"/>
                <a:gd name="connsiteX12" fmla="*/ 104775 w 825500"/>
                <a:gd name="connsiteY12" fmla="*/ 660400 h 815975"/>
                <a:gd name="connsiteX13" fmla="*/ 0 w 825500"/>
                <a:gd name="connsiteY13" fmla="*/ 657225 h 815975"/>
                <a:gd name="connsiteX14" fmla="*/ 149225 w 825500"/>
                <a:gd name="connsiteY14" fmla="*/ 28575 h 815975"/>
                <a:gd name="connsiteX15" fmla="*/ 336550 w 825500"/>
                <a:gd name="connsiteY15" fmla="*/ 0 h 815975"/>
                <a:gd name="connsiteX0" fmla="*/ 336550 w 825500"/>
                <a:gd name="connsiteY0" fmla="*/ 0 h 822253"/>
                <a:gd name="connsiteX1" fmla="*/ 415925 w 825500"/>
                <a:gd name="connsiteY1" fmla="*/ 260776 h 822253"/>
                <a:gd name="connsiteX2" fmla="*/ 492125 w 825500"/>
                <a:gd name="connsiteY2" fmla="*/ 3175 h 822253"/>
                <a:gd name="connsiteX3" fmla="*/ 676275 w 825500"/>
                <a:gd name="connsiteY3" fmla="*/ 19050 h 822253"/>
                <a:gd name="connsiteX4" fmla="*/ 825500 w 825500"/>
                <a:gd name="connsiteY4" fmla="*/ 654050 h 822253"/>
                <a:gd name="connsiteX5" fmla="*/ 717550 w 825500"/>
                <a:gd name="connsiteY5" fmla="*/ 657225 h 822253"/>
                <a:gd name="connsiteX6" fmla="*/ 646759 w 825500"/>
                <a:gd name="connsiteY6" fmla="*/ 285750 h 822253"/>
                <a:gd name="connsiteX7" fmla="*/ 621744 w 825500"/>
                <a:gd name="connsiteY7" fmla="*/ 547039 h 822253"/>
                <a:gd name="connsiteX8" fmla="*/ 664830 w 825500"/>
                <a:gd name="connsiteY8" fmla="*/ 822253 h 822253"/>
                <a:gd name="connsiteX9" fmla="*/ 160670 w 825500"/>
                <a:gd name="connsiteY9" fmla="*/ 815975 h 822253"/>
                <a:gd name="connsiteX10" fmla="*/ 208599 w 825500"/>
                <a:gd name="connsiteY10" fmla="*/ 559596 h 822253"/>
                <a:gd name="connsiteX11" fmla="*/ 191441 w 825500"/>
                <a:gd name="connsiteY11" fmla="*/ 285750 h 822253"/>
                <a:gd name="connsiteX12" fmla="*/ 104775 w 825500"/>
                <a:gd name="connsiteY12" fmla="*/ 660400 h 822253"/>
                <a:gd name="connsiteX13" fmla="*/ 0 w 825500"/>
                <a:gd name="connsiteY13" fmla="*/ 657225 h 822253"/>
                <a:gd name="connsiteX14" fmla="*/ 149225 w 825500"/>
                <a:gd name="connsiteY14" fmla="*/ 28575 h 822253"/>
                <a:gd name="connsiteX15" fmla="*/ 336550 w 825500"/>
                <a:gd name="connsiteY15" fmla="*/ 0 h 822253"/>
                <a:gd name="connsiteX0" fmla="*/ 336550 w 825500"/>
                <a:gd name="connsiteY0" fmla="*/ 0 h 822253"/>
                <a:gd name="connsiteX1" fmla="*/ 415925 w 825500"/>
                <a:gd name="connsiteY1" fmla="*/ 260776 h 822253"/>
                <a:gd name="connsiteX2" fmla="*/ 492125 w 825500"/>
                <a:gd name="connsiteY2" fmla="*/ 3175 h 822253"/>
                <a:gd name="connsiteX3" fmla="*/ 676275 w 825500"/>
                <a:gd name="connsiteY3" fmla="*/ 19050 h 822253"/>
                <a:gd name="connsiteX4" fmla="*/ 825500 w 825500"/>
                <a:gd name="connsiteY4" fmla="*/ 654050 h 822253"/>
                <a:gd name="connsiteX5" fmla="*/ 717550 w 825500"/>
                <a:gd name="connsiteY5" fmla="*/ 657225 h 822253"/>
                <a:gd name="connsiteX6" fmla="*/ 646759 w 825500"/>
                <a:gd name="connsiteY6" fmla="*/ 285750 h 822253"/>
                <a:gd name="connsiteX7" fmla="*/ 621744 w 825500"/>
                <a:gd name="connsiteY7" fmla="*/ 547039 h 822253"/>
                <a:gd name="connsiteX8" fmla="*/ 664830 w 825500"/>
                <a:gd name="connsiteY8" fmla="*/ 822253 h 822253"/>
                <a:gd name="connsiteX9" fmla="*/ 167334 w 825500"/>
                <a:gd name="connsiteY9" fmla="*/ 815975 h 822253"/>
                <a:gd name="connsiteX10" fmla="*/ 208599 w 825500"/>
                <a:gd name="connsiteY10" fmla="*/ 559596 h 822253"/>
                <a:gd name="connsiteX11" fmla="*/ 191441 w 825500"/>
                <a:gd name="connsiteY11" fmla="*/ 285750 h 822253"/>
                <a:gd name="connsiteX12" fmla="*/ 104775 w 825500"/>
                <a:gd name="connsiteY12" fmla="*/ 660400 h 822253"/>
                <a:gd name="connsiteX13" fmla="*/ 0 w 825500"/>
                <a:gd name="connsiteY13" fmla="*/ 657225 h 822253"/>
                <a:gd name="connsiteX14" fmla="*/ 149225 w 825500"/>
                <a:gd name="connsiteY14" fmla="*/ 28575 h 822253"/>
                <a:gd name="connsiteX15" fmla="*/ 336550 w 825500"/>
                <a:gd name="connsiteY15" fmla="*/ 0 h 822253"/>
                <a:gd name="connsiteX0" fmla="*/ 336550 w 825500"/>
                <a:gd name="connsiteY0" fmla="*/ 0 h 822253"/>
                <a:gd name="connsiteX1" fmla="*/ 415925 w 825500"/>
                <a:gd name="connsiteY1" fmla="*/ 260776 h 822253"/>
                <a:gd name="connsiteX2" fmla="*/ 492125 w 825500"/>
                <a:gd name="connsiteY2" fmla="*/ 3175 h 822253"/>
                <a:gd name="connsiteX3" fmla="*/ 676275 w 825500"/>
                <a:gd name="connsiteY3" fmla="*/ 19050 h 822253"/>
                <a:gd name="connsiteX4" fmla="*/ 825500 w 825500"/>
                <a:gd name="connsiteY4" fmla="*/ 654050 h 822253"/>
                <a:gd name="connsiteX5" fmla="*/ 717550 w 825500"/>
                <a:gd name="connsiteY5" fmla="*/ 657225 h 822253"/>
                <a:gd name="connsiteX6" fmla="*/ 646759 w 825500"/>
                <a:gd name="connsiteY6" fmla="*/ 285750 h 822253"/>
                <a:gd name="connsiteX7" fmla="*/ 621744 w 825500"/>
                <a:gd name="connsiteY7" fmla="*/ 547039 h 822253"/>
                <a:gd name="connsiteX8" fmla="*/ 664830 w 825500"/>
                <a:gd name="connsiteY8" fmla="*/ 822253 h 822253"/>
                <a:gd name="connsiteX9" fmla="*/ 167334 w 825500"/>
                <a:gd name="connsiteY9" fmla="*/ 815975 h 822253"/>
                <a:gd name="connsiteX10" fmla="*/ 195272 w 825500"/>
                <a:gd name="connsiteY10" fmla="*/ 565874 h 822253"/>
                <a:gd name="connsiteX11" fmla="*/ 191441 w 825500"/>
                <a:gd name="connsiteY11" fmla="*/ 285750 h 822253"/>
                <a:gd name="connsiteX12" fmla="*/ 104775 w 825500"/>
                <a:gd name="connsiteY12" fmla="*/ 660400 h 822253"/>
                <a:gd name="connsiteX13" fmla="*/ 0 w 825500"/>
                <a:gd name="connsiteY13" fmla="*/ 657225 h 822253"/>
                <a:gd name="connsiteX14" fmla="*/ 149225 w 825500"/>
                <a:gd name="connsiteY14" fmla="*/ 28575 h 822253"/>
                <a:gd name="connsiteX15" fmla="*/ 336550 w 825500"/>
                <a:gd name="connsiteY15" fmla="*/ 0 h 822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25500" h="822253">
                  <a:moveTo>
                    <a:pt x="336550" y="0"/>
                  </a:moveTo>
                  <a:lnTo>
                    <a:pt x="415925" y="260776"/>
                  </a:lnTo>
                  <a:lnTo>
                    <a:pt x="492125" y="3175"/>
                  </a:lnTo>
                  <a:lnTo>
                    <a:pt x="676275" y="19050"/>
                  </a:lnTo>
                  <a:cubicBezTo>
                    <a:pt x="799042" y="262467"/>
                    <a:pt x="817033" y="531283"/>
                    <a:pt x="825500" y="654050"/>
                  </a:cubicBezTo>
                  <a:lnTo>
                    <a:pt x="717550" y="657225"/>
                  </a:lnTo>
                  <a:cubicBezTo>
                    <a:pt x="729192" y="536575"/>
                    <a:pt x="673217" y="393700"/>
                    <a:pt x="646759" y="285750"/>
                  </a:cubicBezTo>
                  <a:lnTo>
                    <a:pt x="621744" y="547039"/>
                  </a:lnTo>
                  <a:cubicBezTo>
                    <a:pt x="620557" y="609480"/>
                    <a:pt x="666017" y="759812"/>
                    <a:pt x="664830" y="822253"/>
                  </a:cubicBezTo>
                  <a:lnTo>
                    <a:pt x="167334" y="815975"/>
                  </a:lnTo>
                  <a:lnTo>
                    <a:pt x="195272" y="565874"/>
                  </a:lnTo>
                  <a:lnTo>
                    <a:pt x="191441" y="285750"/>
                  </a:lnTo>
                  <a:cubicBezTo>
                    <a:pt x="154399" y="384175"/>
                    <a:pt x="110067" y="530225"/>
                    <a:pt x="104775" y="660400"/>
                  </a:cubicBezTo>
                  <a:lnTo>
                    <a:pt x="0" y="657225"/>
                  </a:lnTo>
                  <a:cubicBezTo>
                    <a:pt x="21167" y="508000"/>
                    <a:pt x="35983" y="276225"/>
                    <a:pt x="149225" y="28575"/>
                  </a:cubicBezTo>
                  <a:lnTo>
                    <a:pt x="336550" y="0"/>
                  </a:lnTo>
                  <a:close/>
                </a:path>
              </a:pathLst>
            </a:custGeom>
            <a:solidFill>
              <a:schemeClr val="accent5">
                <a:lumMod val="40000"/>
                <a:lumOff val="60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dirty="0"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205" name="Group 204"/>
          <p:cNvGrpSpPr/>
          <p:nvPr/>
        </p:nvGrpSpPr>
        <p:grpSpPr>
          <a:xfrm>
            <a:off x="11039421" y="4897179"/>
            <a:ext cx="778946" cy="1814076"/>
            <a:chOff x="10220199" y="4264566"/>
            <a:chExt cx="931389" cy="2169097"/>
          </a:xfrm>
        </p:grpSpPr>
        <p:sp>
          <p:nvSpPr>
            <p:cNvPr id="206" name="Freeform 205"/>
            <p:cNvSpPr/>
            <p:nvPr/>
          </p:nvSpPr>
          <p:spPr bwMode="auto">
            <a:xfrm rot="5400000">
              <a:off x="10343590" y="4440410"/>
              <a:ext cx="519180" cy="260267"/>
            </a:xfrm>
            <a:custGeom>
              <a:avLst/>
              <a:gdLst>
                <a:gd name="connsiteX0" fmla="*/ 0 w 392904"/>
                <a:gd name="connsiteY0" fmla="*/ 184191 h 309562"/>
                <a:gd name="connsiteX1" fmla="*/ 0 w 392904"/>
                <a:gd name="connsiteY1" fmla="*/ 125371 h 309562"/>
                <a:gd name="connsiteX2" fmla="*/ 95323 w 392904"/>
                <a:gd name="connsiteY2" fmla="*/ 30048 h 309562"/>
                <a:gd name="connsiteX3" fmla="*/ 107911 w 392904"/>
                <a:gd name="connsiteY3" fmla="*/ 30048 h 309562"/>
                <a:gd name="connsiteX4" fmla="*/ 116458 w 392904"/>
                <a:gd name="connsiteY4" fmla="*/ 9416 h 309562"/>
                <a:gd name="connsiteX5" fmla="*/ 139189 w 392904"/>
                <a:gd name="connsiteY5" fmla="*/ 0 h 309562"/>
                <a:gd name="connsiteX6" fmla="*/ 182279 w 392904"/>
                <a:gd name="connsiteY6" fmla="*/ 0 h 309562"/>
                <a:gd name="connsiteX7" fmla="*/ 205010 w 392904"/>
                <a:gd name="connsiteY7" fmla="*/ 9416 h 309562"/>
                <a:gd name="connsiteX8" fmla="*/ 213557 w 392904"/>
                <a:gd name="connsiteY8" fmla="*/ 30048 h 309562"/>
                <a:gd name="connsiteX9" fmla="*/ 252339 w 392904"/>
                <a:gd name="connsiteY9" fmla="*/ 30048 h 309562"/>
                <a:gd name="connsiteX10" fmla="*/ 319742 w 392904"/>
                <a:gd name="connsiteY10" fmla="*/ 57968 h 309562"/>
                <a:gd name="connsiteX11" fmla="*/ 336441 w 392904"/>
                <a:gd name="connsiteY11" fmla="*/ 82735 h 309562"/>
                <a:gd name="connsiteX12" fmla="*/ 357186 w 392904"/>
                <a:gd name="connsiteY12" fmla="*/ 80848 h 309562"/>
                <a:gd name="connsiteX13" fmla="*/ 392904 w 392904"/>
                <a:gd name="connsiteY13" fmla="*/ 152286 h 309562"/>
                <a:gd name="connsiteX14" fmla="*/ 357186 w 392904"/>
                <a:gd name="connsiteY14" fmla="*/ 235629 h 309562"/>
                <a:gd name="connsiteX15" fmla="*/ 330992 w 392904"/>
                <a:gd name="connsiteY15" fmla="*/ 235629 h 309562"/>
                <a:gd name="connsiteX16" fmla="*/ 330992 w 392904"/>
                <a:gd name="connsiteY16" fmla="*/ 234909 h 309562"/>
                <a:gd name="connsiteX17" fmla="*/ 319742 w 392904"/>
                <a:gd name="connsiteY17" fmla="*/ 251594 h 309562"/>
                <a:gd name="connsiteX18" fmla="*/ 252339 w 392904"/>
                <a:gd name="connsiteY18" fmla="*/ 279514 h 309562"/>
                <a:gd name="connsiteX19" fmla="*/ 213557 w 392904"/>
                <a:gd name="connsiteY19" fmla="*/ 279514 h 309562"/>
                <a:gd name="connsiteX20" fmla="*/ 205010 w 392904"/>
                <a:gd name="connsiteY20" fmla="*/ 300146 h 309562"/>
                <a:gd name="connsiteX21" fmla="*/ 182279 w 392904"/>
                <a:gd name="connsiteY21" fmla="*/ 309562 h 309562"/>
                <a:gd name="connsiteX22" fmla="*/ 139189 w 392904"/>
                <a:gd name="connsiteY22" fmla="*/ 309562 h 309562"/>
                <a:gd name="connsiteX23" fmla="*/ 116458 w 392904"/>
                <a:gd name="connsiteY23" fmla="*/ 300146 h 309562"/>
                <a:gd name="connsiteX24" fmla="*/ 107911 w 392904"/>
                <a:gd name="connsiteY24" fmla="*/ 279514 h 309562"/>
                <a:gd name="connsiteX25" fmla="*/ 95323 w 392904"/>
                <a:gd name="connsiteY25" fmla="*/ 279514 h 309562"/>
                <a:gd name="connsiteX26" fmla="*/ 0 w 392904"/>
                <a:gd name="connsiteY26" fmla="*/ 184191 h 309562"/>
                <a:gd name="connsiteX0" fmla="*/ 0 w 617515"/>
                <a:gd name="connsiteY0" fmla="*/ 184191 h 309562"/>
                <a:gd name="connsiteX1" fmla="*/ 0 w 617515"/>
                <a:gd name="connsiteY1" fmla="*/ 125371 h 309562"/>
                <a:gd name="connsiteX2" fmla="*/ 95323 w 617515"/>
                <a:gd name="connsiteY2" fmla="*/ 30048 h 309562"/>
                <a:gd name="connsiteX3" fmla="*/ 107911 w 617515"/>
                <a:gd name="connsiteY3" fmla="*/ 30048 h 309562"/>
                <a:gd name="connsiteX4" fmla="*/ 116458 w 617515"/>
                <a:gd name="connsiteY4" fmla="*/ 9416 h 309562"/>
                <a:gd name="connsiteX5" fmla="*/ 139189 w 617515"/>
                <a:gd name="connsiteY5" fmla="*/ 0 h 309562"/>
                <a:gd name="connsiteX6" fmla="*/ 182279 w 617515"/>
                <a:gd name="connsiteY6" fmla="*/ 0 h 309562"/>
                <a:gd name="connsiteX7" fmla="*/ 205010 w 617515"/>
                <a:gd name="connsiteY7" fmla="*/ 9416 h 309562"/>
                <a:gd name="connsiteX8" fmla="*/ 213557 w 617515"/>
                <a:gd name="connsiteY8" fmla="*/ 30048 h 309562"/>
                <a:gd name="connsiteX9" fmla="*/ 252339 w 617515"/>
                <a:gd name="connsiteY9" fmla="*/ 30048 h 309562"/>
                <a:gd name="connsiteX10" fmla="*/ 319742 w 617515"/>
                <a:gd name="connsiteY10" fmla="*/ 57968 h 309562"/>
                <a:gd name="connsiteX11" fmla="*/ 336441 w 617515"/>
                <a:gd name="connsiteY11" fmla="*/ 82735 h 309562"/>
                <a:gd name="connsiteX12" fmla="*/ 357186 w 617515"/>
                <a:gd name="connsiteY12" fmla="*/ 80848 h 309562"/>
                <a:gd name="connsiteX13" fmla="*/ 617515 w 617515"/>
                <a:gd name="connsiteY13" fmla="*/ 160167 h 309562"/>
                <a:gd name="connsiteX14" fmla="*/ 357186 w 617515"/>
                <a:gd name="connsiteY14" fmla="*/ 235629 h 309562"/>
                <a:gd name="connsiteX15" fmla="*/ 330992 w 617515"/>
                <a:gd name="connsiteY15" fmla="*/ 235629 h 309562"/>
                <a:gd name="connsiteX16" fmla="*/ 330992 w 617515"/>
                <a:gd name="connsiteY16" fmla="*/ 234909 h 309562"/>
                <a:gd name="connsiteX17" fmla="*/ 319742 w 617515"/>
                <a:gd name="connsiteY17" fmla="*/ 251594 h 309562"/>
                <a:gd name="connsiteX18" fmla="*/ 252339 w 617515"/>
                <a:gd name="connsiteY18" fmla="*/ 279514 h 309562"/>
                <a:gd name="connsiteX19" fmla="*/ 213557 w 617515"/>
                <a:gd name="connsiteY19" fmla="*/ 279514 h 309562"/>
                <a:gd name="connsiteX20" fmla="*/ 205010 w 617515"/>
                <a:gd name="connsiteY20" fmla="*/ 300146 h 309562"/>
                <a:gd name="connsiteX21" fmla="*/ 182279 w 617515"/>
                <a:gd name="connsiteY21" fmla="*/ 309562 h 309562"/>
                <a:gd name="connsiteX22" fmla="*/ 139189 w 617515"/>
                <a:gd name="connsiteY22" fmla="*/ 309562 h 309562"/>
                <a:gd name="connsiteX23" fmla="*/ 116458 w 617515"/>
                <a:gd name="connsiteY23" fmla="*/ 300146 h 309562"/>
                <a:gd name="connsiteX24" fmla="*/ 107911 w 617515"/>
                <a:gd name="connsiteY24" fmla="*/ 279514 h 309562"/>
                <a:gd name="connsiteX25" fmla="*/ 95323 w 617515"/>
                <a:gd name="connsiteY25" fmla="*/ 279514 h 309562"/>
                <a:gd name="connsiteX26" fmla="*/ 0 w 617515"/>
                <a:gd name="connsiteY26" fmla="*/ 184191 h 309562"/>
                <a:gd name="connsiteX0" fmla="*/ 0 w 617515"/>
                <a:gd name="connsiteY0" fmla="*/ 184191 h 309562"/>
                <a:gd name="connsiteX1" fmla="*/ 0 w 617515"/>
                <a:gd name="connsiteY1" fmla="*/ 125371 h 309562"/>
                <a:gd name="connsiteX2" fmla="*/ 95323 w 617515"/>
                <a:gd name="connsiteY2" fmla="*/ 30048 h 309562"/>
                <a:gd name="connsiteX3" fmla="*/ 107911 w 617515"/>
                <a:gd name="connsiteY3" fmla="*/ 30048 h 309562"/>
                <a:gd name="connsiteX4" fmla="*/ 116458 w 617515"/>
                <a:gd name="connsiteY4" fmla="*/ 9416 h 309562"/>
                <a:gd name="connsiteX5" fmla="*/ 139189 w 617515"/>
                <a:gd name="connsiteY5" fmla="*/ 0 h 309562"/>
                <a:gd name="connsiteX6" fmla="*/ 182279 w 617515"/>
                <a:gd name="connsiteY6" fmla="*/ 0 h 309562"/>
                <a:gd name="connsiteX7" fmla="*/ 205010 w 617515"/>
                <a:gd name="connsiteY7" fmla="*/ 9416 h 309562"/>
                <a:gd name="connsiteX8" fmla="*/ 213557 w 617515"/>
                <a:gd name="connsiteY8" fmla="*/ 30048 h 309562"/>
                <a:gd name="connsiteX9" fmla="*/ 252339 w 617515"/>
                <a:gd name="connsiteY9" fmla="*/ 30048 h 309562"/>
                <a:gd name="connsiteX10" fmla="*/ 319742 w 617515"/>
                <a:gd name="connsiteY10" fmla="*/ 57968 h 309562"/>
                <a:gd name="connsiteX11" fmla="*/ 336441 w 617515"/>
                <a:gd name="connsiteY11" fmla="*/ 82735 h 309562"/>
                <a:gd name="connsiteX12" fmla="*/ 522692 w 617515"/>
                <a:gd name="connsiteY12" fmla="*/ 80848 h 309562"/>
                <a:gd name="connsiteX13" fmla="*/ 617515 w 617515"/>
                <a:gd name="connsiteY13" fmla="*/ 160167 h 309562"/>
                <a:gd name="connsiteX14" fmla="*/ 357186 w 617515"/>
                <a:gd name="connsiteY14" fmla="*/ 235629 h 309562"/>
                <a:gd name="connsiteX15" fmla="*/ 330992 w 617515"/>
                <a:gd name="connsiteY15" fmla="*/ 235629 h 309562"/>
                <a:gd name="connsiteX16" fmla="*/ 330992 w 617515"/>
                <a:gd name="connsiteY16" fmla="*/ 234909 h 309562"/>
                <a:gd name="connsiteX17" fmla="*/ 319742 w 617515"/>
                <a:gd name="connsiteY17" fmla="*/ 251594 h 309562"/>
                <a:gd name="connsiteX18" fmla="*/ 252339 w 617515"/>
                <a:gd name="connsiteY18" fmla="*/ 279514 h 309562"/>
                <a:gd name="connsiteX19" fmla="*/ 213557 w 617515"/>
                <a:gd name="connsiteY19" fmla="*/ 279514 h 309562"/>
                <a:gd name="connsiteX20" fmla="*/ 205010 w 617515"/>
                <a:gd name="connsiteY20" fmla="*/ 300146 h 309562"/>
                <a:gd name="connsiteX21" fmla="*/ 182279 w 617515"/>
                <a:gd name="connsiteY21" fmla="*/ 309562 h 309562"/>
                <a:gd name="connsiteX22" fmla="*/ 139189 w 617515"/>
                <a:gd name="connsiteY22" fmla="*/ 309562 h 309562"/>
                <a:gd name="connsiteX23" fmla="*/ 116458 w 617515"/>
                <a:gd name="connsiteY23" fmla="*/ 300146 h 309562"/>
                <a:gd name="connsiteX24" fmla="*/ 107911 w 617515"/>
                <a:gd name="connsiteY24" fmla="*/ 279514 h 309562"/>
                <a:gd name="connsiteX25" fmla="*/ 95323 w 617515"/>
                <a:gd name="connsiteY25" fmla="*/ 279514 h 309562"/>
                <a:gd name="connsiteX26" fmla="*/ 0 w 617515"/>
                <a:gd name="connsiteY26" fmla="*/ 184191 h 309562"/>
                <a:gd name="connsiteX0" fmla="*/ 0 w 617515"/>
                <a:gd name="connsiteY0" fmla="*/ 184191 h 309562"/>
                <a:gd name="connsiteX1" fmla="*/ 0 w 617515"/>
                <a:gd name="connsiteY1" fmla="*/ 125371 h 309562"/>
                <a:gd name="connsiteX2" fmla="*/ 95323 w 617515"/>
                <a:gd name="connsiteY2" fmla="*/ 30048 h 309562"/>
                <a:gd name="connsiteX3" fmla="*/ 107911 w 617515"/>
                <a:gd name="connsiteY3" fmla="*/ 30048 h 309562"/>
                <a:gd name="connsiteX4" fmla="*/ 116458 w 617515"/>
                <a:gd name="connsiteY4" fmla="*/ 9416 h 309562"/>
                <a:gd name="connsiteX5" fmla="*/ 139189 w 617515"/>
                <a:gd name="connsiteY5" fmla="*/ 0 h 309562"/>
                <a:gd name="connsiteX6" fmla="*/ 182279 w 617515"/>
                <a:gd name="connsiteY6" fmla="*/ 0 h 309562"/>
                <a:gd name="connsiteX7" fmla="*/ 205010 w 617515"/>
                <a:gd name="connsiteY7" fmla="*/ 9416 h 309562"/>
                <a:gd name="connsiteX8" fmla="*/ 213557 w 617515"/>
                <a:gd name="connsiteY8" fmla="*/ 30048 h 309562"/>
                <a:gd name="connsiteX9" fmla="*/ 252339 w 617515"/>
                <a:gd name="connsiteY9" fmla="*/ 30048 h 309562"/>
                <a:gd name="connsiteX10" fmla="*/ 319742 w 617515"/>
                <a:gd name="connsiteY10" fmla="*/ 57968 h 309562"/>
                <a:gd name="connsiteX11" fmla="*/ 336441 w 617515"/>
                <a:gd name="connsiteY11" fmla="*/ 82735 h 309562"/>
                <a:gd name="connsiteX12" fmla="*/ 522692 w 617515"/>
                <a:gd name="connsiteY12" fmla="*/ 80848 h 309562"/>
                <a:gd name="connsiteX13" fmla="*/ 617515 w 617515"/>
                <a:gd name="connsiteY13" fmla="*/ 160167 h 309562"/>
                <a:gd name="connsiteX14" fmla="*/ 491168 w 617515"/>
                <a:gd name="connsiteY14" fmla="*/ 247450 h 309562"/>
                <a:gd name="connsiteX15" fmla="*/ 330992 w 617515"/>
                <a:gd name="connsiteY15" fmla="*/ 235629 h 309562"/>
                <a:gd name="connsiteX16" fmla="*/ 330992 w 617515"/>
                <a:gd name="connsiteY16" fmla="*/ 234909 h 309562"/>
                <a:gd name="connsiteX17" fmla="*/ 319742 w 617515"/>
                <a:gd name="connsiteY17" fmla="*/ 251594 h 309562"/>
                <a:gd name="connsiteX18" fmla="*/ 252339 w 617515"/>
                <a:gd name="connsiteY18" fmla="*/ 279514 h 309562"/>
                <a:gd name="connsiteX19" fmla="*/ 213557 w 617515"/>
                <a:gd name="connsiteY19" fmla="*/ 279514 h 309562"/>
                <a:gd name="connsiteX20" fmla="*/ 205010 w 617515"/>
                <a:gd name="connsiteY20" fmla="*/ 300146 h 309562"/>
                <a:gd name="connsiteX21" fmla="*/ 182279 w 617515"/>
                <a:gd name="connsiteY21" fmla="*/ 309562 h 309562"/>
                <a:gd name="connsiteX22" fmla="*/ 139189 w 617515"/>
                <a:gd name="connsiteY22" fmla="*/ 309562 h 309562"/>
                <a:gd name="connsiteX23" fmla="*/ 116458 w 617515"/>
                <a:gd name="connsiteY23" fmla="*/ 300146 h 309562"/>
                <a:gd name="connsiteX24" fmla="*/ 107911 w 617515"/>
                <a:gd name="connsiteY24" fmla="*/ 279514 h 309562"/>
                <a:gd name="connsiteX25" fmla="*/ 95323 w 617515"/>
                <a:gd name="connsiteY25" fmla="*/ 279514 h 309562"/>
                <a:gd name="connsiteX26" fmla="*/ 0 w 617515"/>
                <a:gd name="connsiteY26" fmla="*/ 184191 h 309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17515" h="309562">
                  <a:moveTo>
                    <a:pt x="0" y="184191"/>
                  </a:moveTo>
                  <a:lnTo>
                    <a:pt x="0" y="125371"/>
                  </a:lnTo>
                  <a:cubicBezTo>
                    <a:pt x="0" y="72726"/>
                    <a:pt x="42678" y="30048"/>
                    <a:pt x="95323" y="30048"/>
                  </a:cubicBezTo>
                  <a:lnTo>
                    <a:pt x="107911" y="30048"/>
                  </a:lnTo>
                  <a:lnTo>
                    <a:pt x="116458" y="9416"/>
                  </a:lnTo>
                  <a:cubicBezTo>
                    <a:pt x="122275" y="3598"/>
                    <a:pt x="130312" y="0"/>
                    <a:pt x="139189" y="0"/>
                  </a:cubicBezTo>
                  <a:lnTo>
                    <a:pt x="182279" y="0"/>
                  </a:lnTo>
                  <a:cubicBezTo>
                    <a:pt x="191156" y="0"/>
                    <a:pt x="199193" y="3598"/>
                    <a:pt x="205010" y="9416"/>
                  </a:cubicBezTo>
                  <a:lnTo>
                    <a:pt x="213557" y="30048"/>
                  </a:lnTo>
                  <a:lnTo>
                    <a:pt x="252339" y="30048"/>
                  </a:lnTo>
                  <a:cubicBezTo>
                    <a:pt x="278662" y="30048"/>
                    <a:pt x="302492" y="40718"/>
                    <a:pt x="319742" y="57968"/>
                  </a:cubicBezTo>
                  <a:lnTo>
                    <a:pt x="336441" y="82735"/>
                  </a:lnTo>
                  <a:lnTo>
                    <a:pt x="522692" y="80848"/>
                  </a:lnTo>
                  <a:lnTo>
                    <a:pt x="617515" y="160167"/>
                  </a:lnTo>
                  <a:lnTo>
                    <a:pt x="491168" y="247450"/>
                  </a:lnTo>
                  <a:lnTo>
                    <a:pt x="330992" y="235629"/>
                  </a:lnTo>
                  <a:lnTo>
                    <a:pt x="330992" y="234909"/>
                  </a:lnTo>
                  <a:lnTo>
                    <a:pt x="319742" y="251594"/>
                  </a:lnTo>
                  <a:cubicBezTo>
                    <a:pt x="302492" y="268845"/>
                    <a:pt x="278662" y="279514"/>
                    <a:pt x="252339" y="279514"/>
                  </a:cubicBezTo>
                  <a:lnTo>
                    <a:pt x="213557" y="279514"/>
                  </a:lnTo>
                  <a:lnTo>
                    <a:pt x="205010" y="300146"/>
                  </a:lnTo>
                  <a:cubicBezTo>
                    <a:pt x="199193" y="305964"/>
                    <a:pt x="191156" y="309562"/>
                    <a:pt x="182279" y="309562"/>
                  </a:cubicBezTo>
                  <a:lnTo>
                    <a:pt x="139189" y="309562"/>
                  </a:lnTo>
                  <a:cubicBezTo>
                    <a:pt x="130312" y="309562"/>
                    <a:pt x="122275" y="305964"/>
                    <a:pt x="116458" y="300146"/>
                  </a:cubicBezTo>
                  <a:lnTo>
                    <a:pt x="107911" y="279514"/>
                  </a:lnTo>
                  <a:lnTo>
                    <a:pt x="95323" y="279514"/>
                  </a:lnTo>
                  <a:cubicBezTo>
                    <a:pt x="42678" y="279514"/>
                    <a:pt x="0" y="236836"/>
                    <a:pt x="0" y="184191"/>
                  </a:cubicBezTo>
                  <a:close/>
                </a:path>
              </a:pathLst>
            </a:cu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07" name="Freeform 16"/>
            <p:cNvSpPr>
              <a:spLocks/>
            </p:cNvSpPr>
            <p:nvPr/>
          </p:nvSpPr>
          <p:spPr bwMode="auto">
            <a:xfrm>
              <a:off x="11046711" y="5029416"/>
              <a:ext cx="104877" cy="170653"/>
            </a:xfrm>
            <a:custGeom>
              <a:avLst/>
              <a:gdLst>
                <a:gd name="T0" fmla="*/ 0 w 47"/>
                <a:gd name="T1" fmla="*/ 94 h 94"/>
                <a:gd name="T2" fmla="*/ 0 w 47"/>
                <a:gd name="T3" fmla="*/ 0 h 94"/>
                <a:gd name="T4" fmla="*/ 47 w 47"/>
                <a:gd name="T5" fmla="*/ 47 h 94"/>
                <a:gd name="T6" fmla="*/ 0 w 47"/>
                <a:gd name="T7" fmla="*/ 94 h 94"/>
              </a:gdLst>
              <a:ahLst/>
              <a:cxnLst>
                <a:cxn ang="0">
                  <a:pos x="T0" y="T1"/>
                </a:cxn>
                <a:cxn ang="0">
                  <a:pos x="T2" y="T3"/>
                </a:cxn>
                <a:cxn ang="0">
                  <a:pos x="T4" y="T5"/>
                </a:cxn>
                <a:cxn ang="0">
                  <a:pos x="T6" y="T7"/>
                </a:cxn>
              </a:cxnLst>
              <a:rect l="0" t="0" r="r" b="b"/>
              <a:pathLst>
                <a:path w="47" h="94">
                  <a:moveTo>
                    <a:pt x="0" y="94"/>
                  </a:moveTo>
                  <a:cubicBezTo>
                    <a:pt x="0" y="0"/>
                    <a:pt x="0" y="0"/>
                    <a:pt x="0" y="0"/>
                  </a:cubicBezTo>
                  <a:cubicBezTo>
                    <a:pt x="26" y="0"/>
                    <a:pt x="47" y="21"/>
                    <a:pt x="47" y="47"/>
                  </a:cubicBezTo>
                  <a:cubicBezTo>
                    <a:pt x="47" y="73"/>
                    <a:pt x="26" y="94"/>
                    <a:pt x="0" y="94"/>
                  </a:cubicBezTo>
                  <a:close/>
                </a:path>
              </a:pathLst>
            </a:custGeom>
            <a:solidFill>
              <a:srgbClr val="FDB813"/>
            </a:solidFill>
            <a:ln>
              <a:noFill/>
            </a:ln>
            <a:extLst/>
          </p:spPr>
          <p:txBody>
            <a:bodyPr vert="horz" wrap="square" lIns="91440" tIns="45720" rIns="91440" bIns="45720" numCol="1" anchor="t" anchorCtr="0" compatLnSpc="1">
              <a:prstTxWarp prst="textNoShape">
                <a:avLst/>
              </a:prstTxWarp>
            </a:bodyPr>
            <a:lstStyle/>
            <a:p>
              <a:pPr defTabSz="914400">
                <a:defRPr/>
              </a:pPr>
              <a:endParaRPr lang="en-US" sz="1800" kern="0" dirty="0" smtClean="0">
                <a:solidFill>
                  <a:srgbClr val="3F3F3F"/>
                </a:solidFill>
              </a:endParaRPr>
            </a:p>
          </p:txBody>
        </p:sp>
        <p:grpSp>
          <p:nvGrpSpPr>
            <p:cNvPr id="208" name="Group 207"/>
            <p:cNvGrpSpPr/>
            <p:nvPr/>
          </p:nvGrpSpPr>
          <p:grpSpPr>
            <a:xfrm flipH="1">
              <a:off x="10220199" y="4673037"/>
              <a:ext cx="200204" cy="842863"/>
              <a:chOff x="6431780" y="1926236"/>
              <a:chExt cx="238124" cy="1002506"/>
            </a:xfrm>
          </p:grpSpPr>
          <p:sp>
            <p:nvSpPr>
              <p:cNvPr id="252" name="Rounded Rectangle 251"/>
              <p:cNvSpPr/>
              <p:nvPr/>
            </p:nvSpPr>
            <p:spPr bwMode="auto">
              <a:xfrm>
                <a:off x="6552349" y="2757292"/>
                <a:ext cx="106928" cy="171450"/>
              </a:xfrm>
              <a:prstGeom prst="roundRect">
                <a:avLst>
                  <a:gd name="adj" fmla="val 50000"/>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53" name="Freeform 252"/>
              <p:cNvSpPr/>
              <p:nvPr/>
            </p:nvSpPr>
            <p:spPr bwMode="auto">
              <a:xfrm>
                <a:off x="6431780" y="1926236"/>
                <a:ext cx="238124" cy="895350"/>
              </a:xfrm>
              <a:custGeom>
                <a:avLst/>
                <a:gdLst>
                  <a:gd name="connsiteX0" fmla="*/ 7144 w 238125"/>
                  <a:gd name="connsiteY0" fmla="*/ 0 h 833437"/>
                  <a:gd name="connsiteX1" fmla="*/ 238125 w 238125"/>
                  <a:gd name="connsiteY1" fmla="*/ 833437 h 833437"/>
                  <a:gd name="connsiteX2" fmla="*/ 109537 w 238125"/>
                  <a:gd name="connsiteY2" fmla="*/ 833437 h 833437"/>
                  <a:gd name="connsiteX3" fmla="*/ 0 w 238125"/>
                  <a:gd name="connsiteY3" fmla="*/ 361950 h 833437"/>
                  <a:gd name="connsiteX4" fmla="*/ 7144 w 238125"/>
                  <a:gd name="connsiteY4" fmla="*/ 0 h 833437"/>
                  <a:gd name="connsiteX0" fmla="*/ 7144 w 238125"/>
                  <a:gd name="connsiteY0" fmla="*/ 0 h 833437"/>
                  <a:gd name="connsiteX1" fmla="*/ 238125 w 238125"/>
                  <a:gd name="connsiteY1" fmla="*/ 833437 h 833437"/>
                  <a:gd name="connsiteX2" fmla="*/ 109537 w 238125"/>
                  <a:gd name="connsiteY2" fmla="*/ 833437 h 833437"/>
                  <a:gd name="connsiteX3" fmla="*/ 0 w 238125"/>
                  <a:gd name="connsiteY3" fmla="*/ 361950 h 833437"/>
                  <a:gd name="connsiteX4" fmla="*/ 7144 w 238125"/>
                  <a:gd name="connsiteY4" fmla="*/ 0 h 833437"/>
                  <a:gd name="connsiteX0" fmla="*/ 7144 w 238125"/>
                  <a:gd name="connsiteY0" fmla="*/ 0 h 833437"/>
                  <a:gd name="connsiteX1" fmla="*/ 238125 w 238125"/>
                  <a:gd name="connsiteY1" fmla="*/ 833437 h 833437"/>
                  <a:gd name="connsiteX2" fmla="*/ 109537 w 238125"/>
                  <a:gd name="connsiteY2" fmla="*/ 833437 h 833437"/>
                  <a:gd name="connsiteX3" fmla="*/ 0 w 238125"/>
                  <a:gd name="connsiteY3" fmla="*/ 361950 h 833437"/>
                  <a:gd name="connsiteX4" fmla="*/ 7144 w 238125"/>
                  <a:gd name="connsiteY4" fmla="*/ 0 h 833437"/>
                  <a:gd name="connsiteX0" fmla="*/ 7144 w 238125"/>
                  <a:gd name="connsiteY0" fmla="*/ 0 h 833437"/>
                  <a:gd name="connsiteX1" fmla="*/ 238125 w 238125"/>
                  <a:gd name="connsiteY1" fmla="*/ 833437 h 833437"/>
                  <a:gd name="connsiteX2" fmla="*/ 109537 w 238125"/>
                  <a:gd name="connsiteY2" fmla="*/ 833437 h 833437"/>
                  <a:gd name="connsiteX3" fmla="*/ 0 w 238125"/>
                  <a:gd name="connsiteY3" fmla="*/ 361950 h 833437"/>
                  <a:gd name="connsiteX4" fmla="*/ 7144 w 238125"/>
                  <a:gd name="connsiteY4" fmla="*/ 0 h 833437"/>
                  <a:gd name="connsiteX0" fmla="*/ 7144 w 238125"/>
                  <a:gd name="connsiteY0" fmla="*/ 0 h 833437"/>
                  <a:gd name="connsiteX1" fmla="*/ 238125 w 238125"/>
                  <a:gd name="connsiteY1" fmla="*/ 833437 h 833437"/>
                  <a:gd name="connsiteX2" fmla="*/ 109537 w 238125"/>
                  <a:gd name="connsiteY2" fmla="*/ 833437 h 833437"/>
                  <a:gd name="connsiteX3" fmla="*/ 0 w 238125"/>
                  <a:gd name="connsiteY3" fmla="*/ 361950 h 833437"/>
                  <a:gd name="connsiteX4" fmla="*/ 7144 w 238125"/>
                  <a:gd name="connsiteY4" fmla="*/ 0 h 833437"/>
                  <a:gd name="connsiteX0" fmla="*/ 7144 w 238125"/>
                  <a:gd name="connsiteY0" fmla="*/ 0 h 833437"/>
                  <a:gd name="connsiteX1" fmla="*/ 238125 w 238125"/>
                  <a:gd name="connsiteY1" fmla="*/ 833437 h 833437"/>
                  <a:gd name="connsiteX2" fmla="*/ 109537 w 238125"/>
                  <a:gd name="connsiteY2" fmla="*/ 833437 h 833437"/>
                  <a:gd name="connsiteX3" fmla="*/ 0 w 238125"/>
                  <a:gd name="connsiteY3" fmla="*/ 361950 h 833437"/>
                  <a:gd name="connsiteX4" fmla="*/ 7144 w 238125"/>
                  <a:gd name="connsiteY4" fmla="*/ 0 h 833437"/>
                  <a:gd name="connsiteX0" fmla="*/ 33338 w 238125"/>
                  <a:gd name="connsiteY0" fmla="*/ 0 h 895350"/>
                  <a:gd name="connsiteX1" fmla="*/ 238125 w 238125"/>
                  <a:gd name="connsiteY1" fmla="*/ 895350 h 895350"/>
                  <a:gd name="connsiteX2" fmla="*/ 109537 w 238125"/>
                  <a:gd name="connsiteY2" fmla="*/ 895350 h 895350"/>
                  <a:gd name="connsiteX3" fmla="*/ 0 w 238125"/>
                  <a:gd name="connsiteY3" fmla="*/ 423863 h 895350"/>
                  <a:gd name="connsiteX4" fmla="*/ 33338 w 238125"/>
                  <a:gd name="connsiteY4" fmla="*/ 0 h 895350"/>
                  <a:gd name="connsiteX0" fmla="*/ 9525 w 214312"/>
                  <a:gd name="connsiteY0" fmla="*/ 0 h 895350"/>
                  <a:gd name="connsiteX1" fmla="*/ 214312 w 214312"/>
                  <a:gd name="connsiteY1" fmla="*/ 895350 h 895350"/>
                  <a:gd name="connsiteX2" fmla="*/ 85724 w 214312"/>
                  <a:gd name="connsiteY2" fmla="*/ 895350 h 895350"/>
                  <a:gd name="connsiteX3" fmla="*/ 0 w 214312"/>
                  <a:gd name="connsiteY3" fmla="*/ 350045 h 895350"/>
                  <a:gd name="connsiteX4" fmla="*/ 9525 w 214312"/>
                  <a:gd name="connsiteY4" fmla="*/ 0 h 895350"/>
                  <a:gd name="connsiteX0" fmla="*/ 33337 w 238124"/>
                  <a:gd name="connsiteY0" fmla="*/ 0 h 895350"/>
                  <a:gd name="connsiteX1" fmla="*/ 238124 w 238124"/>
                  <a:gd name="connsiteY1" fmla="*/ 895350 h 895350"/>
                  <a:gd name="connsiteX2" fmla="*/ 109536 w 238124"/>
                  <a:gd name="connsiteY2" fmla="*/ 895350 h 895350"/>
                  <a:gd name="connsiteX3" fmla="*/ 0 w 238124"/>
                  <a:gd name="connsiteY3" fmla="*/ 350045 h 895350"/>
                  <a:gd name="connsiteX4" fmla="*/ 33337 w 238124"/>
                  <a:gd name="connsiteY4" fmla="*/ 0 h 895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124" h="895350">
                    <a:moveTo>
                      <a:pt x="33337" y="0"/>
                    </a:moveTo>
                    <a:cubicBezTo>
                      <a:pt x="129381" y="253999"/>
                      <a:pt x="215899" y="558007"/>
                      <a:pt x="238124" y="895350"/>
                    </a:cubicBezTo>
                    <a:lnTo>
                      <a:pt x="109536" y="895350"/>
                    </a:lnTo>
                    <a:cubicBezTo>
                      <a:pt x="94456" y="776289"/>
                      <a:pt x="74612" y="504826"/>
                      <a:pt x="0" y="350045"/>
                    </a:cubicBezTo>
                    <a:lnTo>
                      <a:pt x="33337" y="0"/>
                    </a:lnTo>
                    <a:close/>
                  </a:path>
                </a:pathLst>
              </a:cu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209" name="Freeform 208"/>
            <p:cNvSpPr/>
            <p:nvPr/>
          </p:nvSpPr>
          <p:spPr bwMode="auto">
            <a:xfrm flipH="1">
              <a:off x="10382170" y="5408192"/>
              <a:ext cx="441604" cy="962583"/>
            </a:xfrm>
            <a:custGeom>
              <a:avLst/>
              <a:gdLst>
                <a:gd name="connsiteX0" fmla="*/ 525245 w 525245"/>
                <a:gd name="connsiteY0" fmla="*/ 0 h 1144902"/>
                <a:gd name="connsiteX1" fmla="*/ 312606 w 525245"/>
                <a:gd name="connsiteY1" fmla="*/ 0 h 1144902"/>
                <a:gd name="connsiteX2" fmla="*/ 312606 w 525245"/>
                <a:gd name="connsiteY2" fmla="*/ 33054 h 1144902"/>
                <a:gd name="connsiteX3" fmla="*/ 198983 w 525245"/>
                <a:gd name="connsiteY3" fmla="*/ 33054 h 1144902"/>
                <a:gd name="connsiteX4" fmla="*/ 198983 w 525245"/>
                <a:gd name="connsiteY4" fmla="*/ 0 h 1144902"/>
                <a:gd name="connsiteX5" fmla="*/ 0 w 525245"/>
                <a:gd name="connsiteY5" fmla="*/ 0 h 1144902"/>
                <a:gd name="connsiteX6" fmla="*/ 0 w 525245"/>
                <a:gd name="connsiteY6" fmla="*/ 45719 h 1144902"/>
                <a:gd name="connsiteX7" fmla="*/ 20739 w 525245"/>
                <a:gd name="connsiteY7" fmla="*/ 45719 h 1144902"/>
                <a:gd name="connsiteX8" fmla="*/ 73857 w 525245"/>
                <a:gd name="connsiteY8" fmla="*/ 1144902 h 1144902"/>
                <a:gd name="connsiteX9" fmla="*/ 223876 w 525245"/>
                <a:gd name="connsiteY9" fmla="*/ 1142521 h 1144902"/>
                <a:gd name="connsiteX10" fmla="*/ 263646 w 525245"/>
                <a:gd name="connsiteY10" fmla="*/ 218443 h 1144902"/>
                <a:gd name="connsiteX11" fmla="*/ 267345 w 525245"/>
                <a:gd name="connsiteY11" fmla="*/ 217759 h 1144902"/>
                <a:gd name="connsiteX12" fmla="*/ 302458 w 525245"/>
                <a:gd name="connsiteY12" fmla="*/ 1135377 h 1144902"/>
                <a:gd name="connsiteX13" fmla="*/ 454857 w 525245"/>
                <a:gd name="connsiteY13" fmla="*/ 1132996 h 1144902"/>
                <a:gd name="connsiteX14" fmla="*/ 500546 w 525245"/>
                <a:gd name="connsiteY14" fmla="*/ 45719 h 1144902"/>
                <a:gd name="connsiteX15" fmla="*/ 525245 w 525245"/>
                <a:gd name="connsiteY15" fmla="*/ 45719 h 1144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25245" h="1144902">
                  <a:moveTo>
                    <a:pt x="525245" y="0"/>
                  </a:moveTo>
                  <a:lnTo>
                    <a:pt x="312606" y="0"/>
                  </a:lnTo>
                  <a:lnTo>
                    <a:pt x="312606" y="33054"/>
                  </a:lnTo>
                  <a:lnTo>
                    <a:pt x="198983" y="33054"/>
                  </a:lnTo>
                  <a:lnTo>
                    <a:pt x="198983" y="0"/>
                  </a:lnTo>
                  <a:lnTo>
                    <a:pt x="0" y="0"/>
                  </a:lnTo>
                  <a:lnTo>
                    <a:pt x="0" y="45719"/>
                  </a:lnTo>
                  <a:lnTo>
                    <a:pt x="20739" y="45719"/>
                  </a:lnTo>
                  <a:lnTo>
                    <a:pt x="73857" y="1144902"/>
                  </a:lnTo>
                  <a:cubicBezTo>
                    <a:pt x="126244" y="1144902"/>
                    <a:pt x="171489" y="1142521"/>
                    <a:pt x="223876" y="1142521"/>
                  </a:cubicBezTo>
                  <a:lnTo>
                    <a:pt x="263646" y="218443"/>
                  </a:lnTo>
                  <a:lnTo>
                    <a:pt x="267345" y="217759"/>
                  </a:lnTo>
                  <a:lnTo>
                    <a:pt x="302458" y="1135377"/>
                  </a:lnTo>
                  <a:lnTo>
                    <a:pt x="454857" y="1132996"/>
                  </a:lnTo>
                  <a:lnTo>
                    <a:pt x="500546" y="45719"/>
                  </a:lnTo>
                  <a:lnTo>
                    <a:pt x="525245" y="45719"/>
                  </a:lnTo>
                  <a:close/>
                </a:path>
              </a:pathLst>
            </a:custGeom>
            <a:solidFill>
              <a:schemeClr val="tx1">
                <a:lumMod val="85000"/>
                <a:lumOff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10" name="Freeform 209"/>
            <p:cNvSpPr/>
            <p:nvPr/>
          </p:nvSpPr>
          <p:spPr bwMode="auto">
            <a:xfrm>
              <a:off x="10623040" y="6355426"/>
              <a:ext cx="157822" cy="78237"/>
            </a:xfrm>
            <a:custGeom>
              <a:avLst/>
              <a:gdLst>
                <a:gd name="connsiteX0" fmla="*/ 93857 w 187714"/>
                <a:gd name="connsiteY0" fmla="*/ 0 h 93056"/>
                <a:gd name="connsiteX1" fmla="*/ 180525 w 187714"/>
                <a:gd name="connsiteY1" fmla="*/ 57448 h 93056"/>
                <a:gd name="connsiteX2" fmla="*/ 187714 w 187714"/>
                <a:gd name="connsiteY2" fmla="*/ 93056 h 93056"/>
                <a:gd name="connsiteX3" fmla="*/ 0 w 187714"/>
                <a:gd name="connsiteY3" fmla="*/ 93056 h 93056"/>
                <a:gd name="connsiteX4" fmla="*/ 7189 w 187714"/>
                <a:gd name="connsiteY4" fmla="*/ 57448 h 93056"/>
                <a:gd name="connsiteX5" fmla="*/ 93857 w 187714"/>
                <a:gd name="connsiteY5" fmla="*/ 0 h 93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7714" h="93056">
                  <a:moveTo>
                    <a:pt x="93857" y="0"/>
                  </a:moveTo>
                  <a:cubicBezTo>
                    <a:pt x="132818" y="0"/>
                    <a:pt x="166246" y="23688"/>
                    <a:pt x="180525" y="57448"/>
                  </a:cubicBezTo>
                  <a:lnTo>
                    <a:pt x="187714" y="93056"/>
                  </a:lnTo>
                  <a:lnTo>
                    <a:pt x="0" y="93056"/>
                  </a:lnTo>
                  <a:lnTo>
                    <a:pt x="7189" y="57448"/>
                  </a:lnTo>
                  <a:cubicBezTo>
                    <a:pt x="21468" y="23688"/>
                    <a:pt x="54896" y="0"/>
                    <a:pt x="93857" y="0"/>
                  </a:cubicBezTo>
                  <a:close/>
                </a:path>
              </a:pathLst>
            </a:custGeom>
            <a:solidFill>
              <a:schemeClr val="tx1">
                <a:lumMod val="95000"/>
                <a:lumOff val="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11" name="Freeform 210"/>
            <p:cNvSpPr/>
            <p:nvPr/>
          </p:nvSpPr>
          <p:spPr bwMode="auto">
            <a:xfrm>
              <a:off x="10424835" y="6347417"/>
              <a:ext cx="157822" cy="78237"/>
            </a:xfrm>
            <a:custGeom>
              <a:avLst/>
              <a:gdLst>
                <a:gd name="connsiteX0" fmla="*/ 93857 w 187714"/>
                <a:gd name="connsiteY0" fmla="*/ 0 h 93056"/>
                <a:gd name="connsiteX1" fmla="*/ 180525 w 187714"/>
                <a:gd name="connsiteY1" fmla="*/ 57448 h 93056"/>
                <a:gd name="connsiteX2" fmla="*/ 187714 w 187714"/>
                <a:gd name="connsiteY2" fmla="*/ 93056 h 93056"/>
                <a:gd name="connsiteX3" fmla="*/ 0 w 187714"/>
                <a:gd name="connsiteY3" fmla="*/ 93056 h 93056"/>
                <a:gd name="connsiteX4" fmla="*/ 7189 w 187714"/>
                <a:gd name="connsiteY4" fmla="*/ 57448 h 93056"/>
                <a:gd name="connsiteX5" fmla="*/ 93857 w 187714"/>
                <a:gd name="connsiteY5" fmla="*/ 0 h 93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7714" h="93056">
                  <a:moveTo>
                    <a:pt x="93857" y="0"/>
                  </a:moveTo>
                  <a:cubicBezTo>
                    <a:pt x="132818" y="0"/>
                    <a:pt x="166246" y="23688"/>
                    <a:pt x="180525" y="57448"/>
                  </a:cubicBezTo>
                  <a:lnTo>
                    <a:pt x="187714" y="93056"/>
                  </a:lnTo>
                  <a:lnTo>
                    <a:pt x="0" y="93056"/>
                  </a:lnTo>
                  <a:lnTo>
                    <a:pt x="7189" y="57448"/>
                  </a:lnTo>
                  <a:cubicBezTo>
                    <a:pt x="21468" y="23688"/>
                    <a:pt x="54896" y="0"/>
                    <a:pt x="93857" y="0"/>
                  </a:cubicBezTo>
                  <a:close/>
                </a:path>
              </a:pathLst>
            </a:custGeom>
            <a:solidFill>
              <a:schemeClr val="tx1">
                <a:lumMod val="95000"/>
                <a:lumOff val="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12" name="Freeform 211"/>
            <p:cNvSpPr/>
            <p:nvPr/>
          </p:nvSpPr>
          <p:spPr bwMode="auto">
            <a:xfrm>
              <a:off x="10795715" y="4673037"/>
              <a:ext cx="262579" cy="515747"/>
            </a:xfrm>
            <a:custGeom>
              <a:avLst/>
              <a:gdLst>
                <a:gd name="connsiteX0" fmla="*/ 7144 w 238125"/>
                <a:gd name="connsiteY0" fmla="*/ 0 h 833437"/>
                <a:gd name="connsiteX1" fmla="*/ 238125 w 238125"/>
                <a:gd name="connsiteY1" fmla="*/ 833437 h 833437"/>
                <a:gd name="connsiteX2" fmla="*/ 109537 w 238125"/>
                <a:gd name="connsiteY2" fmla="*/ 833437 h 833437"/>
                <a:gd name="connsiteX3" fmla="*/ 0 w 238125"/>
                <a:gd name="connsiteY3" fmla="*/ 361950 h 833437"/>
                <a:gd name="connsiteX4" fmla="*/ 7144 w 238125"/>
                <a:gd name="connsiteY4" fmla="*/ 0 h 833437"/>
                <a:gd name="connsiteX0" fmla="*/ 7144 w 238125"/>
                <a:gd name="connsiteY0" fmla="*/ 0 h 833437"/>
                <a:gd name="connsiteX1" fmla="*/ 238125 w 238125"/>
                <a:gd name="connsiteY1" fmla="*/ 833437 h 833437"/>
                <a:gd name="connsiteX2" fmla="*/ 109537 w 238125"/>
                <a:gd name="connsiteY2" fmla="*/ 833437 h 833437"/>
                <a:gd name="connsiteX3" fmla="*/ 0 w 238125"/>
                <a:gd name="connsiteY3" fmla="*/ 361950 h 833437"/>
                <a:gd name="connsiteX4" fmla="*/ 7144 w 238125"/>
                <a:gd name="connsiteY4" fmla="*/ 0 h 833437"/>
                <a:gd name="connsiteX0" fmla="*/ 7144 w 238125"/>
                <a:gd name="connsiteY0" fmla="*/ 0 h 833437"/>
                <a:gd name="connsiteX1" fmla="*/ 238125 w 238125"/>
                <a:gd name="connsiteY1" fmla="*/ 833437 h 833437"/>
                <a:gd name="connsiteX2" fmla="*/ 109537 w 238125"/>
                <a:gd name="connsiteY2" fmla="*/ 833437 h 833437"/>
                <a:gd name="connsiteX3" fmla="*/ 0 w 238125"/>
                <a:gd name="connsiteY3" fmla="*/ 361950 h 833437"/>
                <a:gd name="connsiteX4" fmla="*/ 7144 w 238125"/>
                <a:gd name="connsiteY4" fmla="*/ 0 h 833437"/>
                <a:gd name="connsiteX0" fmla="*/ 7144 w 238125"/>
                <a:gd name="connsiteY0" fmla="*/ 0 h 833437"/>
                <a:gd name="connsiteX1" fmla="*/ 238125 w 238125"/>
                <a:gd name="connsiteY1" fmla="*/ 833437 h 833437"/>
                <a:gd name="connsiteX2" fmla="*/ 109537 w 238125"/>
                <a:gd name="connsiteY2" fmla="*/ 833437 h 833437"/>
                <a:gd name="connsiteX3" fmla="*/ 0 w 238125"/>
                <a:gd name="connsiteY3" fmla="*/ 361950 h 833437"/>
                <a:gd name="connsiteX4" fmla="*/ 7144 w 238125"/>
                <a:gd name="connsiteY4" fmla="*/ 0 h 833437"/>
                <a:gd name="connsiteX0" fmla="*/ 7144 w 238125"/>
                <a:gd name="connsiteY0" fmla="*/ 0 h 833437"/>
                <a:gd name="connsiteX1" fmla="*/ 238125 w 238125"/>
                <a:gd name="connsiteY1" fmla="*/ 833437 h 833437"/>
                <a:gd name="connsiteX2" fmla="*/ 109537 w 238125"/>
                <a:gd name="connsiteY2" fmla="*/ 833437 h 833437"/>
                <a:gd name="connsiteX3" fmla="*/ 0 w 238125"/>
                <a:gd name="connsiteY3" fmla="*/ 361950 h 833437"/>
                <a:gd name="connsiteX4" fmla="*/ 7144 w 238125"/>
                <a:gd name="connsiteY4" fmla="*/ 0 h 833437"/>
                <a:gd name="connsiteX0" fmla="*/ 7144 w 238125"/>
                <a:gd name="connsiteY0" fmla="*/ 0 h 833437"/>
                <a:gd name="connsiteX1" fmla="*/ 238125 w 238125"/>
                <a:gd name="connsiteY1" fmla="*/ 833437 h 833437"/>
                <a:gd name="connsiteX2" fmla="*/ 109537 w 238125"/>
                <a:gd name="connsiteY2" fmla="*/ 833437 h 833437"/>
                <a:gd name="connsiteX3" fmla="*/ 0 w 238125"/>
                <a:gd name="connsiteY3" fmla="*/ 361950 h 833437"/>
                <a:gd name="connsiteX4" fmla="*/ 7144 w 238125"/>
                <a:gd name="connsiteY4" fmla="*/ 0 h 833437"/>
                <a:gd name="connsiteX0" fmla="*/ 33338 w 238125"/>
                <a:gd name="connsiteY0" fmla="*/ 0 h 895350"/>
                <a:gd name="connsiteX1" fmla="*/ 238125 w 238125"/>
                <a:gd name="connsiteY1" fmla="*/ 895350 h 895350"/>
                <a:gd name="connsiteX2" fmla="*/ 109537 w 238125"/>
                <a:gd name="connsiteY2" fmla="*/ 895350 h 895350"/>
                <a:gd name="connsiteX3" fmla="*/ 0 w 238125"/>
                <a:gd name="connsiteY3" fmla="*/ 423863 h 895350"/>
                <a:gd name="connsiteX4" fmla="*/ 33338 w 238125"/>
                <a:gd name="connsiteY4" fmla="*/ 0 h 895350"/>
                <a:gd name="connsiteX0" fmla="*/ 9525 w 214312"/>
                <a:gd name="connsiteY0" fmla="*/ 0 h 895350"/>
                <a:gd name="connsiteX1" fmla="*/ 214312 w 214312"/>
                <a:gd name="connsiteY1" fmla="*/ 895350 h 895350"/>
                <a:gd name="connsiteX2" fmla="*/ 85724 w 214312"/>
                <a:gd name="connsiteY2" fmla="*/ 895350 h 895350"/>
                <a:gd name="connsiteX3" fmla="*/ 0 w 214312"/>
                <a:gd name="connsiteY3" fmla="*/ 350045 h 895350"/>
                <a:gd name="connsiteX4" fmla="*/ 9525 w 214312"/>
                <a:gd name="connsiteY4" fmla="*/ 0 h 895350"/>
                <a:gd name="connsiteX0" fmla="*/ 33337 w 238124"/>
                <a:gd name="connsiteY0" fmla="*/ 0 h 895350"/>
                <a:gd name="connsiteX1" fmla="*/ 238124 w 238124"/>
                <a:gd name="connsiteY1" fmla="*/ 895350 h 895350"/>
                <a:gd name="connsiteX2" fmla="*/ 109536 w 238124"/>
                <a:gd name="connsiteY2" fmla="*/ 895350 h 895350"/>
                <a:gd name="connsiteX3" fmla="*/ 0 w 238124"/>
                <a:gd name="connsiteY3" fmla="*/ 350045 h 895350"/>
                <a:gd name="connsiteX4" fmla="*/ 33337 w 238124"/>
                <a:gd name="connsiteY4" fmla="*/ 0 h 895350"/>
                <a:gd name="connsiteX0" fmla="*/ 33337 w 312313"/>
                <a:gd name="connsiteY0" fmla="*/ 0 h 895350"/>
                <a:gd name="connsiteX1" fmla="*/ 312313 w 312313"/>
                <a:gd name="connsiteY1" fmla="*/ 465057 h 895350"/>
                <a:gd name="connsiteX2" fmla="*/ 109536 w 312313"/>
                <a:gd name="connsiteY2" fmla="*/ 895350 h 895350"/>
                <a:gd name="connsiteX3" fmla="*/ 0 w 312313"/>
                <a:gd name="connsiteY3" fmla="*/ 350045 h 895350"/>
                <a:gd name="connsiteX4" fmla="*/ 33337 w 312313"/>
                <a:gd name="connsiteY4" fmla="*/ 0 h 895350"/>
                <a:gd name="connsiteX0" fmla="*/ 33337 w 312313"/>
                <a:gd name="connsiteY0" fmla="*/ 0 h 895350"/>
                <a:gd name="connsiteX1" fmla="*/ 312313 w 312313"/>
                <a:gd name="connsiteY1" fmla="*/ 465057 h 895350"/>
                <a:gd name="connsiteX2" fmla="*/ 109536 w 312313"/>
                <a:gd name="connsiteY2" fmla="*/ 895350 h 895350"/>
                <a:gd name="connsiteX3" fmla="*/ 0 w 312313"/>
                <a:gd name="connsiteY3" fmla="*/ 350045 h 895350"/>
                <a:gd name="connsiteX4" fmla="*/ 33337 w 312313"/>
                <a:gd name="connsiteY4" fmla="*/ 0 h 895350"/>
                <a:gd name="connsiteX0" fmla="*/ 33337 w 312313"/>
                <a:gd name="connsiteY0" fmla="*/ 0 h 613434"/>
                <a:gd name="connsiteX1" fmla="*/ 312313 w 312313"/>
                <a:gd name="connsiteY1" fmla="*/ 465057 h 613434"/>
                <a:gd name="connsiteX2" fmla="*/ 282643 w 312313"/>
                <a:gd name="connsiteY2" fmla="*/ 613434 h 613434"/>
                <a:gd name="connsiteX3" fmla="*/ 0 w 312313"/>
                <a:gd name="connsiteY3" fmla="*/ 350045 h 613434"/>
                <a:gd name="connsiteX4" fmla="*/ 33337 w 312313"/>
                <a:gd name="connsiteY4" fmla="*/ 0 h 613434"/>
                <a:gd name="connsiteX0" fmla="*/ 33337 w 312313"/>
                <a:gd name="connsiteY0" fmla="*/ 0 h 613434"/>
                <a:gd name="connsiteX1" fmla="*/ 312313 w 312313"/>
                <a:gd name="connsiteY1" fmla="*/ 465057 h 613434"/>
                <a:gd name="connsiteX2" fmla="*/ 282643 w 312313"/>
                <a:gd name="connsiteY2" fmla="*/ 613434 h 613434"/>
                <a:gd name="connsiteX3" fmla="*/ 0 w 312313"/>
                <a:gd name="connsiteY3" fmla="*/ 350045 h 613434"/>
                <a:gd name="connsiteX4" fmla="*/ 33337 w 312313"/>
                <a:gd name="connsiteY4" fmla="*/ 0 h 613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313" h="613434">
                  <a:moveTo>
                    <a:pt x="33337" y="0"/>
                  </a:moveTo>
                  <a:cubicBezTo>
                    <a:pt x="129381" y="253999"/>
                    <a:pt x="126872" y="177173"/>
                    <a:pt x="312313" y="465057"/>
                  </a:cubicBezTo>
                  <a:cubicBezTo>
                    <a:pt x="269450" y="465057"/>
                    <a:pt x="325506" y="613434"/>
                    <a:pt x="282643" y="613434"/>
                  </a:cubicBezTo>
                  <a:cubicBezTo>
                    <a:pt x="198321" y="538886"/>
                    <a:pt x="74612" y="504826"/>
                    <a:pt x="0" y="350045"/>
                  </a:cubicBezTo>
                  <a:lnTo>
                    <a:pt x="33337" y="0"/>
                  </a:lnTo>
                  <a:close/>
                </a:path>
              </a:pathLst>
            </a:cu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13" name="Rectangle 109"/>
            <p:cNvSpPr/>
            <p:nvPr/>
          </p:nvSpPr>
          <p:spPr bwMode="auto">
            <a:xfrm>
              <a:off x="10438252" y="4659637"/>
              <a:ext cx="328337" cy="231168"/>
            </a:xfrm>
            <a:custGeom>
              <a:avLst/>
              <a:gdLst>
                <a:gd name="connsiteX0" fmla="*/ 0 w 390296"/>
                <a:gd name="connsiteY0" fmla="*/ 0 h 571500"/>
                <a:gd name="connsiteX1" fmla="*/ 390296 w 390296"/>
                <a:gd name="connsiteY1" fmla="*/ 0 h 571500"/>
                <a:gd name="connsiteX2" fmla="*/ 390296 w 390296"/>
                <a:gd name="connsiteY2" fmla="*/ 571500 h 571500"/>
                <a:gd name="connsiteX3" fmla="*/ 0 w 390296"/>
                <a:gd name="connsiteY3" fmla="*/ 571500 h 571500"/>
                <a:gd name="connsiteX4" fmla="*/ 0 w 390296"/>
                <a:gd name="connsiteY4" fmla="*/ 0 h 571500"/>
                <a:gd name="connsiteX0" fmla="*/ 0 w 390296"/>
                <a:gd name="connsiteY0" fmla="*/ 2833 h 574333"/>
                <a:gd name="connsiteX1" fmla="*/ 193612 w 390296"/>
                <a:gd name="connsiteY1" fmla="*/ 0 h 574333"/>
                <a:gd name="connsiteX2" fmla="*/ 390296 w 390296"/>
                <a:gd name="connsiteY2" fmla="*/ 2833 h 574333"/>
                <a:gd name="connsiteX3" fmla="*/ 390296 w 390296"/>
                <a:gd name="connsiteY3" fmla="*/ 574333 h 574333"/>
                <a:gd name="connsiteX4" fmla="*/ 0 w 390296"/>
                <a:gd name="connsiteY4" fmla="*/ 574333 h 574333"/>
                <a:gd name="connsiteX5" fmla="*/ 0 w 390296"/>
                <a:gd name="connsiteY5" fmla="*/ 2833 h 574333"/>
                <a:gd name="connsiteX0" fmla="*/ 0 w 390296"/>
                <a:gd name="connsiteY0" fmla="*/ 57601 h 629101"/>
                <a:gd name="connsiteX1" fmla="*/ 188850 w 390296"/>
                <a:gd name="connsiteY1" fmla="*/ 0 h 629101"/>
                <a:gd name="connsiteX2" fmla="*/ 390296 w 390296"/>
                <a:gd name="connsiteY2" fmla="*/ 57601 h 629101"/>
                <a:gd name="connsiteX3" fmla="*/ 390296 w 390296"/>
                <a:gd name="connsiteY3" fmla="*/ 629101 h 629101"/>
                <a:gd name="connsiteX4" fmla="*/ 0 w 390296"/>
                <a:gd name="connsiteY4" fmla="*/ 629101 h 629101"/>
                <a:gd name="connsiteX5" fmla="*/ 0 w 390296"/>
                <a:gd name="connsiteY5" fmla="*/ 57601 h 629101"/>
                <a:gd name="connsiteX0" fmla="*/ 0 w 390296"/>
                <a:gd name="connsiteY0" fmla="*/ 57601 h 629101"/>
                <a:gd name="connsiteX1" fmla="*/ 188850 w 390296"/>
                <a:gd name="connsiteY1" fmla="*/ 0 h 629101"/>
                <a:gd name="connsiteX2" fmla="*/ 390296 w 390296"/>
                <a:gd name="connsiteY2" fmla="*/ 57601 h 629101"/>
                <a:gd name="connsiteX3" fmla="*/ 388874 w 390296"/>
                <a:gd name="connsiteY3" fmla="*/ 328612 h 629101"/>
                <a:gd name="connsiteX4" fmla="*/ 390296 w 390296"/>
                <a:gd name="connsiteY4" fmla="*/ 629101 h 629101"/>
                <a:gd name="connsiteX5" fmla="*/ 0 w 390296"/>
                <a:gd name="connsiteY5" fmla="*/ 629101 h 629101"/>
                <a:gd name="connsiteX6" fmla="*/ 0 w 390296"/>
                <a:gd name="connsiteY6" fmla="*/ 57601 h 629101"/>
                <a:gd name="connsiteX0" fmla="*/ 1651 w 391947"/>
                <a:gd name="connsiteY0" fmla="*/ 57601 h 629101"/>
                <a:gd name="connsiteX1" fmla="*/ 190501 w 391947"/>
                <a:gd name="connsiteY1" fmla="*/ 0 h 629101"/>
                <a:gd name="connsiteX2" fmla="*/ 391947 w 391947"/>
                <a:gd name="connsiteY2" fmla="*/ 57601 h 629101"/>
                <a:gd name="connsiteX3" fmla="*/ 390525 w 391947"/>
                <a:gd name="connsiteY3" fmla="*/ 328612 h 629101"/>
                <a:gd name="connsiteX4" fmla="*/ 391947 w 391947"/>
                <a:gd name="connsiteY4" fmla="*/ 629101 h 629101"/>
                <a:gd name="connsiteX5" fmla="*/ 1651 w 391947"/>
                <a:gd name="connsiteY5" fmla="*/ 629101 h 629101"/>
                <a:gd name="connsiteX6" fmla="*/ 0 w 391947"/>
                <a:gd name="connsiteY6" fmla="*/ 311944 h 629101"/>
                <a:gd name="connsiteX7" fmla="*/ 1651 w 391947"/>
                <a:gd name="connsiteY7" fmla="*/ 57601 h 629101"/>
                <a:gd name="connsiteX0" fmla="*/ 1651 w 391947"/>
                <a:gd name="connsiteY0" fmla="*/ 57601 h 629101"/>
                <a:gd name="connsiteX1" fmla="*/ 190501 w 391947"/>
                <a:gd name="connsiteY1" fmla="*/ 0 h 629101"/>
                <a:gd name="connsiteX2" fmla="*/ 391947 w 391947"/>
                <a:gd name="connsiteY2" fmla="*/ 57601 h 629101"/>
                <a:gd name="connsiteX3" fmla="*/ 390525 w 391947"/>
                <a:gd name="connsiteY3" fmla="*/ 328612 h 629101"/>
                <a:gd name="connsiteX4" fmla="*/ 391947 w 391947"/>
                <a:gd name="connsiteY4" fmla="*/ 629101 h 629101"/>
                <a:gd name="connsiteX5" fmla="*/ 0 w 391947"/>
                <a:gd name="connsiteY5" fmla="*/ 311944 h 629101"/>
                <a:gd name="connsiteX6" fmla="*/ 1651 w 391947"/>
                <a:gd name="connsiteY6" fmla="*/ 57601 h 629101"/>
                <a:gd name="connsiteX0" fmla="*/ 1651 w 391947"/>
                <a:gd name="connsiteY0" fmla="*/ 57601 h 328612"/>
                <a:gd name="connsiteX1" fmla="*/ 190501 w 391947"/>
                <a:gd name="connsiteY1" fmla="*/ 0 h 328612"/>
                <a:gd name="connsiteX2" fmla="*/ 391947 w 391947"/>
                <a:gd name="connsiteY2" fmla="*/ 57601 h 328612"/>
                <a:gd name="connsiteX3" fmla="*/ 390525 w 391947"/>
                <a:gd name="connsiteY3" fmla="*/ 328612 h 328612"/>
                <a:gd name="connsiteX4" fmla="*/ 0 w 391947"/>
                <a:gd name="connsiteY4" fmla="*/ 311944 h 328612"/>
                <a:gd name="connsiteX5" fmla="*/ 1651 w 391947"/>
                <a:gd name="connsiteY5" fmla="*/ 57601 h 328612"/>
                <a:gd name="connsiteX0" fmla="*/ 1651 w 391947"/>
                <a:gd name="connsiteY0" fmla="*/ 10315 h 281326"/>
                <a:gd name="connsiteX1" fmla="*/ 194442 w 391947"/>
                <a:gd name="connsiteY1" fmla="*/ 0 h 281326"/>
                <a:gd name="connsiteX2" fmla="*/ 391947 w 391947"/>
                <a:gd name="connsiteY2" fmla="*/ 10315 h 281326"/>
                <a:gd name="connsiteX3" fmla="*/ 390525 w 391947"/>
                <a:gd name="connsiteY3" fmla="*/ 281326 h 281326"/>
                <a:gd name="connsiteX4" fmla="*/ 0 w 391947"/>
                <a:gd name="connsiteY4" fmla="*/ 264658 h 281326"/>
                <a:gd name="connsiteX5" fmla="*/ 1651 w 391947"/>
                <a:gd name="connsiteY5" fmla="*/ 10315 h 281326"/>
                <a:gd name="connsiteX0" fmla="*/ 1651 w 391947"/>
                <a:gd name="connsiteY0" fmla="*/ 0 h 271011"/>
                <a:gd name="connsiteX1" fmla="*/ 194442 w 391947"/>
                <a:gd name="connsiteY1" fmla="*/ 9387 h 271011"/>
                <a:gd name="connsiteX2" fmla="*/ 391947 w 391947"/>
                <a:gd name="connsiteY2" fmla="*/ 0 h 271011"/>
                <a:gd name="connsiteX3" fmla="*/ 390525 w 391947"/>
                <a:gd name="connsiteY3" fmla="*/ 271011 h 271011"/>
                <a:gd name="connsiteX4" fmla="*/ 0 w 391947"/>
                <a:gd name="connsiteY4" fmla="*/ 254343 h 271011"/>
                <a:gd name="connsiteX5" fmla="*/ 1651 w 391947"/>
                <a:gd name="connsiteY5" fmla="*/ 0 h 271011"/>
                <a:gd name="connsiteX0" fmla="*/ 1651 w 391947"/>
                <a:gd name="connsiteY0" fmla="*/ 0 h 271011"/>
                <a:gd name="connsiteX1" fmla="*/ 194442 w 391947"/>
                <a:gd name="connsiteY1" fmla="*/ 9387 h 271011"/>
                <a:gd name="connsiteX2" fmla="*/ 391947 w 391947"/>
                <a:gd name="connsiteY2" fmla="*/ 47287 h 271011"/>
                <a:gd name="connsiteX3" fmla="*/ 390525 w 391947"/>
                <a:gd name="connsiteY3" fmla="*/ 271011 h 271011"/>
                <a:gd name="connsiteX4" fmla="*/ 0 w 391947"/>
                <a:gd name="connsiteY4" fmla="*/ 254343 h 271011"/>
                <a:gd name="connsiteX5" fmla="*/ 1651 w 391947"/>
                <a:gd name="connsiteY5" fmla="*/ 0 h 271011"/>
                <a:gd name="connsiteX0" fmla="*/ 1651 w 390524"/>
                <a:gd name="connsiteY0" fmla="*/ 0 h 271011"/>
                <a:gd name="connsiteX1" fmla="*/ 194442 w 390524"/>
                <a:gd name="connsiteY1" fmla="*/ 9387 h 271011"/>
                <a:gd name="connsiteX2" fmla="*/ 340721 w 390524"/>
                <a:gd name="connsiteY2" fmla="*/ 3940 h 271011"/>
                <a:gd name="connsiteX3" fmla="*/ 390525 w 390524"/>
                <a:gd name="connsiteY3" fmla="*/ 271011 h 271011"/>
                <a:gd name="connsiteX4" fmla="*/ 0 w 390524"/>
                <a:gd name="connsiteY4" fmla="*/ 254343 h 271011"/>
                <a:gd name="connsiteX5" fmla="*/ 1651 w 390524"/>
                <a:gd name="connsiteY5" fmla="*/ 0 h 271011"/>
                <a:gd name="connsiteX0" fmla="*/ 64700 w 390525"/>
                <a:gd name="connsiteY0" fmla="*/ 0 h 274951"/>
                <a:gd name="connsiteX1" fmla="*/ 194442 w 390525"/>
                <a:gd name="connsiteY1" fmla="*/ 13327 h 274951"/>
                <a:gd name="connsiteX2" fmla="*/ 340721 w 390525"/>
                <a:gd name="connsiteY2" fmla="*/ 7880 h 274951"/>
                <a:gd name="connsiteX3" fmla="*/ 390525 w 390525"/>
                <a:gd name="connsiteY3" fmla="*/ 274951 h 274951"/>
                <a:gd name="connsiteX4" fmla="*/ 0 w 390525"/>
                <a:gd name="connsiteY4" fmla="*/ 258283 h 274951"/>
                <a:gd name="connsiteX5" fmla="*/ 64700 w 390525"/>
                <a:gd name="connsiteY5" fmla="*/ 0 h 274951"/>
                <a:gd name="connsiteX0" fmla="*/ 64700 w 390525"/>
                <a:gd name="connsiteY0" fmla="*/ 0 h 274951"/>
                <a:gd name="connsiteX1" fmla="*/ 194442 w 390525"/>
                <a:gd name="connsiteY1" fmla="*/ 13327 h 274951"/>
                <a:gd name="connsiteX2" fmla="*/ 313136 w 390525"/>
                <a:gd name="connsiteY2" fmla="*/ 3939 h 274951"/>
                <a:gd name="connsiteX3" fmla="*/ 390525 w 390525"/>
                <a:gd name="connsiteY3" fmla="*/ 274951 h 274951"/>
                <a:gd name="connsiteX4" fmla="*/ 0 w 390525"/>
                <a:gd name="connsiteY4" fmla="*/ 258283 h 274951"/>
                <a:gd name="connsiteX5" fmla="*/ 64700 w 390525"/>
                <a:gd name="connsiteY5" fmla="*/ 0 h 274951"/>
                <a:gd name="connsiteX0" fmla="*/ 64700 w 390525"/>
                <a:gd name="connsiteY0" fmla="*/ 0 h 274951"/>
                <a:gd name="connsiteX1" fmla="*/ 194442 w 390525"/>
                <a:gd name="connsiteY1" fmla="*/ 9387 h 274951"/>
                <a:gd name="connsiteX2" fmla="*/ 313136 w 390525"/>
                <a:gd name="connsiteY2" fmla="*/ 3939 h 274951"/>
                <a:gd name="connsiteX3" fmla="*/ 390525 w 390525"/>
                <a:gd name="connsiteY3" fmla="*/ 274951 h 274951"/>
                <a:gd name="connsiteX4" fmla="*/ 0 w 390525"/>
                <a:gd name="connsiteY4" fmla="*/ 258283 h 274951"/>
                <a:gd name="connsiteX5" fmla="*/ 64700 w 390525"/>
                <a:gd name="connsiteY5" fmla="*/ 0 h 274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0525" h="274951">
                  <a:moveTo>
                    <a:pt x="64700" y="0"/>
                  </a:moveTo>
                  <a:lnTo>
                    <a:pt x="194442" y="9387"/>
                  </a:lnTo>
                  <a:lnTo>
                    <a:pt x="313136" y="3939"/>
                  </a:lnTo>
                  <a:lnTo>
                    <a:pt x="390525" y="274951"/>
                  </a:lnTo>
                  <a:lnTo>
                    <a:pt x="0" y="258283"/>
                  </a:lnTo>
                  <a:cubicBezTo>
                    <a:pt x="550" y="173502"/>
                    <a:pt x="64150" y="84781"/>
                    <a:pt x="64700"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14" name="Freeform 213"/>
            <p:cNvSpPr/>
            <p:nvPr/>
          </p:nvSpPr>
          <p:spPr bwMode="auto">
            <a:xfrm>
              <a:off x="10395008" y="4647010"/>
              <a:ext cx="430736" cy="763812"/>
            </a:xfrm>
            <a:custGeom>
              <a:avLst/>
              <a:gdLst>
                <a:gd name="connsiteX0" fmla="*/ 0 w 608801"/>
                <a:gd name="connsiteY0" fmla="*/ 0 h 1019175"/>
                <a:gd name="connsiteX1" fmla="*/ 225692 w 608801"/>
                <a:gd name="connsiteY1" fmla="*/ 0 h 1019175"/>
                <a:gd name="connsiteX2" fmla="*/ 225420 w 608801"/>
                <a:gd name="connsiteY2" fmla="*/ 2381 h 1019175"/>
                <a:gd name="connsiteX3" fmla="*/ 306382 w 608801"/>
                <a:gd name="connsiteY3" fmla="*/ 569119 h 1019175"/>
                <a:gd name="connsiteX4" fmla="*/ 347756 w 608801"/>
                <a:gd name="connsiteY4" fmla="*/ 283964 h 1019175"/>
                <a:gd name="connsiteX5" fmla="*/ 379666 w 608801"/>
                <a:gd name="connsiteY5" fmla="*/ 0 h 1019175"/>
                <a:gd name="connsiteX6" fmla="*/ 608801 w 608801"/>
                <a:gd name="connsiteY6" fmla="*/ 0 h 1019175"/>
                <a:gd name="connsiteX7" fmla="*/ 608801 w 608801"/>
                <a:gd name="connsiteY7" fmla="*/ 1019175 h 1019175"/>
                <a:gd name="connsiteX8" fmla="*/ 0 w 608801"/>
                <a:gd name="connsiteY8" fmla="*/ 1019175 h 1019175"/>
                <a:gd name="connsiteX0" fmla="*/ 0 w 608801"/>
                <a:gd name="connsiteY0" fmla="*/ 0 h 1019175"/>
                <a:gd name="connsiteX1" fmla="*/ 225692 w 608801"/>
                <a:gd name="connsiteY1" fmla="*/ 0 h 1019175"/>
                <a:gd name="connsiteX2" fmla="*/ 225420 w 608801"/>
                <a:gd name="connsiteY2" fmla="*/ 2381 h 1019175"/>
                <a:gd name="connsiteX3" fmla="*/ 306382 w 608801"/>
                <a:gd name="connsiteY3" fmla="*/ 569119 h 1019175"/>
                <a:gd name="connsiteX4" fmla="*/ 347756 w 608801"/>
                <a:gd name="connsiteY4" fmla="*/ 283964 h 1019175"/>
                <a:gd name="connsiteX5" fmla="*/ 379666 w 608801"/>
                <a:gd name="connsiteY5" fmla="*/ 0 h 1019175"/>
                <a:gd name="connsiteX6" fmla="*/ 608801 w 608801"/>
                <a:gd name="connsiteY6" fmla="*/ 0 h 1019175"/>
                <a:gd name="connsiteX7" fmla="*/ 608801 w 608801"/>
                <a:gd name="connsiteY7" fmla="*/ 1019175 h 1019175"/>
                <a:gd name="connsiteX8" fmla="*/ 0 w 608801"/>
                <a:gd name="connsiteY8" fmla="*/ 1019175 h 1019175"/>
                <a:gd name="connsiteX9" fmla="*/ 0 w 608801"/>
                <a:gd name="connsiteY9" fmla="*/ 0 h 1019175"/>
                <a:gd name="connsiteX0" fmla="*/ 0 w 608801"/>
                <a:gd name="connsiteY0" fmla="*/ 28575 h 1047750"/>
                <a:gd name="connsiteX1" fmla="*/ 225692 w 608801"/>
                <a:gd name="connsiteY1" fmla="*/ 28575 h 1047750"/>
                <a:gd name="connsiteX2" fmla="*/ 225420 w 608801"/>
                <a:gd name="connsiteY2" fmla="*/ 30956 h 1047750"/>
                <a:gd name="connsiteX3" fmla="*/ 306382 w 608801"/>
                <a:gd name="connsiteY3" fmla="*/ 597694 h 1047750"/>
                <a:gd name="connsiteX4" fmla="*/ 347756 w 608801"/>
                <a:gd name="connsiteY4" fmla="*/ 312539 h 1047750"/>
                <a:gd name="connsiteX5" fmla="*/ 432054 w 608801"/>
                <a:gd name="connsiteY5" fmla="*/ 0 h 1047750"/>
                <a:gd name="connsiteX6" fmla="*/ 608801 w 608801"/>
                <a:gd name="connsiteY6" fmla="*/ 28575 h 1047750"/>
                <a:gd name="connsiteX7" fmla="*/ 608801 w 608801"/>
                <a:gd name="connsiteY7" fmla="*/ 1047750 h 1047750"/>
                <a:gd name="connsiteX8" fmla="*/ 0 w 608801"/>
                <a:gd name="connsiteY8" fmla="*/ 1047750 h 1047750"/>
                <a:gd name="connsiteX9" fmla="*/ 0 w 608801"/>
                <a:gd name="connsiteY9" fmla="*/ 28575 h 1047750"/>
                <a:gd name="connsiteX0" fmla="*/ 0 w 608801"/>
                <a:gd name="connsiteY0" fmla="*/ 28575 h 1047750"/>
                <a:gd name="connsiteX1" fmla="*/ 225692 w 608801"/>
                <a:gd name="connsiteY1" fmla="*/ 28575 h 1047750"/>
                <a:gd name="connsiteX2" fmla="*/ 306382 w 608801"/>
                <a:gd name="connsiteY2" fmla="*/ 597694 h 1047750"/>
                <a:gd name="connsiteX3" fmla="*/ 347756 w 608801"/>
                <a:gd name="connsiteY3" fmla="*/ 312539 h 1047750"/>
                <a:gd name="connsiteX4" fmla="*/ 432054 w 608801"/>
                <a:gd name="connsiteY4" fmla="*/ 0 h 1047750"/>
                <a:gd name="connsiteX5" fmla="*/ 608801 w 608801"/>
                <a:gd name="connsiteY5" fmla="*/ 28575 h 1047750"/>
                <a:gd name="connsiteX6" fmla="*/ 608801 w 608801"/>
                <a:gd name="connsiteY6" fmla="*/ 1047750 h 1047750"/>
                <a:gd name="connsiteX7" fmla="*/ 0 w 608801"/>
                <a:gd name="connsiteY7" fmla="*/ 1047750 h 1047750"/>
                <a:gd name="connsiteX8" fmla="*/ 0 w 608801"/>
                <a:gd name="connsiteY8" fmla="*/ 28575 h 1047750"/>
                <a:gd name="connsiteX0" fmla="*/ 0 w 608801"/>
                <a:gd name="connsiteY0" fmla="*/ 30956 h 1050131"/>
                <a:gd name="connsiteX1" fmla="*/ 213786 w 608801"/>
                <a:gd name="connsiteY1" fmla="*/ 0 h 1050131"/>
                <a:gd name="connsiteX2" fmla="*/ 306382 w 608801"/>
                <a:gd name="connsiteY2" fmla="*/ 600075 h 1050131"/>
                <a:gd name="connsiteX3" fmla="*/ 347756 w 608801"/>
                <a:gd name="connsiteY3" fmla="*/ 314920 h 1050131"/>
                <a:gd name="connsiteX4" fmla="*/ 432054 w 608801"/>
                <a:gd name="connsiteY4" fmla="*/ 2381 h 1050131"/>
                <a:gd name="connsiteX5" fmla="*/ 608801 w 608801"/>
                <a:gd name="connsiteY5" fmla="*/ 30956 h 1050131"/>
                <a:gd name="connsiteX6" fmla="*/ 608801 w 608801"/>
                <a:gd name="connsiteY6" fmla="*/ 1050131 h 1050131"/>
                <a:gd name="connsiteX7" fmla="*/ 0 w 608801"/>
                <a:gd name="connsiteY7" fmla="*/ 1050131 h 1050131"/>
                <a:gd name="connsiteX8" fmla="*/ 0 w 608801"/>
                <a:gd name="connsiteY8" fmla="*/ 30956 h 1050131"/>
                <a:gd name="connsiteX0" fmla="*/ 0 w 608801"/>
                <a:gd name="connsiteY0" fmla="*/ 30956 h 1050131"/>
                <a:gd name="connsiteX1" fmla="*/ 213786 w 608801"/>
                <a:gd name="connsiteY1" fmla="*/ 0 h 1050131"/>
                <a:gd name="connsiteX2" fmla="*/ 306382 w 608801"/>
                <a:gd name="connsiteY2" fmla="*/ 600075 h 1050131"/>
                <a:gd name="connsiteX3" fmla="*/ 347756 w 608801"/>
                <a:gd name="connsiteY3" fmla="*/ 314920 h 1050131"/>
                <a:gd name="connsiteX4" fmla="*/ 432054 w 608801"/>
                <a:gd name="connsiteY4" fmla="*/ 2381 h 1050131"/>
                <a:gd name="connsiteX5" fmla="*/ 589751 w 608801"/>
                <a:gd name="connsiteY5" fmla="*/ 26194 h 1050131"/>
                <a:gd name="connsiteX6" fmla="*/ 608801 w 608801"/>
                <a:gd name="connsiteY6" fmla="*/ 1050131 h 1050131"/>
                <a:gd name="connsiteX7" fmla="*/ 0 w 608801"/>
                <a:gd name="connsiteY7" fmla="*/ 1050131 h 1050131"/>
                <a:gd name="connsiteX8" fmla="*/ 0 w 608801"/>
                <a:gd name="connsiteY8" fmla="*/ 30956 h 1050131"/>
                <a:gd name="connsiteX0" fmla="*/ 64294 w 608801"/>
                <a:gd name="connsiteY0" fmla="*/ 26193 h 1050131"/>
                <a:gd name="connsiteX1" fmla="*/ 213786 w 608801"/>
                <a:gd name="connsiteY1" fmla="*/ 0 h 1050131"/>
                <a:gd name="connsiteX2" fmla="*/ 306382 w 608801"/>
                <a:gd name="connsiteY2" fmla="*/ 600075 h 1050131"/>
                <a:gd name="connsiteX3" fmla="*/ 347756 w 608801"/>
                <a:gd name="connsiteY3" fmla="*/ 314920 h 1050131"/>
                <a:gd name="connsiteX4" fmla="*/ 432054 w 608801"/>
                <a:gd name="connsiteY4" fmla="*/ 2381 h 1050131"/>
                <a:gd name="connsiteX5" fmla="*/ 589751 w 608801"/>
                <a:gd name="connsiteY5" fmla="*/ 26194 h 1050131"/>
                <a:gd name="connsiteX6" fmla="*/ 608801 w 608801"/>
                <a:gd name="connsiteY6" fmla="*/ 1050131 h 1050131"/>
                <a:gd name="connsiteX7" fmla="*/ 0 w 608801"/>
                <a:gd name="connsiteY7" fmla="*/ 1050131 h 1050131"/>
                <a:gd name="connsiteX8" fmla="*/ 64294 w 608801"/>
                <a:gd name="connsiteY8" fmla="*/ 26193 h 1050131"/>
                <a:gd name="connsiteX0" fmla="*/ 0 w 544507"/>
                <a:gd name="connsiteY0" fmla="*/ 26193 h 1050131"/>
                <a:gd name="connsiteX1" fmla="*/ 149492 w 544507"/>
                <a:gd name="connsiteY1" fmla="*/ 0 h 1050131"/>
                <a:gd name="connsiteX2" fmla="*/ 242088 w 544507"/>
                <a:gd name="connsiteY2" fmla="*/ 600075 h 1050131"/>
                <a:gd name="connsiteX3" fmla="*/ 283462 w 544507"/>
                <a:gd name="connsiteY3" fmla="*/ 314920 h 1050131"/>
                <a:gd name="connsiteX4" fmla="*/ 367760 w 544507"/>
                <a:gd name="connsiteY4" fmla="*/ 2381 h 1050131"/>
                <a:gd name="connsiteX5" fmla="*/ 525457 w 544507"/>
                <a:gd name="connsiteY5" fmla="*/ 26194 h 1050131"/>
                <a:gd name="connsiteX6" fmla="*/ 544507 w 544507"/>
                <a:gd name="connsiteY6" fmla="*/ 1050131 h 1050131"/>
                <a:gd name="connsiteX7" fmla="*/ 14287 w 544507"/>
                <a:gd name="connsiteY7" fmla="*/ 900112 h 1050131"/>
                <a:gd name="connsiteX8" fmla="*/ 0 w 544507"/>
                <a:gd name="connsiteY8" fmla="*/ 26193 h 1050131"/>
                <a:gd name="connsiteX0" fmla="*/ 0 w 525457"/>
                <a:gd name="connsiteY0" fmla="*/ 26193 h 902493"/>
                <a:gd name="connsiteX1" fmla="*/ 149492 w 525457"/>
                <a:gd name="connsiteY1" fmla="*/ 0 h 902493"/>
                <a:gd name="connsiteX2" fmla="*/ 242088 w 525457"/>
                <a:gd name="connsiteY2" fmla="*/ 600075 h 902493"/>
                <a:gd name="connsiteX3" fmla="*/ 283462 w 525457"/>
                <a:gd name="connsiteY3" fmla="*/ 314920 h 902493"/>
                <a:gd name="connsiteX4" fmla="*/ 367760 w 525457"/>
                <a:gd name="connsiteY4" fmla="*/ 2381 h 902493"/>
                <a:gd name="connsiteX5" fmla="*/ 525457 w 525457"/>
                <a:gd name="connsiteY5" fmla="*/ 26194 h 902493"/>
                <a:gd name="connsiteX6" fmla="*/ 511169 w 525457"/>
                <a:gd name="connsiteY6" fmla="*/ 902493 h 902493"/>
                <a:gd name="connsiteX7" fmla="*/ 14287 w 525457"/>
                <a:gd name="connsiteY7" fmla="*/ 900112 h 902493"/>
                <a:gd name="connsiteX8" fmla="*/ 0 w 525457"/>
                <a:gd name="connsiteY8" fmla="*/ 26193 h 902493"/>
                <a:gd name="connsiteX0" fmla="*/ 0 w 525457"/>
                <a:gd name="connsiteY0" fmla="*/ 26193 h 902493"/>
                <a:gd name="connsiteX1" fmla="*/ 149492 w 525457"/>
                <a:gd name="connsiteY1" fmla="*/ 0 h 902493"/>
                <a:gd name="connsiteX2" fmla="*/ 283462 w 525457"/>
                <a:gd name="connsiteY2" fmla="*/ 314920 h 902493"/>
                <a:gd name="connsiteX3" fmla="*/ 367760 w 525457"/>
                <a:gd name="connsiteY3" fmla="*/ 2381 h 902493"/>
                <a:gd name="connsiteX4" fmla="*/ 525457 w 525457"/>
                <a:gd name="connsiteY4" fmla="*/ 26194 h 902493"/>
                <a:gd name="connsiteX5" fmla="*/ 511169 w 525457"/>
                <a:gd name="connsiteY5" fmla="*/ 902493 h 902493"/>
                <a:gd name="connsiteX6" fmla="*/ 14287 w 525457"/>
                <a:gd name="connsiteY6" fmla="*/ 900112 h 902493"/>
                <a:gd name="connsiteX7" fmla="*/ 0 w 525457"/>
                <a:gd name="connsiteY7" fmla="*/ 26193 h 902493"/>
                <a:gd name="connsiteX0" fmla="*/ 0 w 525457"/>
                <a:gd name="connsiteY0" fmla="*/ 26193 h 902493"/>
                <a:gd name="connsiteX1" fmla="*/ 149492 w 525457"/>
                <a:gd name="connsiteY1" fmla="*/ 0 h 902493"/>
                <a:gd name="connsiteX2" fmla="*/ 264412 w 525457"/>
                <a:gd name="connsiteY2" fmla="*/ 172045 h 902493"/>
                <a:gd name="connsiteX3" fmla="*/ 367760 w 525457"/>
                <a:gd name="connsiteY3" fmla="*/ 2381 h 902493"/>
                <a:gd name="connsiteX4" fmla="*/ 525457 w 525457"/>
                <a:gd name="connsiteY4" fmla="*/ 26194 h 902493"/>
                <a:gd name="connsiteX5" fmla="*/ 511169 w 525457"/>
                <a:gd name="connsiteY5" fmla="*/ 902493 h 902493"/>
                <a:gd name="connsiteX6" fmla="*/ 14287 w 525457"/>
                <a:gd name="connsiteY6" fmla="*/ 900112 h 902493"/>
                <a:gd name="connsiteX7" fmla="*/ 0 w 525457"/>
                <a:gd name="connsiteY7" fmla="*/ 26193 h 902493"/>
                <a:gd name="connsiteX0" fmla="*/ 0 w 525457"/>
                <a:gd name="connsiteY0" fmla="*/ 26193 h 902493"/>
                <a:gd name="connsiteX1" fmla="*/ 149492 w 525457"/>
                <a:gd name="connsiteY1" fmla="*/ 0 h 902493"/>
                <a:gd name="connsiteX2" fmla="*/ 264412 w 525457"/>
                <a:gd name="connsiteY2" fmla="*/ 172045 h 902493"/>
                <a:gd name="connsiteX3" fmla="*/ 367760 w 525457"/>
                <a:gd name="connsiteY3" fmla="*/ 2381 h 902493"/>
                <a:gd name="connsiteX4" fmla="*/ 525457 w 525457"/>
                <a:gd name="connsiteY4" fmla="*/ 26194 h 902493"/>
                <a:gd name="connsiteX5" fmla="*/ 511169 w 525457"/>
                <a:gd name="connsiteY5" fmla="*/ 902493 h 902493"/>
                <a:gd name="connsiteX6" fmla="*/ 14287 w 525457"/>
                <a:gd name="connsiteY6" fmla="*/ 900112 h 902493"/>
                <a:gd name="connsiteX7" fmla="*/ 0 w 525457"/>
                <a:gd name="connsiteY7" fmla="*/ 26193 h 902493"/>
                <a:gd name="connsiteX0" fmla="*/ 0 w 525457"/>
                <a:gd name="connsiteY0" fmla="*/ 26193 h 902493"/>
                <a:gd name="connsiteX1" fmla="*/ 149492 w 525457"/>
                <a:gd name="connsiteY1" fmla="*/ 0 h 902493"/>
                <a:gd name="connsiteX2" fmla="*/ 257268 w 525457"/>
                <a:gd name="connsiteY2" fmla="*/ 174427 h 902493"/>
                <a:gd name="connsiteX3" fmla="*/ 367760 w 525457"/>
                <a:gd name="connsiteY3" fmla="*/ 2381 h 902493"/>
                <a:gd name="connsiteX4" fmla="*/ 525457 w 525457"/>
                <a:gd name="connsiteY4" fmla="*/ 26194 h 902493"/>
                <a:gd name="connsiteX5" fmla="*/ 511169 w 525457"/>
                <a:gd name="connsiteY5" fmla="*/ 902493 h 902493"/>
                <a:gd name="connsiteX6" fmla="*/ 14287 w 525457"/>
                <a:gd name="connsiteY6" fmla="*/ 900112 h 902493"/>
                <a:gd name="connsiteX7" fmla="*/ 0 w 525457"/>
                <a:gd name="connsiteY7" fmla="*/ 26193 h 902493"/>
                <a:gd name="connsiteX0" fmla="*/ 0 w 525457"/>
                <a:gd name="connsiteY0" fmla="*/ 26193 h 902493"/>
                <a:gd name="connsiteX1" fmla="*/ 149492 w 525457"/>
                <a:gd name="connsiteY1" fmla="*/ 0 h 902493"/>
                <a:gd name="connsiteX2" fmla="*/ 257268 w 525457"/>
                <a:gd name="connsiteY2" fmla="*/ 174427 h 902493"/>
                <a:gd name="connsiteX3" fmla="*/ 367760 w 525457"/>
                <a:gd name="connsiteY3" fmla="*/ 2381 h 902493"/>
                <a:gd name="connsiteX4" fmla="*/ 525457 w 525457"/>
                <a:gd name="connsiteY4" fmla="*/ 26194 h 902493"/>
                <a:gd name="connsiteX5" fmla="*/ 511169 w 525457"/>
                <a:gd name="connsiteY5" fmla="*/ 902493 h 902493"/>
                <a:gd name="connsiteX6" fmla="*/ 14287 w 525457"/>
                <a:gd name="connsiteY6" fmla="*/ 900112 h 902493"/>
                <a:gd name="connsiteX7" fmla="*/ 0 w 525457"/>
                <a:gd name="connsiteY7" fmla="*/ 26193 h 902493"/>
                <a:gd name="connsiteX0" fmla="*/ 0 w 525457"/>
                <a:gd name="connsiteY0" fmla="*/ 30955 h 907255"/>
                <a:gd name="connsiteX1" fmla="*/ 149492 w 525457"/>
                <a:gd name="connsiteY1" fmla="*/ 0 h 907255"/>
                <a:gd name="connsiteX2" fmla="*/ 257268 w 525457"/>
                <a:gd name="connsiteY2" fmla="*/ 179189 h 907255"/>
                <a:gd name="connsiteX3" fmla="*/ 367760 w 525457"/>
                <a:gd name="connsiteY3" fmla="*/ 7143 h 907255"/>
                <a:gd name="connsiteX4" fmla="*/ 525457 w 525457"/>
                <a:gd name="connsiteY4" fmla="*/ 30956 h 907255"/>
                <a:gd name="connsiteX5" fmla="*/ 511169 w 525457"/>
                <a:gd name="connsiteY5" fmla="*/ 907255 h 907255"/>
                <a:gd name="connsiteX6" fmla="*/ 14287 w 525457"/>
                <a:gd name="connsiteY6" fmla="*/ 904874 h 907255"/>
                <a:gd name="connsiteX7" fmla="*/ 0 w 525457"/>
                <a:gd name="connsiteY7" fmla="*/ 30955 h 907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5457" h="907255">
                  <a:moveTo>
                    <a:pt x="0" y="30955"/>
                  </a:moveTo>
                  <a:lnTo>
                    <a:pt x="149492" y="0"/>
                  </a:lnTo>
                  <a:cubicBezTo>
                    <a:pt x="196736" y="48121"/>
                    <a:pt x="199808" y="93166"/>
                    <a:pt x="257268" y="179189"/>
                  </a:cubicBezTo>
                  <a:lnTo>
                    <a:pt x="367760" y="7143"/>
                  </a:lnTo>
                  <a:lnTo>
                    <a:pt x="525457" y="30956"/>
                  </a:lnTo>
                  <a:lnTo>
                    <a:pt x="511169" y="907255"/>
                  </a:lnTo>
                  <a:lnTo>
                    <a:pt x="14287" y="904874"/>
                  </a:lnTo>
                  <a:lnTo>
                    <a:pt x="0" y="30955"/>
                  </a:lnTo>
                  <a:close/>
                </a:path>
              </a:pathLst>
            </a:cu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15" name="Freeform 214"/>
            <p:cNvSpPr/>
            <p:nvPr/>
          </p:nvSpPr>
          <p:spPr bwMode="auto">
            <a:xfrm>
              <a:off x="10474769" y="4264566"/>
              <a:ext cx="253830" cy="164507"/>
            </a:xfrm>
            <a:custGeom>
              <a:avLst/>
              <a:gdLst>
                <a:gd name="connsiteX0" fmla="*/ 300038 w 300038"/>
                <a:gd name="connsiteY0" fmla="*/ 190500 h 190500"/>
                <a:gd name="connsiteX1" fmla="*/ 271463 w 300038"/>
                <a:gd name="connsiteY1" fmla="*/ 116681 h 190500"/>
                <a:gd name="connsiteX2" fmla="*/ 195263 w 300038"/>
                <a:gd name="connsiteY2" fmla="*/ 107156 h 190500"/>
                <a:gd name="connsiteX3" fmla="*/ 52388 w 300038"/>
                <a:gd name="connsiteY3" fmla="*/ 100012 h 190500"/>
                <a:gd name="connsiteX4" fmla="*/ 21431 w 300038"/>
                <a:gd name="connsiteY4" fmla="*/ 119062 h 190500"/>
                <a:gd name="connsiteX5" fmla="*/ 23813 w 300038"/>
                <a:gd name="connsiteY5" fmla="*/ 164306 h 190500"/>
                <a:gd name="connsiteX6" fmla="*/ 0 w 300038"/>
                <a:gd name="connsiteY6" fmla="*/ 171450 h 190500"/>
                <a:gd name="connsiteX7" fmla="*/ 97631 w 300038"/>
                <a:gd name="connsiteY7" fmla="*/ 0 h 190500"/>
                <a:gd name="connsiteX8" fmla="*/ 214313 w 300038"/>
                <a:gd name="connsiteY8" fmla="*/ 40481 h 190500"/>
                <a:gd name="connsiteX9" fmla="*/ 300038 w 300038"/>
                <a:gd name="connsiteY9" fmla="*/ 190500 h 190500"/>
                <a:gd name="connsiteX0" fmla="*/ 300038 w 300038"/>
                <a:gd name="connsiteY0" fmla="*/ 190500 h 190500"/>
                <a:gd name="connsiteX1" fmla="*/ 271463 w 300038"/>
                <a:gd name="connsiteY1" fmla="*/ 116681 h 190500"/>
                <a:gd name="connsiteX2" fmla="*/ 195263 w 300038"/>
                <a:gd name="connsiteY2" fmla="*/ 107156 h 190500"/>
                <a:gd name="connsiteX3" fmla="*/ 52388 w 300038"/>
                <a:gd name="connsiteY3" fmla="*/ 100012 h 190500"/>
                <a:gd name="connsiteX4" fmla="*/ 21431 w 300038"/>
                <a:gd name="connsiteY4" fmla="*/ 119062 h 190500"/>
                <a:gd name="connsiteX5" fmla="*/ 23813 w 300038"/>
                <a:gd name="connsiteY5" fmla="*/ 164306 h 190500"/>
                <a:gd name="connsiteX6" fmla="*/ 0 w 300038"/>
                <a:gd name="connsiteY6" fmla="*/ 171450 h 190500"/>
                <a:gd name="connsiteX7" fmla="*/ 97631 w 300038"/>
                <a:gd name="connsiteY7" fmla="*/ 0 h 190500"/>
                <a:gd name="connsiteX8" fmla="*/ 214313 w 300038"/>
                <a:gd name="connsiteY8" fmla="*/ 40481 h 190500"/>
                <a:gd name="connsiteX9" fmla="*/ 300038 w 300038"/>
                <a:gd name="connsiteY9" fmla="*/ 190500 h 190500"/>
                <a:gd name="connsiteX0" fmla="*/ 300038 w 300038"/>
                <a:gd name="connsiteY0" fmla="*/ 190500 h 190500"/>
                <a:gd name="connsiteX1" fmla="*/ 271463 w 300038"/>
                <a:gd name="connsiteY1" fmla="*/ 116681 h 190500"/>
                <a:gd name="connsiteX2" fmla="*/ 195263 w 300038"/>
                <a:gd name="connsiteY2" fmla="*/ 107156 h 190500"/>
                <a:gd name="connsiteX3" fmla="*/ 52388 w 300038"/>
                <a:gd name="connsiteY3" fmla="*/ 100012 h 190500"/>
                <a:gd name="connsiteX4" fmla="*/ 21431 w 300038"/>
                <a:gd name="connsiteY4" fmla="*/ 119062 h 190500"/>
                <a:gd name="connsiteX5" fmla="*/ 23813 w 300038"/>
                <a:gd name="connsiteY5" fmla="*/ 164306 h 190500"/>
                <a:gd name="connsiteX6" fmla="*/ 0 w 300038"/>
                <a:gd name="connsiteY6" fmla="*/ 171450 h 190500"/>
                <a:gd name="connsiteX7" fmla="*/ 97631 w 300038"/>
                <a:gd name="connsiteY7" fmla="*/ 0 h 190500"/>
                <a:gd name="connsiteX8" fmla="*/ 214313 w 300038"/>
                <a:gd name="connsiteY8" fmla="*/ 40481 h 190500"/>
                <a:gd name="connsiteX9" fmla="*/ 300038 w 300038"/>
                <a:gd name="connsiteY9" fmla="*/ 190500 h 190500"/>
                <a:gd name="connsiteX0" fmla="*/ 300038 w 301649"/>
                <a:gd name="connsiteY0" fmla="*/ 190500 h 190500"/>
                <a:gd name="connsiteX1" fmla="*/ 271463 w 301649"/>
                <a:gd name="connsiteY1" fmla="*/ 116681 h 190500"/>
                <a:gd name="connsiteX2" fmla="*/ 195263 w 301649"/>
                <a:gd name="connsiteY2" fmla="*/ 107156 h 190500"/>
                <a:gd name="connsiteX3" fmla="*/ 52388 w 301649"/>
                <a:gd name="connsiteY3" fmla="*/ 100012 h 190500"/>
                <a:gd name="connsiteX4" fmla="*/ 21431 w 301649"/>
                <a:gd name="connsiteY4" fmla="*/ 119062 h 190500"/>
                <a:gd name="connsiteX5" fmla="*/ 23813 w 301649"/>
                <a:gd name="connsiteY5" fmla="*/ 164306 h 190500"/>
                <a:gd name="connsiteX6" fmla="*/ 0 w 301649"/>
                <a:gd name="connsiteY6" fmla="*/ 171450 h 190500"/>
                <a:gd name="connsiteX7" fmla="*/ 97631 w 301649"/>
                <a:gd name="connsiteY7" fmla="*/ 0 h 190500"/>
                <a:gd name="connsiteX8" fmla="*/ 214313 w 301649"/>
                <a:gd name="connsiteY8" fmla="*/ 40481 h 190500"/>
                <a:gd name="connsiteX9" fmla="*/ 300038 w 301649"/>
                <a:gd name="connsiteY9" fmla="*/ 190500 h 190500"/>
                <a:gd name="connsiteX0" fmla="*/ 300038 w 301649"/>
                <a:gd name="connsiteY0" fmla="*/ 194507 h 194507"/>
                <a:gd name="connsiteX1" fmla="*/ 271463 w 301649"/>
                <a:gd name="connsiteY1" fmla="*/ 120688 h 194507"/>
                <a:gd name="connsiteX2" fmla="*/ 195263 w 301649"/>
                <a:gd name="connsiteY2" fmla="*/ 111163 h 194507"/>
                <a:gd name="connsiteX3" fmla="*/ 52388 w 301649"/>
                <a:gd name="connsiteY3" fmla="*/ 104019 h 194507"/>
                <a:gd name="connsiteX4" fmla="*/ 21431 w 301649"/>
                <a:gd name="connsiteY4" fmla="*/ 123069 h 194507"/>
                <a:gd name="connsiteX5" fmla="*/ 23813 w 301649"/>
                <a:gd name="connsiteY5" fmla="*/ 168313 h 194507"/>
                <a:gd name="connsiteX6" fmla="*/ 0 w 301649"/>
                <a:gd name="connsiteY6" fmla="*/ 175457 h 194507"/>
                <a:gd name="connsiteX7" fmla="*/ 97631 w 301649"/>
                <a:gd name="connsiteY7" fmla="*/ 4007 h 194507"/>
                <a:gd name="connsiteX8" fmla="*/ 214313 w 301649"/>
                <a:gd name="connsiteY8" fmla="*/ 44488 h 194507"/>
                <a:gd name="connsiteX9" fmla="*/ 300038 w 301649"/>
                <a:gd name="connsiteY9" fmla="*/ 194507 h 194507"/>
                <a:gd name="connsiteX0" fmla="*/ 300038 w 301649"/>
                <a:gd name="connsiteY0" fmla="*/ 195665 h 195665"/>
                <a:gd name="connsiteX1" fmla="*/ 271463 w 301649"/>
                <a:gd name="connsiteY1" fmla="*/ 121846 h 195665"/>
                <a:gd name="connsiteX2" fmla="*/ 195263 w 301649"/>
                <a:gd name="connsiteY2" fmla="*/ 112321 h 195665"/>
                <a:gd name="connsiteX3" fmla="*/ 52388 w 301649"/>
                <a:gd name="connsiteY3" fmla="*/ 105177 h 195665"/>
                <a:gd name="connsiteX4" fmla="*/ 21431 w 301649"/>
                <a:gd name="connsiteY4" fmla="*/ 124227 h 195665"/>
                <a:gd name="connsiteX5" fmla="*/ 23813 w 301649"/>
                <a:gd name="connsiteY5" fmla="*/ 169471 h 195665"/>
                <a:gd name="connsiteX6" fmla="*/ 0 w 301649"/>
                <a:gd name="connsiteY6" fmla="*/ 176615 h 195665"/>
                <a:gd name="connsiteX7" fmla="*/ 97631 w 301649"/>
                <a:gd name="connsiteY7" fmla="*/ 5165 h 195665"/>
                <a:gd name="connsiteX8" fmla="*/ 214313 w 301649"/>
                <a:gd name="connsiteY8" fmla="*/ 45646 h 195665"/>
                <a:gd name="connsiteX9" fmla="*/ 300038 w 301649"/>
                <a:gd name="connsiteY9" fmla="*/ 195665 h 195665"/>
                <a:gd name="connsiteX0" fmla="*/ 300038 w 301649"/>
                <a:gd name="connsiteY0" fmla="*/ 195665 h 195665"/>
                <a:gd name="connsiteX1" fmla="*/ 271463 w 301649"/>
                <a:gd name="connsiteY1" fmla="*/ 121846 h 195665"/>
                <a:gd name="connsiteX2" fmla="*/ 195263 w 301649"/>
                <a:gd name="connsiteY2" fmla="*/ 112321 h 195665"/>
                <a:gd name="connsiteX3" fmla="*/ 52388 w 301649"/>
                <a:gd name="connsiteY3" fmla="*/ 105177 h 195665"/>
                <a:gd name="connsiteX4" fmla="*/ 45243 w 301649"/>
                <a:gd name="connsiteY4" fmla="*/ 150420 h 195665"/>
                <a:gd name="connsiteX5" fmla="*/ 23813 w 301649"/>
                <a:gd name="connsiteY5" fmla="*/ 169471 h 195665"/>
                <a:gd name="connsiteX6" fmla="*/ 0 w 301649"/>
                <a:gd name="connsiteY6" fmla="*/ 176615 h 195665"/>
                <a:gd name="connsiteX7" fmla="*/ 97631 w 301649"/>
                <a:gd name="connsiteY7" fmla="*/ 5165 h 195665"/>
                <a:gd name="connsiteX8" fmla="*/ 214313 w 301649"/>
                <a:gd name="connsiteY8" fmla="*/ 45646 h 195665"/>
                <a:gd name="connsiteX9" fmla="*/ 300038 w 301649"/>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5688 w 302094"/>
                <a:gd name="connsiteY4" fmla="*/ 150420 h 195665"/>
                <a:gd name="connsiteX5" fmla="*/ 24258 w 302094"/>
                <a:gd name="connsiteY5" fmla="*/ 169471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5688 w 302094"/>
                <a:gd name="connsiteY4" fmla="*/ 150420 h 195665"/>
                <a:gd name="connsiteX5" fmla="*/ 21877 w 302094"/>
                <a:gd name="connsiteY5" fmla="*/ 131371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3307 w 302094"/>
                <a:gd name="connsiteY4" fmla="*/ 126608 h 195665"/>
                <a:gd name="connsiteX5" fmla="*/ 21877 w 302094"/>
                <a:gd name="connsiteY5" fmla="*/ 131371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3307 w 302094"/>
                <a:gd name="connsiteY4" fmla="*/ 126608 h 195665"/>
                <a:gd name="connsiteX5" fmla="*/ 12352 w 302094"/>
                <a:gd name="connsiteY5" fmla="*/ 171852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3307 w 302094"/>
                <a:gd name="connsiteY4" fmla="*/ 126608 h 195665"/>
                <a:gd name="connsiteX5" fmla="*/ 12352 w 302094"/>
                <a:gd name="connsiteY5" fmla="*/ 171852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3307 w 302094"/>
                <a:gd name="connsiteY4" fmla="*/ 126608 h 195665"/>
                <a:gd name="connsiteX5" fmla="*/ 12352 w 302094"/>
                <a:gd name="connsiteY5" fmla="*/ 171852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3307 w 302094"/>
                <a:gd name="connsiteY4" fmla="*/ 126608 h 195665"/>
                <a:gd name="connsiteX5" fmla="*/ 12352 w 302094"/>
                <a:gd name="connsiteY5" fmla="*/ 171852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3307 w 302094"/>
                <a:gd name="connsiteY4" fmla="*/ 126608 h 195665"/>
                <a:gd name="connsiteX5" fmla="*/ 12352 w 302094"/>
                <a:gd name="connsiteY5" fmla="*/ 171852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1906"/>
                <a:gd name="connsiteY0" fmla="*/ 195665 h 195665"/>
                <a:gd name="connsiteX1" fmla="*/ 271908 w 301906"/>
                <a:gd name="connsiteY1" fmla="*/ 121846 h 195665"/>
                <a:gd name="connsiteX2" fmla="*/ 195708 w 301906"/>
                <a:gd name="connsiteY2" fmla="*/ 112321 h 195665"/>
                <a:gd name="connsiteX3" fmla="*/ 52833 w 301906"/>
                <a:gd name="connsiteY3" fmla="*/ 105177 h 195665"/>
                <a:gd name="connsiteX4" fmla="*/ 43307 w 301906"/>
                <a:gd name="connsiteY4" fmla="*/ 126608 h 195665"/>
                <a:gd name="connsiteX5" fmla="*/ 12352 w 301906"/>
                <a:gd name="connsiteY5" fmla="*/ 171852 h 195665"/>
                <a:gd name="connsiteX6" fmla="*/ 445 w 301906"/>
                <a:gd name="connsiteY6" fmla="*/ 176615 h 195665"/>
                <a:gd name="connsiteX7" fmla="*/ 98076 w 301906"/>
                <a:gd name="connsiteY7" fmla="*/ 5165 h 195665"/>
                <a:gd name="connsiteX8" fmla="*/ 214758 w 301906"/>
                <a:gd name="connsiteY8" fmla="*/ 45646 h 195665"/>
                <a:gd name="connsiteX9" fmla="*/ 300483 w 301906"/>
                <a:gd name="connsiteY9" fmla="*/ 195665 h 195665"/>
                <a:gd name="connsiteX0" fmla="*/ 300483 w 301906"/>
                <a:gd name="connsiteY0" fmla="*/ 195665 h 195665"/>
                <a:gd name="connsiteX1" fmla="*/ 271908 w 301906"/>
                <a:gd name="connsiteY1" fmla="*/ 121846 h 195665"/>
                <a:gd name="connsiteX2" fmla="*/ 195708 w 301906"/>
                <a:gd name="connsiteY2" fmla="*/ 112321 h 195665"/>
                <a:gd name="connsiteX3" fmla="*/ 52833 w 301906"/>
                <a:gd name="connsiteY3" fmla="*/ 105177 h 195665"/>
                <a:gd name="connsiteX4" fmla="*/ 43307 w 301906"/>
                <a:gd name="connsiteY4" fmla="*/ 126608 h 195665"/>
                <a:gd name="connsiteX5" fmla="*/ 12352 w 301906"/>
                <a:gd name="connsiteY5" fmla="*/ 171852 h 195665"/>
                <a:gd name="connsiteX6" fmla="*/ 445 w 301906"/>
                <a:gd name="connsiteY6" fmla="*/ 176615 h 195665"/>
                <a:gd name="connsiteX7" fmla="*/ 98076 w 301906"/>
                <a:gd name="connsiteY7" fmla="*/ 5165 h 195665"/>
                <a:gd name="connsiteX8" fmla="*/ 214758 w 301906"/>
                <a:gd name="connsiteY8" fmla="*/ 45646 h 195665"/>
                <a:gd name="connsiteX9" fmla="*/ 300483 w 301906"/>
                <a:gd name="connsiteY9" fmla="*/ 195665 h 195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1906" h="195665">
                  <a:moveTo>
                    <a:pt x="300483" y="195665"/>
                  </a:moveTo>
                  <a:cubicBezTo>
                    <a:pt x="231426" y="159153"/>
                    <a:pt x="281433" y="146452"/>
                    <a:pt x="271908" y="121846"/>
                  </a:cubicBezTo>
                  <a:cubicBezTo>
                    <a:pt x="246508" y="130578"/>
                    <a:pt x="221108" y="115496"/>
                    <a:pt x="195708" y="112321"/>
                  </a:cubicBezTo>
                  <a:cubicBezTo>
                    <a:pt x="117127" y="138515"/>
                    <a:pt x="86170" y="124227"/>
                    <a:pt x="52833" y="105177"/>
                  </a:cubicBezTo>
                  <a:lnTo>
                    <a:pt x="43307" y="126608"/>
                  </a:lnTo>
                  <a:cubicBezTo>
                    <a:pt x="32989" y="141689"/>
                    <a:pt x="32195" y="178203"/>
                    <a:pt x="12352" y="171852"/>
                  </a:cubicBezTo>
                  <a:lnTo>
                    <a:pt x="445" y="176615"/>
                  </a:lnTo>
                  <a:cubicBezTo>
                    <a:pt x="-2730" y="105177"/>
                    <a:pt x="9176" y="22627"/>
                    <a:pt x="98076" y="5165"/>
                  </a:cubicBezTo>
                  <a:cubicBezTo>
                    <a:pt x="186976" y="-12297"/>
                    <a:pt x="204439" y="17864"/>
                    <a:pt x="214758" y="45646"/>
                  </a:cubicBezTo>
                  <a:cubicBezTo>
                    <a:pt x="302864" y="31358"/>
                    <a:pt x="305246" y="133753"/>
                    <a:pt x="300483" y="195665"/>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216" name="Group 215"/>
            <p:cNvGrpSpPr/>
            <p:nvPr/>
          </p:nvGrpSpPr>
          <p:grpSpPr>
            <a:xfrm>
              <a:off x="10896044" y="4865466"/>
              <a:ext cx="207087" cy="411083"/>
              <a:chOff x="11502243" y="5075407"/>
              <a:chExt cx="155872" cy="309418"/>
            </a:xfrm>
          </p:grpSpPr>
          <p:sp>
            <p:nvSpPr>
              <p:cNvPr id="217" name="Freeform 218"/>
              <p:cNvSpPr>
                <a:spLocks/>
              </p:cNvSpPr>
              <p:nvPr/>
            </p:nvSpPr>
            <p:spPr bwMode="auto">
              <a:xfrm>
                <a:off x="11502243" y="5075407"/>
                <a:ext cx="155872" cy="309418"/>
              </a:xfrm>
              <a:custGeom>
                <a:avLst/>
                <a:gdLst>
                  <a:gd name="T0" fmla="*/ 98 w 98"/>
                  <a:gd name="T1" fmla="*/ 193 h 197"/>
                  <a:gd name="T2" fmla="*/ 94 w 98"/>
                  <a:gd name="T3" fmla="*/ 197 h 197"/>
                  <a:gd name="T4" fmla="*/ 4 w 98"/>
                  <a:gd name="T5" fmla="*/ 197 h 197"/>
                  <a:gd name="T6" fmla="*/ 0 w 98"/>
                  <a:gd name="T7" fmla="*/ 193 h 197"/>
                  <a:gd name="T8" fmla="*/ 0 w 98"/>
                  <a:gd name="T9" fmla="*/ 4 h 197"/>
                  <a:gd name="T10" fmla="*/ 4 w 98"/>
                  <a:gd name="T11" fmla="*/ 0 h 197"/>
                  <a:gd name="T12" fmla="*/ 94 w 98"/>
                  <a:gd name="T13" fmla="*/ 0 h 197"/>
                  <a:gd name="T14" fmla="*/ 98 w 98"/>
                  <a:gd name="T15" fmla="*/ 4 h 197"/>
                  <a:gd name="T16" fmla="*/ 98 w 98"/>
                  <a:gd name="T17" fmla="*/ 193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 h="197">
                    <a:moveTo>
                      <a:pt x="98" y="193"/>
                    </a:moveTo>
                    <a:cubicBezTo>
                      <a:pt x="98" y="195"/>
                      <a:pt x="96" y="197"/>
                      <a:pt x="94" y="197"/>
                    </a:cubicBezTo>
                    <a:cubicBezTo>
                      <a:pt x="4" y="197"/>
                      <a:pt x="4" y="197"/>
                      <a:pt x="4" y="197"/>
                    </a:cubicBezTo>
                    <a:cubicBezTo>
                      <a:pt x="2" y="197"/>
                      <a:pt x="0" y="195"/>
                      <a:pt x="0" y="193"/>
                    </a:cubicBezTo>
                    <a:cubicBezTo>
                      <a:pt x="0" y="4"/>
                      <a:pt x="0" y="4"/>
                      <a:pt x="0" y="4"/>
                    </a:cubicBezTo>
                    <a:cubicBezTo>
                      <a:pt x="0" y="2"/>
                      <a:pt x="2" y="0"/>
                      <a:pt x="4" y="0"/>
                    </a:cubicBezTo>
                    <a:cubicBezTo>
                      <a:pt x="94" y="0"/>
                      <a:pt x="94" y="0"/>
                      <a:pt x="94" y="0"/>
                    </a:cubicBezTo>
                    <a:cubicBezTo>
                      <a:pt x="96" y="0"/>
                      <a:pt x="98" y="2"/>
                      <a:pt x="98" y="4"/>
                    </a:cubicBezTo>
                    <a:lnTo>
                      <a:pt x="98" y="193"/>
                    </a:lnTo>
                    <a:close/>
                  </a:path>
                </a:pathLst>
              </a:custGeom>
              <a:solidFill>
                <a:srgbClr val="C00000"/>
              </a:solidFill>
              <a:ln>
                <a:noFill/>
              </a:ln>
            </p:spPr>
            <p:txBody>
              <a:bodyPr vert="horz" wrap="square" lIns="91440" tIns="45720" rIns="91440" bIns="45720" numCol="1" anchor="t" anchorCtr="0" compatLnSpc="1">
                <a:prstTxWarp prst="textNoShape">
                  <a:avLst/>
                </a:prstTxWarp>
              </a:bodyPr>
              <a:lstStyle/>
              <a:p>
                <a:pPr defTabSz="914400">
                  <a:defRPr/>
                </a:pPr>
                <a:endParaRPr lang="en-US" sz="1800" kern="0" dirty="0" smtClean="0">
                  <a:solidFill>
                    <a:srgbClr val="3F3F3F"/>
                  </a:solidFill>
                </a:endParaRPr>
              </a:p>
            </p:txBody>
          </p:sp>
          <p:sp>
            <p:nvSpPr>
              <p:cNvPr id="218" name="Rectangle 219"/>
              <p:cNvSpPr>
                <a:spLocks noChangeArrowheads="1"/>
              </p:cNvSpPr>
              <p:nvPr/>
            </p:nvSpPr>
            <p:spPr bwMode="auto">
              <a:xfrm>
                <a:off x="11516202" y="5136476"/>
                <a:ext cx="29081" cy="29662"/>
              </a:xfrm>
              <a:prstGeom prst="rect">
                <a:avLst/>
              </a:prstGeom>
              <a:solidFill>
                <a:srgbClr val="FFB9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sz="1800" kern="0" dirty="0" smtClean="0">
                  <a:solidFill>
                    <a:srgbClr val="3F3F3F"/>
                  </a:solidFill>
                </a:endParaRPr>
              </a:p>
            </p:txBody>
          </p:sp>
          <p:sp>
            <p:nvSpPr>
              <p:cNvPr id="219" name="Rectangle 220"/>
              <p:cNvSpPr>
                <a:spLocks noChangeArrowheads="1"/>
              </p:cNvSpPr>
              <p:nvPr/>
            </p:nvSpPr>
            <p:spPr bwMode="auto">
              <a:xfrm>
                <a:off x="11548190" y="5136476"/>
                <a:ext cx="30244" cy="29662"/>
              </a:xfrm>
              <a:prstGeom prst="rect">
                <a:avLst/>
              </a:prstGeom>
              <a:solidFill>
                <a:srgbClr val="FFB9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sz="1800" kern="0" dirty="0" smtClean="0">
                  <a:solidFill>
                    <a:srgbClr val="3F3F3F"/>
                  </a:solidFill>
                </a:endParaRPr>
              </a:p>
            </p:txBody>
          </p:sp>
          <p:sp>
            <p:nvSpPr>
              <p:cNvPr id="220" name="Rectangle 221"/>
              <p:cNvSpPr>
                <a:spLocks noChangeArrowheads="1"/>
              </p:cNvSpPr>
              <p:nvPr/>
            </p:nvSpPr>
            <p:spPr bwMode="auto">
              <a:xfrm>
                <a:off x="11581924" y="5136476"/>
                <a:ext cx="29662" cy="29662"/>
              </a:xfrm>
              <a:prstGeom prst="rect">
                <a:avLst/>
              </a:prstGeom>
              <a:solidFill>
                <a:srgbClr val="FFB9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sz="1800" kern="0" dirty="0" smtClean="0">
                  <a:solidFill>
                    <a:srgbClr val="3F3F3F"/>
                  </a:solidFill>
                </a:endParaRPr>
              </a:p>
            </p:txBody>
          </p:sp>
          <p:sp>
            <p:nvSpPr>
              <p:cNvPr id="221" name="Rectangle 222"/>
              <p:cNvSpPr>
                <a:spLocks noChangeArrowheads="1"/>
              </p:cNvSpPr>
              <p:nvPr/>
            </p:nvSpPr>
            <p:spPr bwMode="auto">
              <a:xfrm>
                <a:off x="11615076" y="5136476"/>
                <a:ext cx="30244" cy="29662"/>
              </a:xfrm>
              <a:prstGeom prst="rect">
                <a:avLst/>
              </a:prstGeom>
              <a:solidFill>
                <a:srgbClr val="FFB9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sz="1800" kern="0" dirty="0" smtClean="0">
                  <a:solidFill>
                    <a:srgbClr val="3F3F3F"/>
                  </a:solidFill>
                </a:endParaRPr>
              </a:p>
            </p:txBody>
          </p:sp>
          <p:sp>
            <p:nvSpPr>
              <p:cNvPr id="222" name="Rectangle 223"/>
              <p:cNvSpPr>
                <a:spLocks noChangeArrowheads="1"/>
              </p:cNvSpPr>
              <p:nvPr/>
            </p:nvSpPr>
            <p:spPr bwMode="auto">
              <a:xfrm>
                <a:off x="11516202" y="5234187"/>
                <a:ext cx="62233" cy="61070"/>
              </a:xfrm>
              <a:prstGeom prst="rect">
                <a:avLst/>
              </a:prstGeom>
              <a:solidFill>
                <a:srgbClr val="0072C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sz="1800" kern="0" dirty="0" smtClean="0">
                  <a:solidFill>
                    <a:srgbClr val="3F3F3F"/>
                  </a:solidFill>
                </a:endParaRPr>
              </a:p>
            </p:txBody>
          </p:sp>
          <p:sp>
            <p:nvSpPr>
              <p:cNvPr id="223" name="Rectangle 224"/>
              <p:cNvSpPr>
                <a:spLocks noChangeArrowheads="1"/>
              </p:cNvSpPr>
              <p:nvPr/>
            </p:nvSpPr>
            <p:spPr bwMode="auto">
              <a:xfrm>
                <a:off x="11516202" y="5299910"/>
                <a:ext cx="129118" cy="47111"/>
              </a:xfrm>
              <a:prstGeom prst="rect">
                <a:avLst/>
              </a:prstGeom>
              <a:solidFill>
                <a:schemeClr val="accent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sz="1800" kern="0" dirty="0" smtClean="0">
                  <a:solidFill>
                    <a:srgbClr val="3F3F3F"/>
                  </a:solidFill>
                </a:endParaRPr>
              </a:p>
            </p:txBody>
          </p:sp>
          <p:sp>
            <p:nvSpPr>
              <p:cNvPr id="224" name="Rectangle 225"/>
              <p:cNvSpPr>
                <a:spLocks noChangeArrowheads="1"/>
              </p:cNvSpPr>
              <p:nvPr/>
            </p:nvSpPr>
            <p:spPr bwMode="auto">
              <a:xfrm>
                <a:off x="11581924" y="5234187"/>
                <a:ext cx="29662" cy="29662"/>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sz="1800" kern="0" dirty="0" smtClean="0">
                  <a:solidFill>
                    <a:srgbClr val="3F3F3F"/>
                  </a:solidFill>
                </a:endParaRPr>
              </a:p>
            </p:txBody>
          </p:sp>
          <p:sp>
            <p:nvSpPr>
              <p:cNvPr id="225" name="Rectangle 226"/>
              <p:cNvSpPr>
                <a:spLocks noChangeArrowheads="1"/>
              </p:cNvSpPr>
              <p:nvPr/>
            </p:nvSpPr>
            <p:spPr bwMode="auto">
              <a:xfrm>
                <a:off x="11615076" y="5234187"/>
                <a:ext cx="30244" cy="29662"/>
              </a:xfrm>
              <a:prstGeom prst="rect">
                <a:avLst/>
              </a:prstGeom>
              <a:solidFill>
                <a:srgbClr val="FFB9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sz="1800" kern="0" dirty="0" smtClean="0">
                  <a:solidFill>
                    <a:srgbClr val="3F3F3F"/>
                  </a:solidFill>
                </a:endParaRPr>
              </a:p>
            </p:txBody>
          </p:sp>
          <p:sp>
            <p:nvSpPr>
              <p:cNvPr id="226" name="Rectangle 227"/>
              <p:cNvSpPr>
                <a:spLocks noChangeArrowheads="1"/>
              </p:cNvSpPr>
              <p:nvPr/>
            </p:nvSpPr>
            <p:spPr bwMode="auto">
              <a:xfrm>
                <a:off x="11581924" y="5265594"/>
                <a:ext cx="29662" cy="29662"/>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sz="1800" kern="0" dirty="0" smtClean="0">
                  <a:solidFill>
                    <a:srgbClr val="3F3F3F"/>
                  </a:solidFill>
                </a:endParaRPr>
              </a:p>
            </p:txBody>
          </p:sp>
          <p:sp>
            <p:nvSpPr>
              <p:cNvPr id="227" name="Rectangle 228"/>
              <p:cNvSpPr>
                <a:spLocks noChangeArrowheads="1"/>
              </p:cNvSpPr>
              <p:nvPr/>
            </p:nvSpPr>
            <p:spPr bwMode="auto">
              <a:xfrm>
                <a:off x="11615076" y="5265594"/>
                <a:ext cx="30244" cy="29662"/>
              </a:xfrm>
              <a:prstGeom prst="rect">
                <a:avLst/>
              </a:prstGeom>
              <a:solidFill>
                <a:srgbClr val="FFB9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sz="1800" kern="0" dirty="0" smtClean="0">
                  <a:solidFill>
                    <a:srgbClr val="3F3F3F"/>
                  </a:solidFill>
                </a:endParaRPr>
              </a:p>
            </p:txBody>
          </p:sp>
          <p:sp>
            <p:nvSpPr>
              <p:cNvPr id="228" name="Rectangle 229"/>
              <p:cNvSpPr>
                <a:spLocks noChangeArrowheads="1"/>
              </p:cNvSpPr>
              <p:nvPr/>
            </p:nvSpPr>
            <p:spPr bwMode="auto">
              <a:xfrm>
                <a:off x="11516202" y="5169628"/>
                <a:ext cx="29081" cy="27917"/>
              </a:xfrm>
              <a:prstGeom prst="rect">
                <a:avLst/>
              </a:prstGeom>
              <a:solidFill>
                <a:schemeClr val="accent5"/>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sz="1800" kern="0" dirty="0" smtClean="0">
                  <a:solidFill>
                    <a:srgbClr val="3F3F3F"/>
                  </a:solidFill>
                </a:endParaRPr>
              </a:p>
            </p:txBody>
          </p:sp>
          <p:sp>
            <p:nvSpPr>
              <p:cNvPr id="229" name="Rectangle 230"/>
              <p:cNvSpPr>
                <a:spLocks noChangeArrowheads="1"/>
              </p:cNvSpPr>
              <p:nvPr/>
            </p:nvSpPr>
            <p:spPr bwMode="auto">
              <a:xfrm>
                <a:off x="11548190" y="5169628"/>
                <a:ext cx="63396" cy="27917"/>
              </a:xfrm>
              <a:prstGeom prst="rect">
                <a:avLst/>
              </a:prstGeom>
              <a:solidFill>
                <a:schemeClr val="accent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sz="1800" kern="0" dirty="0" smtClean="0">
                  <a:solidFill>
                    <a:srgbClr val="3F3F3F"/>
                  </a:solidFill>
                </a:endParaRPr>
              </a:p>
            </p:txBody>
          </p:sp>
          <p:sp>
            <p:nvSpPr>
              <p:cNvPr id="230" name="Rectangle 231"/>
              <p:cNvSpPr>
                <a:spLocks noChangeArrowheads="1"/>
              </p:cNvSpPr>
              <p:nvPr/>
            </p:nvSpPr>
            <p:spPr bwMode="auto">
              <a:xfrm>
                <a:off x="11615076" y="5169628"/>
                <a:ext cx="30244" cy="27917"/>
              </a:xfrm>
              <a:prstGeom prst="rect">
                <a:avLst/>
              </a:prstGeom>
              <a:solidFill>
                <a:srgbClr val="FFB9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sz="1800" kern="0" dirty="0" smtClean="0">
                  <a:solidFill>
                    <a:srgbClr val="3F3F3F"/>
                  </a:solidFill>
                </a:endParaRPr>
              </a:p>
            </p:txBody>
          </p:sp>
          <p:sp>
            <p:nvSpPr>
              <p:cNvPr id="231" name="Rectangle 232"/>
              <p:cNvSpPr>
                <a:spLocks noChangeArrowheads="1"/>
              </p:cNvSpPr>
              <p:nvPr/>
            </p:nvSpPr>
            <p:spPr bwMode="auto">
              <a:xfrm>
                <a:off x="11516202" y="5201035"/>
                <a:ext cx="29081" cy="29662"/>
              </a:xfrm>
              <a:prstGeom prst="rect">
                <a:avLst/>
              </a:prstGeom>
              <a:solidFill>
                <a:srgbClr val="4BC1B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sz="1800" kern="0" dirty="0" smtClean="0">
                  <a:solidFill>
                    <a:srgbClr val="3F3F3F"/>
                  </a:solidFill>
                </a:endParaRPr>
              </a:p>
            </p:txBody>
          </p:sp>
          <p:sp>
            <p:nvSpPr>
              <p:cNvPr id="232" name="Rectangle 233"/>
              <p:cNvSpPr>
                <a:spLocks noChangeArrowheads="1"/>
              </p:cNvSpPr>
              <p:nvPr/>
            </p:nvSpPr>
            <p:spPr bwMode="auto">
              <a:xfrm>
                <a:off x="11548190" y="5201035"/>
                <a:ext cx="63396" cy="29662"/>
              </a:xfrm>
              <a:prstGeom prst="rect">
                <a:avLst/>
              </a:prstGeom>
              <a:solidFill>
                <a:srgbClr val="96969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sz="1800" kern="0" dirty="0" smtClean="0">
                  <a:solidFill>
                    <a:srgbClr val="3F3F3F"/>
                  </a:solidFill>
                </a:endParaRPr>
              </a:p>
            </p:txBody>
          </p:sp>
          <p:sp>
            <p:nvSpPr>
              <p:cNvPr id="233" name="Rectangle 234"/>
              <p:cNvSpPr>
                <a:spLocks noChangeArrowheads="1"/>
              </p:cNvSpPr>
              <p:nvPr/>
            </p:nvSpPr>
            <p:spPr bwMode="auto">
              <a:xfrm>
                <a:off x="11615076" y="5201035"/>
                <a:ext cx="30244" cy="29662"/>
              </a:xfrm>
              <a:prstGeom prst="rect">
                <a:avLst/>
              </a:prstGeom>
              <a:solidFill>
                <a:srgbClr val="0072C6"/>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sz="1800" kern="0" dirty="0" smtClean="0">
                  <a:solidFill>
                    <a:srgbClr val="3F3F3F"/>
                  </a:solidFill>
                </a:endParaRPr>
              </a:p>
            </p:txBody>
          </p:sp>
          <p:grpSp>
            <p:nvGrpSpPr>
              <p:cNvPr id="234" name="Group 233"/>
              <p:cNvGrpSpPr/>
              <p:nvPr/>
            </p:nvGrpSpPr>
            <p:grpSpPr>
              <a:xfrm>
                <a:off x="11624989" y="5362724"/>
                <a:ext cx="9280" cy="11537"/>
                <a:chOff x="16046420" y="2719840"/>
                <a:chExt cx="1794809" cy="2231321"/>
              </a:xfrm>
              <a:solidFill>
                <a:sysClr val="window" lastClr="FFFFFF"/>
              </a:solidFill>
            </p:grpSpPr>
            <p:sp>
              <p:nvSpPr>
                <p:cNvPr id="250" name="Freeform 237"/>
                <p:cNvSpPr>
                  <a:spLocks noEditPoints="1"/>
                </p:cNvSpPr>
                <p:nvPr/>
              </p:nvSpPr>
              <p:spPr bwMode="auto">
                <a:xfrm>
                  <a:off x="16266349" y="2719840"/>
                  <a:ext cx="1574880" cy="1574880"/>
                </a:xfrm>
                <a:prstGeom prst="donut">
                  <a:avLst>
                    <a:gd name="adj" fmla="val 21748"/>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sz="1800" kern="0" dirty="0" smtClean="0">
                    <a:solidFill>
                      <a:srgbClr val="3F3F3F"/>
                    </a:solidFill>
                  </a:endParaRPr>
                </a:p>
              </p:txBody>
            </p:sp>
            <p:sp>
              <p:nvSpPr>
                <p:cNvPr id="251" name="Freeform 238"/>
                <p:cNvSpPr>
                  <a:spLocks/>
                </p:cNvSpPr>
                <p:nvPr/>
              </p:nvSpPr>
              <p:spPr bwMode="auto">
                <a:xfrm rot="2687950">
                  <a:off x="16046420" y="3713718"/>
                  <a:ext cx="414623" cy="1237443"/>
                </a:xfrm>
                <a:prstGeom prst="roundRect">
                  <a:avLst>
                    <a:gd name="adj" fmla="val 50000"/>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sz="1800" kern="0" dirty="0" smtClean="0">
                    <a:solidFill>
                      <a:srgbClr val="3F3F3F"/>
                    </a:solidFill>
                  </a:endParaRPr>
                </a:p>
              </p:txBody>
            </p:sp>
          </p:grpSp>
          <p:sp>
            <p:nvSpPr>
              <p:cNvPr id="235" name="Freeform 244"/>
              <p:cNvSpPr>
                <a:spLocks/>
              </p:cNvSpPr>
              <p:nvPr/>
            </p:nvSpPr>
            <p:spPr bwMode="auto">
              <a:xfrm>
                <a:off x="11563894" y="5091110"/>
                <a:ext cx="36642" cy="4653"/>
              </a:xfrm>
              <a:prstGeom prst="roundRect">
                <a:avLst>
                  <a:gd name="adj" fmla="val 50000"/>
                </a:avLst>
              </a:prstGeom>
              <a:solidFill>
                <a:sysClr val="window" lastClr="FFFFFF"/>
              </a:solidFill>
              <a:ln>
                <a:noFill/>
              </a:ln>
            </p:spPr>
            <p:txBody>
              <a:bodyPr vert="horz" wrap="square" lIns="91440" tIns="45720" rIns="91440" bIns="45720" numCol="1" anchor="t" anchorCtr="0" compatLnSpc="1">
                <a:prstTxWarp prst="textNoShape">
                  <a:avLst/>
                </a:prstTxWarp>
              </a:bodyPr>
              <a:lstStyle/>
              <a:p>
                <a:pPr defTabSz="914400">
                  <a:defRPr/>
                </a:pPr>
                <a:endParaRPr lang="en-US" sz="1800" kern="0" dirty="0" smtClean="0">
                  <a:solidFill>
                    <a:srgbClr val="3F3F3F"/>
                  </a:solidFill>
                </a:endParaRPr>
              </a:p>
            </p:txBody>
          </p:sp>
          <p:grpSp>
            <p:nvGrpSpPr>
              <p:cNvPr id="236" name="Group 235"/>
              <p:cNvGrpSpPr/>
              <p:nvPr/>
            </p:nvGrpSpPr>
            <p:grpSpPr>
              <a:xfrm>
                <a:off x="11516202" y="5114375"/>
                <a:ext cx="9761" cy="8243"/>
                <a:chOff x="-5894478" y="-45314146"/>
                <a:chExt cx="1887887" cy="1237443"/>
              </a:xfrm>
            </p:grpSpPr>
            <p:sp>
              <p:nvSpPr>
                <p:cNvPr id="245" name="Rectangle 245"/>
                <p:cNvSpPr>
                  <a:spLocks noChangeArrowheads="1"/>
                </p:cNvSpPr>
                <p:nvPr/>
              </p:nvSpPr>
              <p:spPr bwMode="auto">
                <a:xfrm>
                  <a:off x="-4280911" y="-45314146"/>
                  <a:ext cx="274320" cy="1237443"/>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sz="1800" kern="0" dirty="0" smtClean="0">
                    <a:solidFill>
                      <a:srgbClr val="3F3F3F"/>
                    </a:solidFill>
                  </a:endParaRPr>
                </a:p>
              </p:txBody>
            </p:sp>
            <p:sp>
              <p:nvSpPr>
                <p:cNvPr id="246" name="Rectangle 246"/>
                <p:cNvSpPr>
                  <a:spLocks noChangeArrowheads="1"/>
                </p:cNvSpPr>
                <p:nvPr/>
              </p:nvSpPr>
              <p:spPr bwMode="auto">
                <a:xfrm>
                  <a:off x="-4684302" y="-45128263"/>
                  <a:ext cx="274320" cy="1051560"/>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sz="1800" kern="0" dirty="0" smtClean="0">
                    <a:solidFill>
                      <a:srgbClr val="3F3F3F"/>
                    </a:solidFill>
                  </a:endParaRPr>
                </a:p>
              </p:txBody>
            </p:sp>
            <p:sp>
              <p:nvSpPr>
                <p:cNvPr id="247" name="Rectangle 247"/>
                <p:cNvSpPr>
                  <a:spLocks noChangeArrowheads="1"/>
                </p:cNvSpPr>
                <p:nvPr/>
              </p:nvSpPr>
              <p:spPr bwMode="auto">
                <a:xfrm>
                  <a:off x="-5087694" y="-44945383"/>
                  <a:ext cx="274320" cy="868680"/>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sz="1800" kern="0" dirty="0" smtClean="0">
                    <a:solidFill>
                      <a:srgbClr val="3F3F3F"/>
                    </a:solidFill>
                  </a:endParaRPr>
                </a:p>
              </p:txBody>
            </p:sp>
            <p:sp>
              <p:nvSpPr>
                <p:cNvPr id="248" name="Rectangle 248"/>
                <p:cNvSpPr>
                  <a:spLocks noChangeArrowheads="1"/>
                </p:cNvSpPr>
                <p:nvPr/>
              </p:nvSpPr>
              <p:spPr bwMode="auto">
                <a:xfrm>
                  <a:off x="-5491086" y="-44762503"/>
                  <a:ext cx="274320" cy="685800"/>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sz="1800" kern="0" dirty="0" smtClean="0">
                    <a:solidFill>
                      <a:srgbClr val="3F3F3F"/>
                    </a:solidFill>
                  </a:endParaRPr>
                </a:p>
              </p:txBody>
            </p:sp>
            <p:sp>
              <p:nvSpPr>
                <p:cNvPr id="249" name="Rectangle 249"/>
                <p:cNvSpPr>
                  <a:spLocks noChangeArrowheads="1"/>
                </p:cNvSpPr>
                <p:nvPr/>
              </p:nvSpPr>
              <p:spPr bwMode="auto">
                <a:xfrm>
                  <a:off x="-5894478" y="-44579623"/>
                  <a:ext cx="274320" cy="502920"/>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sz="1800" kern="0" dirty="0" smtClean="0">
                    <a:solidFill>
                      <a:srgbClr val="3F3F3F"/>
                    </a:solidFill>
                  </a:endParaRPr>
                </a:p>
              </p:txBody>
            </p:sp>
          </p:grpSp>
          <p:sp>
            <p:nvSpPr>
              <p:cNvPr id="237" name="Rectangle 250"/>
              <p:cNvSpPr>
                <a:spLocks noChangeArrowheads="1"/>
              </p:cNvSpPr>
              <p:nvPr/>
            </p:nvSpPr>
            <p:spPr bwMode="auto">
              <a:xfrm>
                <a:off x="11638229" y="5115613"/>
                <a:ext cx="6398" cy="8117"/>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sz="1800" kern="0" dirty="0" smtClean="0">
                  <a:solidFill>
                    <a:srgbClr val="3F3F3F"/>
                  </a:solidFill>
                </a:endParaRPr>
              </a:p>
            </p:txBody>
          </p:sp>
          <p:sp>
            <p:nvSpPr>
              <p:cNvPr id="238" name="Freeform 79"/>
              <p:cNvSpPr>
                <a:spLocks/>
              </p:cNvSpPr>
              <p:nvPr/>
            </p:nvSpPr>
            <p:spPr bwMode="black">
              <a:xfrm>
                <a:off x="11518945" y="5362966"/>
                <a:ext cx="11681" cy="9981"/>
              </a:xfrm>
              <a:custGeom>
                <a:avLst/>
                <a:gdLst>
                  <a:gd name="T0" fmla="*/ 45 w 131"/>
                  <a:gd name="T1" fmla="*/ 60 h 96"/>
                  <a:gd name="T2" fmla="*/ 83 w 131"/>
                  <a:gd name="T3" fmla="*/ 96 h 96"/>
                  <a:gd name="T4" fmla="*/ 51 w 131"/>
                  <a:gd name="T5" fmla="*/ 96 h 96"/>
                  <a:gd name="T6" fmla="*/ 0 w 131"/>
                  <a:gd name="T7" fmla="*/ 47 h 96"/>
                  <a:gd name="T8" fmla="*/ 51 w 131"/>
                  <a:gd name="T9" fmla="*/ 0 h 96"/>
                  <a:gd name="T10" fmla="*/ 83 w 131"/>
                  <a:gd name="T11" fmla="*/ 0 h 96"/>
                  <a:gd name="T12" fmla="*/ 45 w 131"/>
                  <a:gd name="T13" fmla="*/ 35 h 96"/>
                  <a:gd name="T14" fmla="*/ 131 w 131"/>
                  <a:gd name="T15" fmla="*/ 35 h 96"/>
                  <a:gd name="T16" fmla="*/ 131 w 131"/>
                  <a:gd name="T17" fmla="*/ 60 h 96"/>
                  <a:gd name="T18" fmla="*/ 45 w 131"/>
                  <a:gd name="T19" fmla="*/ 60 h 96"/>
                  <a:gd name="connsiteX0" fmla="*/ 3435 w 10000"/>
                  <a:gd name="connsiteY0" fmla="*/ 7342 h 11092"/>
                  <a:gd name="connsiteX1" fmla="*/ 6336 w 10000"/>
                  <a:gd name="connsiteY1" fmla="*/ 11092 h 11092"/>
                  <a:gd name="connsiteX2" fmla="*/ 3893 w 10000"/>
                  <a:gd name="connsiteY2" fmla="*/ 11092 h 11092"/>
                  <a:gd name="connsiteX3" fmla="*/ 0 w 10000"/>
                  <a:gd name="connsiteY3" fmla="*/ 5988 h 11092"/>
                  <a:gd name="connsiteX4" fmla="*/ 3893 w 10000"/>
                  <a:gd name="connsiteY4" fmla="*/ 1092 h 11092"/>
                  <a:gd name="connsiteX5" fmla="*/ 6336 w 10000"/>
                  <a:gd name="connsiteY5" fmla="*/ 1092 h 11092"/>
                  <a:gd name="connsiteX6" fmla="*/ 3435 w 10000"/>
                  <a:gd name="connsiteY6" fmla="*/ 4738 h 11092"/>
                  <a:gd name="connsiteX7" fmla="*/ 10000 w 10000"/>
                  <a:gd name="connsiteY7" fmla="*/ 4738 h 11092"/>
                  <a:gd name="connsiteX8" fmla="*/ 10000 w 10000"/>
                  <a:gd name="connsiteY8" fmla="*/ 7342 h 11092"/>
                  <a:gd name="connsiteX9" fmla="*/ 3435 w 10000"/>
                  <a:gd name="connsiteY9" fmla="*/ 7342 h 11092"/>
                  <a:gd name="connsiteX0" fmla="*/ 3435 w 10000"/>
                  <a:gd name="connsiteY0" fmla="*/ 7629 h 11379"/>
                  <a:gd name="connsiteX1" fmla="*/ 6336 w 10000"/>
                  <a:gd name="connsiteY1" fmla="*/ 11379 h 11379"/>
                  <a:gd name="connsiteX2" fmla="*/ 3893 w 10000"/>
                  <a:gd name="connsiteY2" fmla="*/ 11379 h 11379"/>
                  <a:gd name="connsiteX3" fmla="*/ 0 w 10000"/>
                  <a:gd name="connsiteY3" fmla="*/ 6275 h 11379"/>
                  <a:gd name="connsiteX4" fmla="*/ 3893 w 10000"/>
                  <a:gd name="connsiteY4" fmla="*/ 1379 h 11379"/>
                  <a:gd name="connsiteX5" fmla="*/ 6336 w 10000"/>
                  <a:gd name="connsiteY5" fmla="*/ 1379 h 11379"/>
                  <a:gd name="connsiteX6" fmla="*/ 3435 w 10000"/>
                  <a:gd name="connsiteY6" fmla="*/ 5025 h 11379"/>
                  <a:gd name="connsiteX7" fmla="*/ 10000 w 10000"/>
                  <a:gd name="connsiteY7" fmla="*/ 5025 h 11379"/>
                  <a:gd name="connsiteX8" fmla="*/ 10000 w 10000"/>
                  <a:gd name="connsiteY8" fmla="*/ 7629 h 11379"/>
                  <a:gd name="connsiteX9" fmla="*/ 3435 w 10000"/>
                  <a:gd name="connsiteY9" fmla="*/ 7629 h 11379"/>
                  <a:gd name="connsiteX0" fmla="*/ 3435 w 10000"/>
                  <a:gd name="connsiteY0" fmla="*/ 7629 h 11379"/>
                  <a:gd name="connsiteX1" fmla="*/ 6336 w 10000"/>
                  <a:gd name="connsiteY1" fmla="*/ 11379 h 11379"/>
                  <a:gd name="connsiteX2" fmla="*/ 3893 w 10000"/>
                  <a:gd name="connsiteY2" fmla="*/ 11379 h 11379"/>
                  <a:gd name="connsiteX3" fmla="*/ 0 w 10000"/>
                  <a:gd name="connsiteY3" fmla="*/ 6275 h 11379"/>
                  <a:gd name="connsiteX4" fmla="*/ 3893 w 10000"/>
                  <a:gd name="connsiteY4" fmla="*/ 1379 h 11379"/>
                  <a:gd name="connsiteX5" fmla="*/ 6336 w 10000"/>
                  <a:gd name="connsiteY5" fmla="*/ 1379 h 11379"/>
                  <a:gd name="connsiteX6" fmla="*/ 3435 w 10000"/>
                  <a:gd name="connsiteY6" fmla="*/ 5025 h 11379"/>
                  <a:gd name="connsiteX7" fmla="*/ 10000 w 10000"/>
                  <a:gd name="connsiteY7" fmla="*/ 5025 h 11379"/>
                  <a:gd name="connsiteX8" fmla="*/ 10000 w 10000"/>
                  <a:gd name="connsiteY8" fmla="*/ 7629 h 11379"/>
                  <a:gd name="connsiteX9" fmla="*/ 3435 w 10000"/>
                  <a:gd name="connsiteY9" fmla="*/ 7629 h 11379"/>
                  <a:gd name="connsiteX0" fmla="*/ 3435 w 10000"/>
                  <a:gd name="connsiteY0" fmla="*/ 7629 h 12094"/>
                  <a:gd name="connsiteX1" fmla="*/ 6336 w 10000"/>
                  <a:gd name="connsiteY1" fmla="*/ 11379 h 12094"/>
                  <a:gd name="connsiteX2" fmla="*/ 3893 w 10000"/>
                  <a:gd name="connsiteY2" fmla="*/ 11379 h 12094"/>
                  <a:gd name="connsiteX3" fmla="*/ 0 w 10000"/>
                  <a:gd name="connsiteY3" fmla="*/ 6275 h 12094"/>
                  <a:gd name="connsiteX4" fmla="*/ 3893 w 10000"/>
                  <a:gd name="connsiteY4" fmla="*/ 1379 h 12094"/>
                  <a:gd name="connsiteX5" fmla="*/ 6336 w 10000"/>
                  <a:gd name="connsiteY5" fmla="*/ 1379 h 12094"/>
                  <a:gd name="connsiteX6" fmla="*/ 3435 w 10000"/>
                  <a:gd name="connsiteY6" fmla="*/ 5025 h 12094"/>
                  <a:gd name="connsiteX7" fmla="*/ 10000 w 10000"/>
                  <a:gd name="connsiteY7" fmla="*/ 5025 h 12094"/>
                  <a:gd name="connsiteX8" fmla="*/ 10000 w 10000"/>
                  <a:gd name="connsiteY8" fmla="*/ 7629 h 12094"/>
                  <a:gd name="connsiteX9" fmla="*/ 3435 w 10000"/>
                  <a:gd name="connsiteY9" fmla="*/ 7629 h 12094"/>
                  <a:gd name="connsiteX0" fmla="*/ 3435 w 10000"/>
                  <a:gd name="connsiteY0" fmla="*/ 7629 h 12524"/>
                  <a:gd name="connsiteX1" fmla="*/ 6336 w 10000"/>
                  <a:gd name="connsiteY1" fmla="*/ 11379 h 12524"/>
                  <a:gd name="connsiteX2" fmla="*/ 3893 w 10000"/>
                  <a:gd name="connsiteY2" fmla="*/ 11379 h 12524"/>
                  <a:gd name="connsiteX3" fmla="*/ 0 w 10000"/>
                  <a:gd name="connsiteY3" fmla="*/ 6275 h 12524"/>
                  <a:gd name="connsiteX4" fmla="*/ 3893 w 10000"/>
                  <a:gd name="connsiteY4" fmla="*/ 1379 h 12524"/>
                  <a:gd name="connsiteX5" fmla="*/ 6336 w 10000"/>
                  <a:gd name="connsiteY5" fmla="*/ 1379 h 12524"/>
                  <a:gd name="connsiteX6" fmla="*/ 3435 w 10000"/>
                  <a:gd name="connsiteY6" fmla="*/ 5025 h 12524"/>
                  <a:gd name="connsiteX7" fmla="*/ 10000 w 10000"/>
                  <a:gd name="connsiteY7" fmla="*/ 5025 h 12524"/>
                  <a:gd name="connsiteX8" fmla="*/ 10000 w 10000"/>
                  <a:gd name="connsiteY8" fmla="*/ 7629 h 12524"/>
                  <a:gd name="connsiteX9" fmla="*/ 3435 w 10000"/>
                  <a:gd name="connsiteY9" fmla="*/ 7629 h 12524"/>
                  <a:gd name="connsiteX0" fmla="*/ 3435 w 10000"/>
                  <a:gd name="connsiteY0" fmla="*/ 7629 h 12404"/>
                  <a:gd name="connsiteX1" fmla="*/ 6336 w 10000"/>
                  <a:gd name="connsiteY1" fmla="*/ 11379 h 12404"/>
                  <a:gd name="connsiteX2" fmla="*/ 3893 w 10000"/>
                  <a:gd name="connsiteY2" fmla="*/ 11379 h 12404"/>
                  <a:gd name="connsiteX3" fmla="*/ 0 w 10000"/>
                  <a:gd name="connsiteY3" fmla="*/ 6275 h 12404"/>
                  <a:gd name="connsiteX4" fmla="*/ 3893 w 10000"/>
                  <a:gd name="connsiteY4" fmla="*/ 1379 h 12404"/>
                  <a:gd name="connsiteX5" fmla="*/ 6336 w 10000"/>
                  <a:gd name="connsiteY5" fmla="*/ 1379 h 12404"/>
                  <a:gd name="connsiteX6" fmla="*/ 3435 w 10000"/>
                  <a:gd name="connsiteY6" fmla="*/ 5025 h 12404"/>
                  <a:gd name="connsiteX7" fmla="*/ 10000 w 10000"/>
                  <a:gd name="connsiteY7" fmla="*/ 5025 h 12404"/>
                  <a:gd name="connsiteX8" fmla="*/ 10000 w 10000"/>
                  <a:gd name="connsiteY8" fmla="*/ 7629 h 12404"/>
                  <a:gd name="connsiteX9" fmla="*/ 3435 w 10000"/>
                  <a:gd name="connsiteY9" fmla="*/ 7629 h 12404"/>
                  <a:gd name="connsiteX0" fmla="*/ 3435 w 10000"/>
                  <a:gd name="connsiteY0" fmla="*/ 7629 h 12831"/>
                  <a:gd name="connsiteX1" fmla="*/ 6336 w 10000"/>
                  <a:gd name="connsiteY1" fmla="*/ 11379 h 12831"/>
                  <a:gd name="connsiteX2" fmla="*/ 3893 w 10000"/>
                  <a:gd name="connsiteY2" fmla="*/ 11379 h 12831"/>
                  <a:gd name="connsiteX3" fmla="*/ 0 w 10000"/>
                  <a:gd name="connsiteY3" fmla="*/ 6275 h 12831"/>
                  <a:gd name="connsiteX4" fmla="*/ 3893 w 10000"/>
                  <a:gd name="connsiteY4" fmla="*/ 1379 h 12831"/>
                  <a:gd name="connsiteX5" fmla="*/ 6336 w 10000"/>
                  <a:gd name="connsiteY5" fmla="*/ 1379 h 12831"/>
                  <a:gd name="connsiteX6" fmla="*/ 3435 w 10000"/>
                  <a:gd name="connsiteY6" fmla="*/ 5025 h 12831"/>
                  <a:gd name="connsiteX7" fmla="*/ 10000 w 10000"/>
                  <a:gd name="connsiteY7" fmla="*/ 5025 h 12831"/>
                  <a:gd name="connsiteX8" fmla="*/ 10000 w 10000"/>
                  <a:gd name="connsiteY8" fmla="*/ 7629 h 12831"/>
                  <a:gd name="connsiteX9" fmla="*/ 3435 w 10000"/>
                  <a:gd name="connsiteY9" fmla="*/ 7629 h 12831"/>
                  <a:gd name="connsiteX0" fmla="*/ 3435 w 10000"/>
                  <a:gd name="connsiteY0" fmla="*/ 7629 h 12782"/>
                  <a:gd name="connsiteX1" fmla="*/ 6336 w 10000"/>
                  <a:gd name="connsiteY1" fmla="*/ 11379 h 12782"/>
                  <a:gd name="connsiteX2" fmla="*/ 3893 w 10000"/>
                  <a:gd name="connsiteY2" fmla="*/ 11379 h 12782"/>
                  <a:gd name="connsiteX3" fmla="*/ 0 w 10000"/>
                  <a:gd name="connsiteY3" fmla="*/ 6275 h 12782"/>
                  <a:gd name="connsiteX4" fmla="*/ 3893 w 10000"/>
                  <a:gd name="connsiteY4" fmla="*/ 1379 h 12782"/>
                  <a:gd name="connsiteX5" fmla="*/ 6336 w 10000"/>
                  <a:gd name="connsiteY5" fmla="*/ 1379 h 12782"/>
                  <a:gd name="connsiteX6" fmla="*/ 3435 w 10000"/>
                  <a:gd name="connsiteY6" fmla="*/ 5025 h 12782"/>
                  <a:gd name="connsiteX7" fmla="*/ 10000 w 10000"/>
                  <a:gd name="connsiteY7" fmla="*/ 5025 h 12782"/>
                  <a:gd name="connsiteX8" fmla="*/ 10000 w 10000"/>
                  <a:gd name="connsiteY8" fmla="*/ 7629 h 12782"/>
                  <a:gd name="connsiteX9" fmla="*/ 3435 w 10000"/>
                  <a:gd name="connsiteY9" fmla="*/ 7629 h 12782"/>
                  <a:gd name="connsiteX0" fmla="*/ 3435 w 10000"/>
                  <a:gd name="connsiteY0" fmla="*/ 7559 h 12712"/>
                  <a:gd name="connsiteX1" fmla="*/ 6336 w 10000"/>
                  <a:gd name="connsiteY1" fmla="*/ 11309 h 12712"/>
                  <a:gd name="connsiteX2" fmla="*/ 3893 w 10000"/>
                  <a:gd name="connsiteY2" fmla="*/ 11309 h 12712"/>
                  <a:gd name="connsiteX3" fmla="*/ 0 w 10000"/>
                  <a:gd name="connsiteY3" fmla="*/ 6205 h 12712"/>
                  <a:gd name="connsiteX4" fmla="*/ 3893 w 10000"/>
                  <a:gd name="connsiteY4" fmla="*/ 1309 h 12712"/>
                  <a:gd name="connsiteX5" fmla="*/ 6336 w 10000"/>
                  <a:gd name="connsiteY5" fmla="*/ 1309 h 12712"/>
                  <a:gd name="connsiteX6" fmla="*/ 3435 w 10000"/>
                  <a:gd name="connsiteY6" fmla="*/ 4955 h 12712"/>
                  <a:gd name="connsiteX7" fmla="*/ 10000 w 10000"/>
                  <a:gd name="connsiteY7" fmla="*/ 4955 h 12712"/>
                  <a:gd name="connsiteX8" fmla="*/ 10000 w 10000"/>
                  <a:gd name="connsiteY8" fmla="*/ 7559 h 12712"/>
                  <a:gd name="connsiteX9" fmla="*/ 3435 w 10000"/>
                  <a:gd name="connsiteY9" fmla="*/ 7559 h 12712"/>
                  <a:gd name="connsiteX0" fmla="*/ 3435 w 10634"/>
                  <a:gd name="connsiteY0" fmla="*/ 7559 h 12712"/>
                  <a:gd name="connsiteX1" fmla="*/ 6336 w 10634"/>
                  <a:gd name="connsiteY1" fmla="*/ 11309 h 12712"/>
                  <a:gd name="connsiteX2" fmla="*/ 3893 w 10634"/>
                  <a:gd name="connsiteY2" fmla="*/ 11309 h 12712"/>
                  <a:gd name="connsiteX3" fmla="*/ 0 w 10634"/>
                  <a:gd name="connsiteY3" fmla="*/ 6205 h 12712"/>
                  <a:gd name="connsiteX4" fmla="*/ 3893 w 10634"/>
                  <a:gd name="connsiteY4" fmla="*/ 1309 h 12712"/>
                  <a:gd name="connsiteX5" fmla="*/ 6336 w 10634"/>
                  <a:gd name="connsiteY5" fmla="*/ 1309 h 12712"/>
                  <a:gd name="connsiteX6" fmla="*/ 3435 w 10634"/>
                  <a:gd name="connsiteY6" fmla="*/ 4955 h 12712"/>
                  <a:gd name="connsiteX7" fmla="*/ 10000 w 10634"/>
                  <a:gd name="connsiteY7" fmla="*/ 4955 h 12712"/>
                  <a:gd name="connsiteX8" fmla="*/ 10000 w 10634"/>
                  <a:gd name="connsiteY8" fmla="*/ 7559 h 12712"/>
                  <a:gd name="connsiteX9" fmla="*/ 3435 w 10634"/>
                  <a:gd name="connsiteY9" fmla="*/ 7559 h 12712"/>
                  <a:gd name="connsiteX0" fmla="*/ 3435 w 11047"/>
                  <a:gd name="connsiteY0" fmla="*/ 7559 h 12712"/>
                  <a:gd name="connsiteX1" fmla="*/ 6336 w 11047"/>
                  <a:gd name="connsiteY1" fmla="*/ 11309 h 12712"/>
                  <a:gd name="connsiteX2" fmla="*/ 3893 w 11047"/>
                  <a:gd name="connsiteY2" fmla="*/ 11309 h 12712"/>
                  <a:gd name="connsiteX3" fmla="*/ 0 w 11047"/>
                  <a:gd name="connsiteY3" fmla="*/ 6205 h 12712"/>
                  <a:gd name="connsiteX4" fmla="*/ 3893 w 11047"/>
                  <a:gd name="connsiteY4" fmla="*/ 1309 h 12712"/>
                  <a:gd name="connsiteX5" fmla="*/ 6336 w 11047"/>
                  <a:gd name="connsiteY5" fmla="*/ 1309 h 12712"/>
                  <a:gd name="connsiteX6" fmla="*/ 3435 w 11047"/>
                  <a:gd name="connsiteY6" fmla="*/ 4955 h 12712"/>
                  <a:gd name="connsiteX7" fmla="*/ 10000 w 11047"/>
                  <a:gd name="connsiteY7" fmla="*/ 4955 h 12712"/>
                  <a:gd name="connsiteX8" fmla="*/ 10000 w 11047"/>
                  <a:gd name="connsiteY8" fmla="*/ 7559 h 12712"/>
                  <a:gd name="connsiteX9" fmla="*/ 3435 w 11047"/>
                  <a:gd name="connsiteY9" fmla="*/ 7559 h 12712"/>
                  <a:gd name="connsiteX0" fmla="*/ 3435 w 11047"/>
                  <a:gd name="connsiteY0" fmla="*/ 7559 h 12865"/>
                  <a:gd name="connsiteX1" fmla="*/ 6336 w 11047"/>
                  <a:gd name="connsiteY1" fmla="*/ 11309 h 12865"/>
                  <a:gd name="connsiteX2" fmla="*/ 3893 w 11047"/>
                  <a:gd name="connsiteY2" fmla="*/ 11309 h 12865"/>
                  <a:gd name="connsiteX3" fmla="*/ 0 w 11047"/>
                  <a:gd name="connsiteY3" fmla="*/ 6205 h 12865"/>
                  <a:gd name="connsiteX4" fmla="*/ 3893 w 11047"/>
                  <a:gd name="connsiteY4" fmla="*/ 1309 h 12865"/>
                  <a:gd name="connsiteX5" fmla="*/ 6336 w 11047"/>
                  <a:gd name="connsiteY5" fmla="*/ 1309 h 12865"/>
                  <a:gd name="connsiteX6" fmla="*/ 3435 w 11047"/>
                  <a:gd name="connsiteY6" fmla="*/ 4955 h 12865"/>
                  <a:gd name="connsiteX7" fmla="*/ 10000 w 11047"/>
                  <a:gd name="connsiteY7" fmla="*/ 4955 h 12865"/>
                  <a:gd name="connsiteX8" fmla="*/ 10000 w 11047"/>
                  <a:gd name="connsiteY8" fmla="*/ 7559 h 12865"/>
                  <a:gd name="connsiteX9" fmla="*/ 3435 w 11047"/>
                  <a:gd name="connsiteY9" fmla="*/ 7559 h 12865"/>
                  <a:gd name="connsiteX0" fmla="*/ 3435 w 11047"/>
                  <a:gd name="connsiteY0" fmla="*/ 7559 h 12787"/>
                  <a:gd name="connsiteX1" fmla="*/ 6336 w 11047"/>
                  <a:gd name="connsiteY1" fmla="*/ 11309 h 12787"/>
                  <a:gd name="connsiteX2" fmla="*/ 3893 w 11047"/>
                  <a:gd name="connsiteY2" fmla="*/ 11309 h 12787"/>
                  <a:gd name="connsiteX3" fmla="*/ 0 w 11047"/>
                  <a:gd name="connsiteY3" fmla="*/ 6205 h 12787"/>
                  <a:gd name="connsiteX4" fmla="*/ 3893 w 11047"/>
                  <a:gd name="connsiteY4" fmla="*/ 1309 h 12787"/>
                  <a:gd name="connsiteX5" fmla="*/ 6336 w 11047"/>
                  <a:gd name="connsiteY5" fmla="*/ 1309 h 12787"/>
                  <a:gd name="connsiteX6" fmla="*/ 3435 w 11047"/>
                  <a:gd name="connsiteY6" fmla="*/ 4955 h 12787"/>
                  <a:gd name="connsiteX7" fmla="*/ 10000 w 11047"/>
                  <a:gd name="connsiteY7" fmla="*/ 4955 h 12787"/>
                  <a:gd name="connsiteX8" fmla="*/ 10000 w 11047"/>
                  <a:gd name="connsiteY8" fmla="*/ 7559 h 12787"/>
                  <a:gd name="connsiteX9" fmla="*/ 3435 w 11047"/>
                  <a:gd name="connsiteY9" fmla="*/ 7559 h 12787"/>
                  <a:gd name="connsiteX0" fmla="*/ 3435 w 11047"/>
                  <a:gd name="connsiteY0" fmla="*/ 7665 h 12893"/>
                  <a:gd name="connsiteX1" fmla="*/ 6336 w 11047"/>
                  <a:gd name="connsiteY1" fmla="*/ 11415 h 12893"/>
                  <a:gd name="connsiteX2" fmla="*/ 3893 w 11047"/>
                  <a:gd name="connsiteY2" fmla="*/ 11415 h 12893"/>
                  <a:gd name="connsiteX3" fmla="*/ 0 w 11047"/>
                  <a:gd name="connsiteY3" fmla="*/ 6311 h 12893"/>
                  <a:gd name="connsiteX4" fmla="*/ 3893 w 11047"/>
                  <a:gd name="connsiteY4" fmla="*/ 1415 h 12893"/>
                  <a:gd name="connsiteX5" fmla="*/ 6336 w 11047"/>
                  <a:gd name="connsiteY5" fmla="*/ 1415 h 12893"/>
                  <a:gd name="connsiteX6" fmla="*/ 3435 w 11047"/>
                  <a:gd name="connsiteY6" fmla="*/ 5061 h 12893"/>
                  <a:gd name="connsiteX7" fmla="*/ 10000 w 11047"/>
                  <a:gd name="connsiteY7" fmla="*/ 5061 h 12893"/>
                  <a:gd name="connsiteX8" fmla="*/ 10000 w 11047"/>
                  <a:gd name="connsiteY8" fmla="*/ 7665 h 12893"/>
                  <a:gd name="connsiteX9" fmla="*/ 3435 w 11047"/>
                  <a:gd name="connsiteY9" fmla="*/ 7665 h 12893"/>
                  <a:gd name="connsiteX0" fmla="*/ 3435 w 11047"/>
                  <a:gd name="connsiteY0" fmla="*/ 7665 h 12998"/>
                  <a:gd name="connsiteX1" fmla="*/ 6336 w 11047"/>
                  <a:gd name="connsiteY1" fmla="*/ 11415 h 12998"/>
                  <a:gd name="connsiteX2" fmla="*/ 3893 w 11047"/>
                  <a:gd name="connsiteY2" fmla="*/ 11415 h 12998"/>
                  <a:gd name="connsiteX3" fmla="*/ 0 w 11047"/>
                  <a:gd name="connsiteY3" fmla="*/ 6311 h 12998"/>
                  <a:gd name="connsiteX4" fmla="*/ 3893 w 11047"/>
                  <a:gd name="connsiteY4" fmla="*/ 1415 h 12998"/>
                  <a:gd name="connsiteX5" fmla="*/ 6336 w 11047"/>
                  <a:gd name="connsiteY5" fmla="*/ 1415 h 12998"/>
                  <a:gd name="connsiteX6" fmla="*/ 3435 w 11047"/>
                  <a:gd name="connsiteY6" fmla="*/ 5061 h 12998"/>
                  <a:gd name="connsiteX7" fmla="*/ 10000 w 11047"/>
                  <a:gd name="connsiteY7" fmla="*/ 5061 h 12998"/>
                  <a:gd name="connsiteX8" fmla="*/ 10000 w 11047"/>
                  <a:gd name="connsiteY8" fmla="*/ 7665 h 12998"/>
                  <a:gd name="connsiteX9" fmla="*/ 3435 w 11047"/>
                  <a:gd name="connsiteY9" fmla="*/ 7665 h 12998"/>
                  <a:gd name="connsiteX0" fmla="*/ 3435 w 11047"/>
                  <a:gd name="connsiteY0" fmla="*/ 7632 h 12965"/>
                  <a:gd name="connsiteX1" fmla="*/ 6336 w 11047"/>
                  <a:gd name="connsiteY1" fmla="*/ 11382 h 12965"/>
                  <a:gd name="connsiteX2" fmla="*/ 3893 w 11047"/>
                  <a:gd name="connsiteY2" fmla="*/ 11382 h 12965"/>
                  <a:gd name="connsiteX3" fmla="*/ 0 w 11047"/>
                  <a:gd name="connsiteY3" fmla="*/ 6278 h 12965"/>
                  <a:gd name="connsiteX4" fmla="*/ 3893 w 11047"/>
                  <a:gd name="connsiteY4" fmla="*/ 1382 h 12965"/>
                  <a:gd name="connsiteX5" fmla="*/ 6336 w 11047"/>
                  <a:gd name="connsiteY5" fmla="*/ 1382 h 12965"/>
                  <a:gd name="connsiteX6" fmla="*/ 3435 w 11047"/>
                  <a:gd name="connsiteY6" fmla="*/ 5028 h 12965"/>
                  <a:gd name="connsiteX7" fmla="*/ 10000 w 11047"/>
                  <a:gd name="connsiteY7" fmla="*/ 5028 h 12965"/>
                  <a:gd name="connsiteX8" fmla="*/ 10000 w 11047"/>
                  <a:gd name="connsiteY8" fmla="*/ 7632 h 12965"/>
                  <a:gd name="connsiteX9" fmla="*/ 3435 w 11047"/>
                  <a:gd name="connsiteY9" fmla="*/ 7632 h 12965"/>
                  <a:gd name="connsiteX0" fmla="*/ 3435 w 11047"/>
                  <a:gd name="connsiteY0" fmla="*/ 7632 h 12965"/>
                  <a:gd name="connsiteX1" fmla="*/ 6336 w 11047"/>
                  <a:gd name="connsiteY1" fmla="*/ 11382 h 12965"/>
                  <a:gd name="connsiteX2" fmla="*/ 3893 w 11047"/>
                  <a:gd name="connsiteY2" fmla="*/ 11382 h 12965"/>
                  <a:gd name="connsiteX3" fmla="*/ 0 w 11047"/>
                  <a:gd name="connsiteY3" fmla="*/ 6278 h 12965"/>
                  <a:gd name="connsiteX4" fmla="*/ 3893 w 11047"/>
                  <a:gd name="connsiteY4" fmla="*/ 1382 h 12965"/>
                  <a:gd name="connsiteX5" fmla="*/ 6336 w 11047"/>
                  <a:gd name="connsiteY5" fmla="*/ 1382 h 12965"/>
                  <a:gd name="connsiteX6" fmla="*/ 3435 w 11047"/>
                  <a:gd name="connsiteY6" fmla="*/ 5028 h 12965"/>
                  <a:gd name="connsiteX7" fmla="*/ 10000 w 11047"/>
                  <a:gd name="connsiteY7" fmla="*/ 5028 h 12965"/>
                  <a:gd name="connsiteX8" fmla="*/ 10000 w 11047"/>
                  <a:gd name="connsiteY8" fmla="*/ 7632 h 12965"/>
                  <a:gd name="connsiteX9" fmla="*/ 3435 w 11047"/>
                  <a:gd name="connsiteY9" fmla="*/ 7632 h 12965"/>
                  <a:gd name="connsiteX0" fmla="*/ 3435 w 11047"/>
                  <a:gd name="connsiteY0" fmla="*/ 7693 h 13026"/>
                  <a:gd name="connsiteX1" fmla="*/ 6336 w 11047"/>
                  <a:gd name="connsiteY1" fmla="*/ 11443 h 13026"/>
                  <a:gd name="connsiteX2" fmla="*/ 3893 w 11047"/>
                  <a:gd name="connsiteY2" fmla="*/ 11443 h 13026"/>
                  <a:gd name="connsiteX3" fmla="*/ 0 w 11047"/>
                  <a:gd name="connsiteY3" fmla="*/ 6339 h 13026"/>
                  <a:gd name="connsiteX4" fmla="*/ 3893 w 11047"/>
                  <a:gd name="connsiteY4" fmla="*/ 1443 h 13026"/>
                  <a:gd name="connsiteX5" fmla="*/ 6336 w 11047"/>
                  <a:gd name="connsiteY5" fmla="*/ 1443 h 13026"/>
                  <a:gd name="connsiteX6" fmla="*/ 3435 w 11047"/>
                  <a:gd name="connsiteY6" fmla="*/ 5089 h 13026"/>
                  <a:gd name="connsiteX7" fmla="*/ 10000 w 11047"/>
                  <a:gd name="connsiteY7" fmla="*/ 5089 h 13026"/>
                  <a:gd name="connsiteX8" fmla="*/ 10000 w 11047"/>
                  <a:gd name="connsiteY8" fmla="*/ 7693 h 13026"/>
                  <a:gd name="connsiteX9" fmla="*/ 3435 w 11047"/>
                  <a:gd name="connsiteY9" fmla="*/ 7693 h 13026"/>
                  <a:gd name="connsiteX0" fmla="*/ 3435 w 11047"/>
                  <a:gd name="connsiteY0" fmla="*/ 7693 h 12880"/>
                  <a:gd name="connsiteX1" fmla="*/ 6336 w 11047"/>
                  <a:gd name="connsiteY1" fmla="*/ 11443 h 12880"/>
                  <a:gd name="connsiteX2" fmla="*/ 3893 w 11047"/>
                  <a:gd name="connsiteY2" fmla="*/ 11443 h 12880"/>
                  <a:gd name="connsiteX3" fmla="*/ 0 w 11047"/>
                  <a:gd name="connsiteY3" fmla="*/ 6339 h 12880"/>
                  <a:gd name="connsiteX4" fmla="*/ 3893 w 11047"/>
                  <a:gd name="connsiteY4" fmla="*/ 1443 h 12880"/>
                  <a:gd name="connsiteX5" fmla="*/ 6336 w 11047"/>
                  <a:gd name="connsiteY5" fmla="*/ 1443 h 12880"/>
                  <a:gd name="connsiteX6" fmla="*/ 3435 w 11047"/>
                  <a:gd name="connsiteY6" fmla="*/ 5089 h 12880"/>
                  <a:gd name="connsiteX7" fmla="*/ 10000 w 11047"/>
                  <a:gd name="connsiteY7" fmla="*/ 5089 h 12880"/>
                  <a:gd name="connsiteX8" fmla="*/ 10000 w 11047"/>
                  <a:gd name="connsiteY8" fmla="*/ 7693 h 12880"/>
                  <a:gd name="connsiteX9" fmla="*/ 3435 w 11047"/>
                  <a:gd name="connsiteY9" fmla="*/ 7693 h 1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47" h="12880">
                    <a:moveTo>
                      <a:pt x="3435" y="7693"/>
                    </a:moveTo>
                    <a:lnTo>
                      <a:pt x="6336" y="11443"/>
                    </a:lnTo>
                    <a:cubicBezTo>
                      <a:pt x="6466" y="13714"/>
                      <a:pt x="4769" y="12969"/>
                      <a:pt x="3893" y="11443"/>
                    </a:cubicBezTo>
                    <a:lnTo>
                      <a:pt x="0" y="6339"/>
                    </a:lnTo>
                    <a:lnTo>
                      <a:pt x="3893" y="1443"/>
                    </a:lnTo>
                    <a:cubicBezTo>
                      <a:pt x="5017" y="2"/>
                      <a:pt x="6193" y="-913"/>
                      <a:pt x="6336" y="1443"/>
                    </a:cubicBezTo>
                    <a:lnTo>
                      <a:pt x="3435" y="5089"/>
                    </a:lnTo>
                    <a:lnTo>
                      <a:pt x="10000" y="5089"/>
                    </a:lnTo>
                    <a:cubicBezTo>
                      <a:pt x="11366" y="5110"/>
                      <a:pt x="11428" y="7588"/>
                      <a:pt x="10000" y="7693"/>
                    </a:cubicBezTo>
                    <a:lnTo>
                      <a:pt x="3435" y="7693"/>
                    </a:ln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pPr defTabSz="914400">
                  <a:defRPr/>
                </a:pPr>
                <a:endParaRPr lang="en-US" sz="1800" kern="0" dirty="0" smtClean="0">
                  <a:solidFill>
                    <a:srgbClr val="3F3F3F"/>
                  </a:solidFill>
                </a:endParaRPr>
              </a:p>
            </p:txBody>
          </p:sp>
          <p:grpSp>
            <p:nvGrpSpPr>
              <p:cNvPr id="239" name="Group 238"/>
              <p:cNvGrpSpPr/>
              <p:nvPr/>
            </p:nvGrpSpPr>
            <p:grpSpPr>
              <a:xfrm>
                <a:off x="11572464" y="5361400"/>
                <a:ext cx="12532" cy="12558"/>
                <a:chOff x="6479604" y="3057276"/>
                <a:chExt cx="1239360" cy="1241957"/>
              </a:xfrm>
            </p:grpSpPr>
            <p:sp>
              <p:nvSpPr>
                <p:cNvPr id="241" name="Rectangle 240"/>
                <p:cNvSpPr>
                  <a:spLocks noChangeArrowheads="1"/>
                </p:cNvSpPr>
                <p:nvPr/>
              </p:nvSpPr>
              <p:spPr bwMode="auto">
                <a:xfrm>
                  <a:off x="6479604" y="3057276"/>
                  <a:ext cx="562492" cy="566928"/>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sz="1800" kern="0" dirty="0" smtClean="0">
                    <a:solidFill>
                      <a:srgbClr val="3F3F3F"/>
                    </a:solidFill>
                  </a:endParaRPr>
                </a:p>
              </p:txBody>
            </p:sp>
            <p:sp>
              <p:nvSpPr>
                <p:cNvPr id="242" name="Rectangle 242"/>
                <p:cNvSpPr>
                  <a:spLocks noChangeArrowheads="1"/>
                </p:cNvSpPr>
                <p:nvPr/>
              </p:nvSpPr>
              <p:spPr bwMode="auto">
                <a:xfrm>
                  <a:off x="6479604" y="3732305"/>
                  <a:ext cx="562492" cy="566928"/>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sz="1800" kern="0" dirty="0" smtClean="0">
                    <a:solidFill>
                      <a:srgbClr val="3F3F3F"/>
                    </a:solidFill>
                  </a:endParaRPr>
                </a:p>
              </p:txBody>
            </p:sp>
            <p:sp>
              <p:nvSpPr>
                <p:cNvPr id="243" name="Rectangle 240"/>
                <p:cNvSpPr>
                  <a:spLocks noChangeArrowheads="1"/>
                </p:cNvSpPr>
                <p:nvPr/>
              </p:nvSpPr>
              <p:spPr bwMode="auto">
                <a:xfrm>
                  <a:off x="7156472" y="3057276"/>
                  <a:ext cx="562492" cy="566928"/>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sz="1800" kern="0" dirty="0" smtClean="0">
                    <a:solidFill>
                      <a:srgbClr val="3F3F3F"/>
                    </a:solidFill>
                  </a:endParaRPr>
                </a:p>
              </p:txBody>
            </p:sp>
            <p:sp>
              <p:nvSpPr>
                <p:cNvPr id="244" name="Rectangle 242"/>
                <p:cNvSpPr>
                  <a:spLocks noChangeArrowheads="1"/>
                </p:cNvSpPr>
                <p:nvPr/>
              </p:nvSpPr>
              <p:spPr bwMode="auto">
                <a:xfrm>
                  <a:off x="7156472" y="3732305"/>
                  <a:ext cx="562492" cy="566928"/>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sz="1800" kern="0" dirty="0" smtClean="0">
                    <a:solidFill>
                      <a:srgbClr val="3F3F3F"/>
                    </a:solidFill>
                  </a:endParaRPr>
                </a:p>
              </p:txBody>
            </p:sp>
          </p:grpSp>
          <p:sp>
            <p:nvSpPr>
              <p:cNvPr id="240" name="Rectangle 250"/>
              <p:cNvSpPr>
                <a:spLocks noChangeArrowheads="1"/>
              </p:cNvSpPr>
              <p:nvPr/>
            </p:nvSpPr>
            <p:spPr bwMode="auto">
              <a:xfrm>
                <a:off x="11639433" y="5114539"/>
                <a:ext cx="3991" cy="1238"/>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sz="1800" kern="0" dirty="0" smtClean="0">
                  <a:solidFill>
                    <a:srgbClr val="3F3F3F"/>
                  </a:solidFill>
                </a:endParaRPr>
              </a:p>
            </p:txBody>
          </p:sp>
        </p:grpSp>
      </p:grpSp>
      <p:grpSp>
        <p:nvGrpSpPr>
          <p:cNvPr id="254" name="Group 253"/>
          <p:cNvGrpSpPr/>
          <p:nvPr/>
        </p:nvGrpSpPr>
        <p:grpSpPr>
          <a:xfrm>
            <a:off x="9891103" y="4980265"/>
            <a:ext cx="484743" cy="1311943"/>
            <a:chOff x="9154146" y="4395069"/>
            <a:chExt cx="579609" cy="1568694"/>
          </a:xfrm>
        </p:grpSpPr>
        <p:sp>
          <p:nvSpPr>
            <p:cNvPr id="255" name="Freeform 34"/>
            <p:cNvSpPr>
              <a:spLocks/>
            </p:cNvSpPr>
            <p:nvPr/>
          </p:nvSpPr>
          <p:spPr bwMode="auto">
            <a:xfrm>
              <a:off x="9655722" y="5264472"/>
              <a:ext cx="65272" cy="73104"/>
            </a:xfrm>
            <a:custGeom>
              <a:avLst/>
              <a:gdLst>
                <a:gd name="T0" fmla="*/ 0 w 110"/>
                <a:gd name="T1" fmla="*/ 0 h 121"/>
                <a:gd name="T2" fmla="*/ 0 w 110"/>
                <a:gd name="T3" fmla="*/ 66 h 121"/>
                <a:gd name="T4" fmla="*/ 55 w 110"/>
                <a:gd name="T5" fmla="*/ 121 h 121"/>
                <a:gd name="T6" fmla="*/ 110 w 110"/>
                <a:gd name="T7" fmla="*/ 66 h 121"/>
                <a:gd name="T8" fmla="*/ 110 w 110"/>
                <a:gd name="T9" fmla="*/ 0 h 121"/>
                <a:gd name="T10" fmla="*/ 0 w 110"/>
                <a:gd name="T11" fmla="*/ 0 h 121"/>
              </a:gdLst>
              <a:ahLst/>
              <a:cxnLst>
                <a:cxn ang="0">
                  <a:pos x="T0" y="T1"/>
                </a:cxn>
                <a:cxn ang="0">
                  <a:pos x="T2" y="T3"/>
                </a:cxn>
                <a:cxn ang="0">
                  <a:pos x="T4" y="T5"/>
                </a:cxn>
                <a:cxn ang="0">
                  <a:pos x="T6" y="T7"/>
                </a:cxn>
                <a:cxn ang="0">
                  <a:pos x="T8" y="T9"/>
                </a:cxn>
                <a:cxn ang="0">
                  <a:pos x="T10" y="T11"/>
                </a:cxn>
              </a:cxnLst>
              <a:rect l="0" t="0" r="r" b="b"/>
              <a:pathLst>
                <a:path w="110" h="121">
                  <a:moveTo>
                    <a:pt x="0" y="0"/>
                  </a:moveTo>
                  <a:lnTo>
                    <a:pt x="0" y="66"/>
                  </a:lnTo>
                  <a:cubicBezTo>
                    <a:pt x="0" y="96"/>
                    <a:pt x="25" y="121"/>
                    <a:pt x="55" y="121"/>
                  </a:cubicBezTo>
                  <a:cubicBezTo>
                    <a:pt x="85" y="121"/>
                    <a:pt x="110" y="96"/>
                    <a:pt x="110" y="66"/>
                  </a:cubicBezTo>
                  <a:lnTo>
                    <a:pt x="110" y="0"/>
                  </a:lnTo>
                  <a:lnTo>
                    <a:pt x="0" y="0"/>
                  </a:lnTo>
                  <a:close/>
                </a:path>
              </a:pathLst>
            </a:custGeom>
            <a:solidFill>
              <a:srgbClr val="FFB9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3F3F3F"/>
                </a:solidFill>
              </a:endParaRPr>
            </a:p>
          </p:txBody>
        </p:sp>
        <p:sp>
          <p:nvSpPr>
            <p:cNvPr id="256" name="Freeform 26"/>
            <p:cNvSpPr>
              <a:spLocks/>
            </p:cNvSpPr>
            <p:nvPr/>
          </p:nvSpPr>
          <p:spPr bwMode="auto">
            <a:xfrm>
              <a:off x="9353885" y="4421178"/>
              <a:ext cx="195815" cy="237589"/>
            </a:xfrm>
            <a:custGeom>
              <a:avLst/>
              <a:gdLst>
                <a:gd name="T0" fmla="*/ 299 w 331"/>
                <a:gd name="T1" fmla="*/ 227 h 402"/>
                <a:gd name="T2" fmla="*/ 117 w 331"/>
                <a:gd name="T3" fmla="*/ 376 h 402"/>
                <a:gd name="T4" fmla="*/ 32 w 331"/>
                <a:gd name="T5" fmla="*/ 154 h 402"/>
                <a:gd name="T6" fmla="*/ 232 w 331"/>
                <a:gd name="T7" fmla="*/ 26 h 402"/>
                <a:gd name="T8" fmla="*/ 299 w 331"/>
                <a:gd name="T9" fmla="*/ 227 h 402"/>
              </a:gdLst>
              <a:ahLst/>
              <a:cxnLst>
                <a:cxn ang="0">
                  <a:pos x="T0" y="T1"/>
                </a:cxn>
                <a:cxn ang="0">
                  <a:pos x="T2" y="T3"/>
                </a:cxn>
                <a:cxn ang="0">
                  <a:pos x="T4" y="T5"/>
                </a:cxn>
                <a:cxn ang="0">
                  <a:pos x="T6" y="T7"/>
                </a:cxn>
                <a:cxn ang="0">
                  <a:pos x="T8" y="T9"/>
                </a:cxn>
              </a:cxnLst>
              <a:rect l="0" t="0" r="r" b="b"/>
              <a:pathLst>
                <a:path w="331" h="402">
                  <a:moveTo>
                    <a:pt x="299" y="227"/>
                  </a:moveTo>
                  <a:cubicBezTo>
                    <a:pt x="267" y="324"/>
                    <a:pt x="196" y="402"/>
                    <a:pt x="117" y="376"/>
                  </a:cubicBezTo>
                  <a:cubicBezTo>
                    <a:pt x="38" y="350"/>
                    <a:pt x="0" y="250"/>
                    <a:pt x="32" y="154"/>
                  </a:cubicBezTo>
                  <a:cubicBezTo>
                    <a:pt x="63" y="57"/>
                    <a:pt x="153" y="0"/>
                    <a:pt x="232" y="26"/>
                  </a:cubicBezTo>
                  <a:cubicBezTo>
                    <a:pt x="311" y="52"/>
                    <a:pt x="331" y="131"/>
                    <a:pt x="299" y="227"/>
                  </a:cubicBezTo>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3F3F3F"/>
                </a:solidFill>
              </a:endParaRPr>
            </a:p>
          </p:txBody>
        </p:sp>
        <p:sp>
          <p:nvSpPr>
            <p:cNvPr id="257" name="Freeform 27"/>
            <p:cNvSpPr>
              <a:spLocks/>
            </p:cNvSpPr>
            <p:nvPr/>
          </p:nvSpPr>
          <p:spPr bwMode="auto">
            <a:xfrm>
              <a:off x="9327777" y="4395069"/>
              <a:ext cx="195815" cy="221924"/>
            </a:xfrm>
            <a:custGeom>
              <a:avLst/>
              <a:gdLst>
                <a:gd name="T0" fmla="*/ 281 w 330"/>
                <a:gd name="T1" fmla="*/ 119 h 374"/>
                <a:gd name="T2" fmla="*/ 253 w 330"/>
                <a:gd name="T3" fmla="*/ 336 h 374"/>
                <a:gd name="T4" fmla="*/ 48 w 330"/>
                <a:gd name="T5" fmla="*/ 256 h 374"/>
                <a:gd name="T6" fmla="*/ 77 w 330"/>
                <a:gd name="T7" fmla="*/ 38 h 374"/>
                <a:gd name="T8" fmla="*/ 281 w 330"/>
                <a:gd name="T9" fmla="*/ 119 h 374"/>
              </a:gdLst>
              <a:ahLst/>
              <a:cxnLst>
                <a:cxn ang="0">
                  <a:pos x="T0" y="T1"/>
                </a:cxn>
                <a:cxn ang="0">
                  <a:pos x="T2" y="T3"/>
                </a:cxn>
                <a:cxn ang="0">
                  <a:pos x="T4" y="T5"/>
                </a:cxn>
                <a:cxn ang="0">
                  <a:pos x="T6" y="T7"/>
                </a:cxn>
                <a:cxn ang="0">
                  <a:pos x="T8" y="T9"/>
                </a:cxn>
              </a:cxnLst>
              <a:rect l="0" t="0" r="r" b="b"/>
              <a:pathLst>
                <a:path w="330" h="374">
                  <a:moveTo>
                    <a:pt x="281" y="119"/>
                  </a:moveTo>
                  <a:cubicBezTo>
                    <a:pt x="330" y="201"/>
                    <a:pt x="317" y="299"/>
                    <a:pt x="253" y="336"/>
                  </a:cubicBezTo>
                  <a:cubicBezTo>
                    <a:pt x="188" y="374"/>
                    <a:pt x="97" y="338"/>
                    <a:pt x="48" y="256"/>
                  </a:cubicBezTo>
                  <a:cubicBezTo>
                    <a:pt x="0" y="173"/>
                    <a:pt x="13" y="76"/>
                    <a:pt x="77" y="38"/>
                  </a:cubicBezTo>
                  <a:cubicBezTo>
                    <a:pt x="142" y="0"/>
                    <a:pt x="233" y="36"/>
                    <a:pt x="281" y="119"/>
                  </a:cubicBezTo>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3F3F3F"/>
                </a:solidFill>
              </a:endParaRPr>
            </a:p>
          </p:txBody>
        </p:sp>
        <p:sp>
          <p:nvSpPr>
            <p:cNvPr id="258" name="Freeform 28"/>
            <p:cNvSpPr>
              <a:spLocks/>
            </p:cNvSpPr>
            <p:nvPr/>
          </p:nvSpPr>
          <p:spPr bwMode="auto">
            <a:xfrm>
              <a:off x="9393049" y="4601328"/>
              <a:ext cx="99213" cy="107046"/>
            </a:xfrm>
            <a:custGeom>
              <a:avLst/>
              <a:gdLst>
                <a:gd name="T0" fmla="*/ 38 w 38"/>
                <a:gd name="T1" fmla="*/ 31 h 41"/>
                <a:gd name="T2" fmla="*/ 19 w 38"/>
                <a:gd name="T3" fmla="*/ 41 h 41"/>
                <a:gd name="T4" fmla="*/ 0 w 38"/>
                <a:gd name="T5" fmla="*/ 31 h 41"/>
                <a:gd name="T6" fmla="*/ 0 w 38"/>
                <a:gd name="T7" fmla="*/ 0 h 41"/>
                <a:gd name="T8" fmla="*/ 38 w 38"/>
                <a:gd name="T9" fmla="*/ 0 h 41"/>
                <a:gd name="T10" fmla="*/ 38 w 38"/>
                <a:gd name="T11" fmla="*/ 31 h 41"/>
              </a:gdLst>
              <a:ahLst/>
              <a:cxnLst>
                <a:cxn ang="0">
                  <a:pos x="T0" y="T1"/>
                </a:cxn>
                <a:cxn ang="0">
                  <a:pos x="T2" y="T3"/>
                </a:cxn>
                <a:cxn ang="0">
                  <a:pos x="T4" y="T5"/>
                </a:cxn>
                <a:cxn ang="0">
                  <a:pos x="T6" y="T7"/>
                </a:cxn>
                <a:cxn ang="0">
                  <a:pos x="T8" y="T9"/>
                </a:cxn>
                <a:cxn ang="0">
                  <a:pos x="T10" y="T11"/>
                </a:cxn>
              </a:cxnLst>
              <a:rect l="0" t="0" r="r" b="b"/>
              <a:pathLst>
                <a:path w="38" h="41">
                  <a:moveTo>
                    <a:pt x="38" y="31"/>
                  </a:moveTo>
                  <a:lnTo>
                    <a:pt x="19" y="41"/>
                  </a:lnTo>
                  <a:lnTo>
                    <a:pt x="0" y="31"/>
                  </a:lnTo>
                  <a:lnTo>
                    <a:pt x="0" y="0"/>
                  </a:lnTo>
                  <a:lnTo>
                    <a:pt x="38" y="0"/>
                  </a:lnTo>
                  <a:lnTo>
                    <a:pt x="38" y="31"/>
                  </a:lnTo>
                  <a:close/>
                </a:path>
              </a:pathLst>
            </a:custGeom>
            <a:solidFill>
              <a:srgbClr val="FFB900"/>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3F3F3F"/>
                </a:solidFill>
              </a:endParaRPr>
            </a:p>
          </p:txBody>
        </p:sp>
        <p:sp>
          <p:nvSpPr>
            <p:cNvPr id="259" name="Freeform 32"/>
            <p:cNvSpPr>
              <a:spLocks/>
            </p:cNvSpPr>
            <p:nvPr/>
          </p:nvSpPr>
          <p:spPr bwMode="auto">
            <a:xfrm>
              <a:off x="9309501" y="5321926"/>
              <a:ext cx="130543" cy="587445"/>
            </a:xfrm>
            <a:custGeom>
              <a:avLst/>
              <a:gdLst>
                <a:gd name="T0" fmla="*/ 41 w 50"/>
                <a:gd name="T1" fmla="*/ 225 h 225"/>
                <a:gd name="T2" fmla="*/ 6 w 50"/>
                <a:gd name="T3" fmla="*/ 225 h 225"/>
                <a:gd name="T4" fmla="*/ 0 w 50"/>
                <a:gd name="T5" fmla="*/ 0 h 225"/>
                <a:gd name="T6" fmla="*/ 50 w 50"/>
                <a:gd name="T7" fmla="*/ 0 h 225"/>
                <a:gd name="T8" fmla="*/ 41 w 50"/>
                <a:gd name="T9" fmla="*/ 225 h 225"/>
              </a:gdLst>
              <a:ahLst/>
              <a:cxnLst>
                <a:cxn ang="0">
                  <a:pos x="T0" y="T1"/>
                </a:cxn>
                <a:cxn ang="0">
                  <a:pos x="T2" y="T3"/>
                </a:cxn>
                <a:cxn ang="0">
                  <a:pos x="T4" y="T5"/>
                </a:cxn>
                <a:cxn ang="0">
                  <a:pos x="T6" y="T7"/>
                </a:cxn>
                <a:cxn ang="0">
                  <a:pos x="T8" y="T9"/>
                </a:cxn>
              </a:cxnLst>
              <a:rect l="0" t="0" r="r" b="b"/>
              <a:pathLst>
                <a:path w="50" h="225">
                  <a:moveTo>
                    <a:pt x="41" y="225"/>
                  </a:moveTo>
                  <a:lnTo>
                    <a:pt x="6" y="225"/>
                  </a:lnTo>
                  <a:lnTo>
                    <a:pt x="0" y="0"/>
                  </a:lnTo>
                  <a:lnTo>
                    <a:pt x="50" y="0"/>
                  </a:lnTo>
                  <a:lnTo>
                    <a:pt x="41" y="225"/>
                  </a:lnTo>
                  <a:close/>
                </a:path>
              </a:pathLst>
            </a:custGeom>
            <a:solidFill>
              <a:srgbClr val="0072C6"/>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3F3F3F"/>
                </a:solidFill>
              </a:endParaRPr>
            </a:p>
          </p:txBody>
        </p:sp>
        <p:sp>
          <p:nvSpPr>
            <p:cNvPr id="260" name="Freeform 33"/>
            <p:cNvSpPr>
              <a:spLocks/>
            </p:cNvSpPr>
            <p:nvPr/>
          </p:nvSpPr>
          <p:spPr bwMode="auto">
            <a:xfrm>
              <a:off x="9445267" y="5321926"/>
              <a:ext cx="127933" cy="587445"/>
            </a:xfrm>
            <a:custGeom>
              <a:avLst/>
              <a:gdLst>
                <a:gd name="T0" fmla="*/ 43 w 49"/>
                <a:gd name="T1" fmla="*/ 225 h 225"/>
                <a:gd name="T2" fmla="*/ 8 w 49"/>
                <a:gd name="T3" fmla="*/ 225 h 225"/>
                <a:gd name="T4" fmla="*/ 0 w 49"/>
                <a:gd name="T5" fmla="*/ 0 h 225"/>
                <a:gd name="T6" fmla="*/ 49 w 49"/>
                <a:gd name="T7" fmla="*/ 0 h 225"/>
                <a:gd name="T8" fmla="*/ 43 w 49"/>
                <a:gd name="T9" fmla="*/ 225 h 225"/>
              </a:gdLst>
              <a:ahLst/>
              <a:cxnLst>
                <a:cxn ang="0">
                  <a:pos x="T0" y="T1"/>
                </a:cxn>
                <a:cxn ang="0">
                  <a:pos x="T2" y="T3"/>
                </a:cxn>
                <a:cxn ang="0">
                  <a:pos x="T4" y="T5"/>
                </a:cxn>
                <a:cxn ang="0">
                  <a:pos x="T6" y="T7"/>
                </a:cxn>
                <a:cxn ang="0">
                  <a:pos x="T8" y="T9"/>
                </a:cxn>
              </a:cxnLst>
              <a:rect l="0" t="0" r="r" b="b"/>
              <a:pathLst>
                <a:path w="49" h="225">
                  <a:moveTo>
                    <a:pt x="43" y="225"/>
                  </a:moveTo>
                  <a:lnTo>
                    <a:pt x="8" y="225"/>
                  </a:lnTo>
                  <a:lnTo>
                    <a:pt x="0" y="0"/>
                  </a:lnTo>
                  <a:lnTo>
                    <a:pt x="49" y="0"/>
                  </a:lnTo>
                  <a:lnTo>
                    <a:pt x="43" y="225"/>
                  </a:lnTo>
                  <a:close/>
                </a:path>
              </a:pathLst>
            </a:custGeom>
            <a:solidFill>
              <a:srgbClr val="0072C6"/>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3F3F3F"/>
                </a:solidFill>
              </a:endParaRPr>
            </a:p>
          </p:txBody>
        </p:sp>
        <p:sp>
          <p:nvSpPr>
            <p:cNvPr id="261" name="Freeform 34"/>
            <p:cNvSpPr>
              <a:spLocks/>
            </p:cNvSpPr>
            <p:nvPr/>
          </p:nvSpPr>
          <p:spPr bwMode="auto">
            <a:xfrm>
              <a:off x="9163293" y="5269709"/>
              <a:ext cx="65272" cy="73104"/>
            </a:xfrm>
            <a:custGeom>
              <a:avLst/>
              <a:gdLst>
                <a:gd name="T0" fmla="*/ 0 w 110"/>
                <a:gd name="T1" fmla="*/ 0 h 121"/>
                <a:gd name="T2" fmla="*/ 0 w 110"/>
                <a:gd name="T3" fmla="*/ 66 h 121"/>
                <a:gd name="T4" fmla="*/ 55 w 110"/>
                <a:gd name="T5" fmla="*/ 121 h 121"/>
                <a:gd name="T6" fmla="*/ 110 w 110"/>
                <a:gd name="T7" fmla="*/ 66 h 121"/>
                <a:gd name="T8" fmla="*/ 110 w 110"/>
                <a:gd name="T9" fmla="*/ 0 h 121"/>
                <a:gd name="T10" fmla="*/ 0 w 110"/>
                <a:gd name="T11" fmla="*/ 0 h 121"/>
              </a:gdLst>
              <a:ahLst/>
              <a:cxnLst>
                <a:cxn ang="0">
                  <a:pos x="T0" y="T1"/>
                </a:cxn>
                <a:cxn ang="0">
                  <a:pos x="T2" y="T3"/>
                </a:cxn>
                <a:cxn ang="0">
                  <a:pos x="T4" y="T5"/>
                </a:cxn>
                <a:cxn ang="0">
                  <a:pos x="T6" y="T7"/>
                </a:cxn>
                <a:cxn ang="0">
                  <a:pos x="T8" y="T9"/>
                </a:cxn>
                <a:cxn ang="0">
                  <a:pos x="T10" y="T11"/>
                </a:cxn>
              </a:cxnLst>
              <a:rect l="0" t="0" r="r" b="b"/>
              <a:pathLst>
                <a:path w="110" h="121">
                  <a:moveTo>
                    <a:pt x="0" y="0"/>
                  </a:moveTo>
                  <a:lnTo>
                    <a:pt x="0" y="66"/>
                  </a:lnTo>
                  <a:cubicBezTo>
                    <a:pt x="0" y="96"/>
                    <a:pt x="25" y="121"/>
                    <a:pt x="55" y="121"/>
                  </a:cubicBezTo>
                  <a:cubicBezTo>
                    <a:pt x="85" y="121"/>
                    <a:pt x="110" y="96"/>
                    <a:pt x="110" y="66"/>
                  </a:cubicBezTo>
                  <a:lnTo>
                    <a:pt x="110" y="0"/>
                  </a:lnTo>
                  <a:lnTo>
                    <a:pt x="0" y="0"/>
                  </a:lnTo>
                  <a:close/>
                </a:path>
              </a:pathLst>
            </a:custGeom>
            <a:solidFill>
              <a:srgbClr val="FFB9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3F3F3F"/>
                </a:solidFill>
              </a:endParaRPr>
            </a:p>
          </p:txBody>
        </p:sp>
        <p:sp>
          <p:nvSpPr>
            <p:cNvPr id="262" name="Freeform 37"/>
            <p:cNvSpPr>
              <a:spLocks/>
            </p:cNvSpPr>
            <p:nvPr/>
          </p:nvSpPr>
          <p:spPr bwMode="auto">
            <a:xfrm>
              <a:off x="9523592" y="4499504"/>
              <a:ext cx="2612" cy="0"/>
            </a:xfrm>
            <a:custGeom>
              <a:avLst/>
              <a:gdLst>
                <a:gd name="T0" fmla="*/ 1 w 1"/>
                <a:gd name="T1" fmla="*/ 3 h 3"/>
                <a:gd name="T2" fmla="*/ 0 w 1"/>
                <a:gd name="T3" fmla="*/ 0 h 3"/>
                <a:gd name="T4" fmla="*/ 1 w 1"/>
                <a:gd name="T5" fmla="*/ 3 h 3"/>
              </a:gdLst>
              <a:ahLst/>
              <a:cxnLst>
                <a:cxn ang="0">
                  <a:pos x="T0" y="T1"/>
                </a:cxn>
                <a:cxn ang="0">
                  <a:pos x="T2" y="T3"/>
                </a:cxn>
                <a:cxn ang="0">
                  <a:pos x="T4" y="T5"/>
                </a:cxn>
              </a:cxnLst>
              <a:rect l="0" t="0" r="r" b="b"/>
              <a:pathLst>
                <a:path w="1" h="3">
                  <a:moveTo>
                    <a:pt x="1" y="3"/>
                  </a:moveTo>
                  <a:cubicBezTo>
                    <a:pt x="1" y="2"/>
                    <a:pt x="0" y="1"/>
                    <a:pt x="0" y="0"/>
                  </a:cubicBezTo>
                  <a:cubicBezTo>
                    <a:pt x="0" y="1"/>
                    <a:pt x="1" y="2"/>
                    <a:pt x="1" y="3"/>
                  </a:cubicBezTo>
                </a:path>
              </a:pathLst>
            </a:custGeom>
            <a:solidFill>
              <a:srgbClr val="FFD60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3F3F3F"/>
                </a:solidFill>
              </a:endParaRPr>
            </a:p>
          </p:txBody>
        </p:sp>
        <p:sp>
          <p:nvSpPr>
            <p:cNvPr id="263" name="Freeform 38"/>
            <p:cNvSpPr>
              <a:spLocks/>
            </p:cNvSpPr>
            <p:nvPr/>
          </p:nvSpPr>
          <p:spPr bwMode="auto">
            <a:xfrm>
              <a:off x="9523592" y="4496894"/>
              <a:ext cx="0" cy="0"/>
            </a:xfrm>
            <a:custGeom>
              <a:avLst/>
              <a:gdLst>
                <a:gd name="T0" fmla="*/ 2 h 2"/>
                <a:gd name="T1" fmla="*/ 0 h 2"/>
                <a:gd name="T2" fmla="*/ 2 h 2"/>
              </a:gdLst>
              <a:ahLst/>
              <a:cxnLst>
                <a:cxn ang="0">
                  <a:pos x="0" y="T0"/>
                </a:cxn>
                <a:cxn ang="0">
                  <a:pos x="0" y="T1"/>
                </a:cxn>
                <a:cxn ang="0">
                  <a:pos x="0" y="T2"/>
                </a:cxn>
              </a:cxnLst>
              <a:rect l="0" t="0" r="r" b="b"/>
              <a:pathLst>
                <a:path h="2">
                  <a:moveTo>
                    <a:pt x="0" y="2"/>
                  </a:moveTo>
                  <a:cubicBezTo>
                    <a:pt x="0" y="1"/>
                    <a:pt x="0" y="0"/>
                    <a:pt x="0" y="0"/>
                  </a:cubicBezTo>
                  <a:cubicBezTo>
                    <a:pt x="0" y="0"/>
                    <a:pt x="0" y="1"/>
                    <a:pt x="0" y="2"/>
                  </a:cubicBezTo>
                </a:path>
              </a:pathLst>
            </a:custGeom>
            <a:solidFill>
              <a:srgbClr val="FFD60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3F3F3F"/>
                </a:solidFill>
              </a:endParaRPr>
            </a:p>
          </p:txBody>
        </p:sp>
        <p:sp>
          <p:nvSpPr>
            <p:cNvPr id="264" name="Freeform 39"/>
            <p:cNvSpPr>
              <a:spLocks/>
            </p:cNvSpPr>
            <p:nvPr/>
          </p:nvSpPr>
          <p:spPr bwMode="auto">
            <a:xfrm>
              <a:off x="9520981" y="4489060"/>
              <a:ext cx="0" cy="0"/>
            </a:xfrm>
            <a:custGeom>
              <a:avLst/>
              <a:gdLst>
                <a:gd name="T0" fmla="*/ 1 w 1"/>
                <a:gd name="T1" fmla="*/ 1 h 1"/>
                <a:gd name="T2" fmla="*/ 0 w 1"/>
                <a:gd name="T3" fmla="*/ 0 h 1"/>
                <a:gd name="T4" fmla="*/ 1 w 1"/>
                <a:gd name="T5" fmla="*/ 1 h 1"/>
              </a:gdLst>
              <a:ahLst/>
              <a:cxnLst>
                <a:cxn ang="0">
                  <a:pos x="T0" y="T1"/>
                </a:cxn>
                <a:cxn ang="0">
                  <a:pos x="T2" y="T3"/>
                </a:cxn>
                <a:cxn ang="0">
                  <a:pos x="T4" y="T5"/>
                </a:cxn>
              </a:cxnLst>
              <a:rect l="0" t="0" r="r" b="b"/>
              <a:pathLst>
                <a:path w="1" h="1">
                  <a:moveTo>
                    <a:pt x="1" y="1"/>
                  </a:moveTo>
                  <a:cubicBezTo>
                    <a:pt x="1" y="0"/>
                    <a:pt x="1" y="0"/>
                    <a:pt x="0" y="0"/>
                  </a:cubicBezTo>
                  <a:cubicBezTo>
                    <a:pt x="1" y="0"/>
                    <a:pt x="1" y="0"/>
                    <a:pt x="1" y="1"/>
                  </a:cubicBezTo>
                </a:path>
              </a:pathLst>
            </a:custGeom>
            <a:solidFill>
              <a:srgbClr val="FFD60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3F3F3F"/>
                </a:solidFill>
              </a:endParaRPr>
            </a:p>
          </p:txBody>
        </p:sp>
        <p:sp>
          <p:nvSpPr>
            <p:cNvPr id="265" name="Freeform 40"/>
            <p:cNvSpPr>
              <a:spLocks/>
            </p:cNvSpPr>
            <p:nvPr/>
          </p:nvSpPr>
          <p:spPr bwMode="auto">
            <a:xfrm>
              <a:off x="9520981" y="4491673"/>
              <a:ext cx="2612" cy="0"/>
            </a:xfrm>
            <a:custGeom>
              <a:avLst/>
              <a:gdLst>
                <a:gd name="T0" fmla="*/ 1 w 1"/>
                <a:gd name="T1" fmla="*/ 1 h 1"/>
                <a:gd name="T2" fmla="*/ 0 w 1"/>
                <a:gd name="T3" fmla="*/ 0 h 1"/>
                <a:gd name="T4" fmla="*/ 1 w 1"/>
                <a:gd name="T5" fmla="*/ 1 h 1"/>
              </a:gdLst>
              <a:ahLst/>
              <a:cxnLst>
                <a:cxn ang="0">
                  <a:pos x="T0" y="T1"/>
                </a:cxn>
                <a:cxn ang="0">
                  <a:pos x="T2" y="T3"/>
                </a:cxn>
                <a:cxn ang="0">
                  <a:pos x="T4" y="T5"/>
                </a:cxn>
              </a:cxnLst>
              <a:rect l="0" t="0" r="r" b="b"/>
              <a:pathLst>
                <a:path w="1" h="1">
                  <a:moveTo>
                    <a:pt x="1" y="1"/>
                  </a:moveTo>
                  <a:cubicBezTo>
                    <a:pt x="0" y="0"/>
                    <a:pt x="0" y="0"/>
                    <a:pt x="0" y="0"/>
                  </a:cubicBezTo>
                  <a:cubicBezTo>
                    <a:pt x="0" y="0"/>
                    <a:pt x="0" y="0"/>
                    <a:pt x="1" y="1"/>
                  </a:cubicBezTo>
                </a:path>
              </a:pathLst>
            </a:custGeom>
            <a:solidFill>
              <a:srgbClr val="FFD60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3F3F3F"/>
                </a:solidFill>
              </a:endParaRPr>
            </a:p>
          </p:txBody>
        </p:sp>
        <p:sp>
          <p:nvSpPr>
            <p:cNvPr id="266" name="Freeform 41"/>
            <p:cNvSpPr>
              <a:spLocks/>
            </p:cNvSpPr>
            <p:nvPr/>
          </p:nvSpPr>
          <p:spPr bwMode="auto">
            <a:xfrm>
              <a:off x="9361719" y="4489060"/>
              <a:ext cx="0"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0" y="0"/>
                    <a:pt x="0" y="0"/>
                  </a:cubicBezTo>
                  <a:cubicBezTo>
                    <a:pt x="0" y="0"/>
                    <a:pt x="1" y="0"/>
                    <a:pt x="1" y="0"/>
                  </a:cubicBezTo>
                </a:path>
              </a:pathLst>
            </a:custGeom>
            <a:solidFill>
              <a:srgbClr val="FFD60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3F3F3F"/>
                </a:solidFill>
              </a:endParaRPr>
            </a:p>
          </p:txBody>
        </p:sp>
        <p:sp>
          <p:nvSpPr>
            <p:cNvPr id="267" name="Freeform 42"/>
            <p:cNvSpPr>
              <a:spLocks/>
            </p:cNvSpPr>
            <p:nvPr/>
          </p:nvSpPr>
          <p:spPr bwMode="auto">
            <a:xfrm>
              <a:off x="9526202" y="4502115"/>
              <a:ext cx="0" cy="2612"/>
            </a:xfrm>
            <a:custGeom>
              <a:avLst/>
              <a:gdLst>
                <a:gd name="T0" fmla="*/ 1 w 1"/>
                <a:gd name="T1" fmla="*/ 3 h 3"/>
                <a:gd name="T2" fmla="*/ 0 w 1"/>
                <a:gd name="T3" fmla="*/ 0 h 3"/>
                <a:gd name="T4" fmla="*/ 1 w 1"/>
                <a:gd name="T5" fmla="*/ 3 h 3"/>
              </a:gdLst>
              <a:ahLst/>
              <a:cxnLst>
                <a:cxn ang="0">
                  <a:pos x="T0" y="T1"/>
                </a:cxn>
                <a:cxn ang="0">
                  <a:pos x="T2" y="T3"/>
                </a:cxn>
                <a:cxn ang="0">
                  <a:pos x="T4" y="T5"/>
                </a:cxn>
              </a:cxnLst>
              <a:rect l="0" t="0" r="r" b="b"/>
              <a:pathLst>
                <a:path w="1" h="3">
                  <a:moveTo>
                    <a:pt x="1" y="3"/>
                  </a:moveTo>
                  <a:cubicBezTo>
                    <a:pt x="1" y="2"/>
                    <a:pt x="1" y="1"/>
                    <a:pt x="0" y="0"/>
                  </a:cubicBezTo>
                  <a:cubicBezTo>
                    <a:pt x="1" y="1"/>
                    <a:pt x="1" y="2"/>
                    <a:pt x="1" y="3"/>
                  </a:cubicBezTo>
                </a:path>
              </a:pathLst>
            </a:custGeom>
            <a:solidFill>
              <a:srgbClr val="FFD60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3F3F3F"/>
                </a:solidFill>
              </a:endParaRPr>
            </a:p>
          </p:txBody>
        </p:sp>
        <p:sp>
          <p:nvSpPr>
            <p:cNvPr id="268" name="Freeform 43"/>
            <p:cNvSpPr>
              <a:spLocks/>
            </p:cNvSpPr>
            <p:nvPr/>
          </p:nvSpPr>
          <p:spPr bwMode="auto">
            <a:xfrm>
              <a:off x="9526202" y="4504725"/>
              <a:ext cx="0" cy="5221"/>
            </a:xfrm>
            <a:custGeom>
              <a:avLst/>
              <a:gdLst>
                <a:gd name="T0" fmla="*/ 1 w 1"/>
                <a:gd name="T1" fmla="*/ 6 h 6"/>
                <a:gd name="T2" fmla="*/ 0 w 1"/>
                <a:gd name="T3" fmla="*/ 0 h 6"/>
                <a:gd name="T4" fmla="*/ 1 w 1"/>
                <a:gd name="T5" fmla="*/ 6 h 6"/>
              </a:gdLst>
              <a:ahLst/>
              <a:cxnLst>
                <a:cxn ang="0">
                  <a:pos x="T0" y="T1"/>
                </a:cxn>
                <a:cxn ang="0">
                  <a:pos x="T2" y="T3"/>
                </a:cxn>
                <a:cxn ang="0">
                  <a:pos x="T4" y="T5"/>
                </a:cxn>
              </a:cxnLst>
              <a:rect l="0" t="0" r="r" b="b"/>
              <a:pathLst>
                <a:path w="1" h="6">
                  <a:moveTo>
                    <a:pt x="1" y="6"/>
                  </a:moveTo>
                  <a:cubicBezTo>
                    <a:pt x="1" y="4"/>
                    <a:pt x="1" y="2"/>
                    <a:pt x="0" y="0"/>
                  </a:cubicBezTo>
                  <a:cubicBezTo>
                    <a:pt x="1" y="2"/>
                    <a:pt x="1" y="4"/>
                    <a:pt x="1" y="6"/>
                  </a:cubicBezTo>
                </a:path>
              </a:pathLst>
            </a:custGeom>
            <a:solidFill>
              <a:srgbClr val="FFD60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3F3F3F"/>
                </a:solidFill>
              </a:endParaRPr>
            </a:p>
          </p:txBody>
        </p:sp>
        <p:sp>
          <p:nvSpPr>
            <p:cNvPr id="269" name="Freeform 44"/>
            <p:cNvSpPr>
              <a:spLocks/>
            </p:cNvSpPr>
            <p:nvPr/>
          </p:nvSpPr>
          <p:spPr bwMode="auto">
            <a:xfrm>
              <a:off x="9518371" y="4486450"/>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FD60A"/>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3F3F3F"/>
                </a:solidFill>
              </a:endParaRPr>
            </a:p>
          </p:txBody>
        </p:sp>
        <p:sp>
          <p:nvSpPr>
            <p:cNvPr id="270" name="Freeform 45"/>
            <p:cNvSpPr>
              <a:spLocks/>
            </p:cNvSpPr>
            <p:nvPr/>
          </p:nvSpPr>
          <p:spPr bwMode="auto">
            <a:xfrm>
              <a:off x="9356498" y="4504725"/>
              <a:ext cx="0" cy="0"/>
            </a:xfrm>
            <a:custGeom>
              <a:avLst/>
              <a:gdLst>
                <a:gd name="T0" fmla="*/ 0 h 2"/>
                <a:gd name="T1" fmla="*/ 2 h 2"/>
                <a:gd name="T2" fmla="*/ 0 h 2"/>
              </a:gdLst>
              <a:ahLst/>
              <a:cxnLst>
                <a:cxn ang="0">
                  <a:pos x="0" y="T0"/>
                </a:cxn>
                <a:cxn ang="0">
                  <a:pos x="0" y="T1"/>
                </a:cxn>
                <a:cxn ang="0">
                  <a:pos x="0" y="T2"/>
                </a:cxn>
              </a:cxnLst>
              <a:rect l="0" t="0" r="r" b="b"/>
              <a:pathLst>
                <a:path h="2">
                  <a:moveTo>
                    <a:pt x="0" y="0"/>
                  </a:moveTo>
                  <a:cubicBezTo>
                    <a:pt x="0" y="1"/>
                    <a:pt x="0" y="1"/>
                    <a:pt x="0" y="2"/>
                  </a:cubicBezTo>
                  <a:cubicBezTo>
                    <a:pt x="0" y="1"/>
                    <a:pt x="0" y="1"/>
                    <a:pt x="0" y="0"/>
                  </a:cubicBezTo>
                </a:path>
              </a:pathLst>
            </a:custGeom>
            <a:solidFill>
              <a:srgbClr val="FFD60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3F3F3F"/>
                </a:solidFill>
              </a:endParaRPr>
            </a:p>
          </p:txBody>
        </p:sp>
        <p:sp>
          <p:nvSpPr>
            <p:cNvPr id="271" name="Freeform 46"/>
            <p:cNvSpPr>
              <a:spLocks/>
            </p:cNvSpPr>
            <p:nvPr/>
          </p:nvSpPr>
          <p:spPr bwMode="auto">
            <a:xfrm>
              <a:off x="9359107" y="4496894"/>
              <a:ext cx="0" cy="0"/>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1"/>
                    <a:pt x="0" y="0"/>
                    <a:pt x="0" y="0"/>
                  </a:cubicBezTo>
                </a:path>
              </a:pathLst>
            </a:custGeom>
            <a:solidFill>
              <a:srgbClr val="FFD60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3F3F3F"/>
                </a:solidFill>
              </a:endParaRPr>
            </a:p>
          </p:txBody>
        </p:sp>
        <p:sp>
          <p:nvSpPr>
            <p:cNvPr id="272" name="Freeform 47"/>
            <p:cNvSpPr>
              <a:spLocks/>
            </p:cNvSpPr>
            <p:nvPr/>
          </p:nvSpPr>
          <p:spPr bwMode="auto">
            <a:xfrm>
              <a:off x="9359107" y="4491673"/>
              <a:ext cx="0"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0" y="0"/>
                    <a:pt x="0" y="0"/>
                    <a:pt x="0" y="0"/>
                  </a:cubicBezTo>
                  <a:cubicBezTo>
                    <a:pt x="0" y="0"/>
                    <a:pt x="0" y="0"/>
                    <a:pt x="1" y="0"/>
                  </a:cubicBezTo>
                </a:path>
              </a:pathLst>
            </a:custGeom>
            <a:solidFill>
              <a:srgbClr val="FFD60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3F3F3F"/>
                </a:solidFill>
              </a:endParaRPr>
            </a:p>
          </p:txBody>
        </p:sp>
        <p:sp>
          <p:nvSpPr>
            <p:cNvPr id="273" name="Freeform 48"/>
            <p:cNvSpPr>
              <a:spLocks/>
            </p:cNvSpPr>
            <p:nvPr/>
          </p:nvSpPr>
          <p:spPr bwMode="auto">
            <a:xfrm>
              <a:off x="9356498" y="4499504"/>
              <a:ext cx="0" cy="2612"/>
            </a:xfrm>
            <a:custGeom>
              <a:avLst/>
              <a:gdLst>
                <a:gd name="T0" fmla="*/ 0 h 2"/>
                <a:gd name="T1" fmla="*/ 2 h 2"/>
                <a:gd name="T2" fmla="*/ 0 h 2"/>
              </a:gdLst>
              <a:ahLst/>
              <a:cxnLst>
                <a:cxn ang="0">
                  <a:pos x="0" y="T0"/>
                </a:cxn>
                <a:cxn ang="0">
                  <a:pos x="0" y="T1"/>
                </a:cxn>
                <a:cxn ang="0">
                  <a:pos x="0" y="T2"/>
                </a:cxn>
              </a:cxnLst>
              <a:rect l="0" t="0" r="r" b="b"/>
              <a:pathLst>
                <a:path h="2">
                  <a:moveTo>
                    <a:pt x="0" y="0"/>
                  </a:moveTo>
                  <a:cubicBezTo>
                    <a:pt x="0" y="1"/>
                    <a:pt x="0" y="1"/>
                    <a:pt x="0" y="2"/>
                  </a:cubicBezTo>
                  <a:cubicBezTo>
                    <a:pt x="0" y="1"/>
                    <a:pt x="0" y="1"/>
                    <a:pt x="0" y="0"/>
                  </a:cubicBezTo>
                </a:path>
              </a:pathLst>
            </a:custGeom>
            <a:solidFill>
              <a:srgbClr val="FFD60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3F3F3F"/>
                </a:solidFill>
              </a:endParaRPr>
            </a:p>
          </p:txBody>
        </p:sp>
        <p:sp>
          <p:nvSpPr>
            <p:cNvPr id="274" name="Freeform 49"/>
            <p:cNvSpPr>
              <a:spLocks/>
            </p:cNvSpPr>
            <p:nvPr/>
          </p:nvSpPr>
          <p:spPr bwMode="auto">
            <a:xfrm>
              <a:off x="9340832" y="4478617"/>
              <a:ext cx="201038" cy="180150"/>
            </a:xfrm>
            <a:custGeom>
              <a:avLst/>
              <a:gdLst>
                <a:gd name="T0" fmla="*/ 320 w 336"/>
                <a:gd name="T1" fmla="*/ 72 h 300"/>
                <a:gd name="T2" fmla="*/ 312 w 336"/>
                <a:gd name="T3" fmla="*/ 71 h 300"/>
                <a:gd name="T4" fmla="*/ 312 w 336"/>
                <a:gd name="T5" fmla="*/ 50 h 300"/>
                <a:gd name="T6" fmla="*/ 311 w 336"/>
                <a:gd name="T7" fmla="*/ 44 h 300"/>
                <a:gd name="T8" fmla="*/ 311 w 336"/>
                <a:gd name="T9" fmla="*/ 41 h 300"/>
                <a:gd name="T10" fmla="*/ 310 w 336"/>
                <a:gd name="T11" fmla="*/ 38 h 300"/>
                <a:gd name="T12" fmla="*/ 310 w 336"/>
                <a:gd name="T13" fmla="*/ 35 h 300"/>
                <a:gd name="T14" fmla="*/ 309 w 336"/>
                <a:gd name="T15" fmla="*/ 32 h 300"/>
                <a:gd name="T16" fmla="*/ 308 w 336"/>
                <a:gd name="T17" fmla="*/ 29 h 300"/>
                <a:gd name="T18" fmla="*/ 308 w 336"/>
                <a:gd name="T19" fmla="*/ 27 h 300"/>
                <a:gd name="T20" fmla="*/ 305 w 336"/>
                <a:gd name="T21" fmla="*/ 20 h 300"/>
                <a:gd name="T22" fmla="*/ 304 w 336"/>
                <a:gd name="T23" fmla="*/ 19 h 300"/>
                <a:gd name="T24" fmla="*/ 302 w 336"/>
                <a:gd name="T25" fmla="*/ 15 h 300"/>
                <a:gd name="T26" fmla="*/ 301 w 336"/>
                <a:gd name="T27" fmla="*/ 14 h 300"/>
                <a:gd name="T28" fmla="*/ 299 w 336"/>
                <a:gd name="T29" fmla="*/ 10 h 300"/>
                <a:gd name="T30" fmla="*/ 299 w 336"/>
                <a:gd name="T31" fmla="*/ 10 h 300"/>
                <a:gd name="T32" fmla="*/ 272 w 336"/>
                <a:gd name="T33" fmla="*/ 13 h 300"/>
                <a:gd name="T34" fmla="*/ 225 w 336"/>
                <a:gd name="T35" fmla="*/ 1 h 300"/>
                <a:gd name="T36" fmla="*/ 138 w 336"/>
                <a:gd name="T37" fmla="*/ 13 h 300"/>
                <a:gd name="T38" fmla="*/ 46 w 336"/>
                <a:gd name="T39" fmla="*/ 0 h 300"/>
                <a:gd name="T40" fmla="*/ 33 w 336"/>
                <a:gd name="T41" fmla="*/ 16 h 300"/>
                <a:gd name="T42" fmla="*/ 33 w 336"/>
                <a:gd name="T43" fmla="*/ 16 h 300"/>
                <a:gd name="T44" fmla="*/ 31 w 336"/>
                <a:gd name="T45" fmla="*/ 22 h 300"/>
                <a:gd name="T46" fmla="*/ 30 w 336"/>
                <a:gd name="T47" fmla="*/ 22 h 300"/>
                <a:gd name="T48" fmla="*/ 28 w 336"/>
                <a:gd name="T49" fmla="*/ 28 h 300"/>
                <a:gd name="T50" fmla="*/ 28 w 336"/>
                <a:gd name="T51" fmla="*/ 29 h 300"/>
                <a:gd name="T52" fmla="*/ 26 w 336"/>
                <a:gd name="T53" fmla="*/ 34 h 300"/>
                <a:gd name="T54" fmla="*/ 26 w 336"/>
                <a:gd name="T55" fmla="*/ 36 h 300"/>
                <a:gd name="T56" fmla="*/ 25 w 336"/>
                <a:gd name="T57" fmla="*/ 41 h 300"/>
                <a:gd name="T58" fmla="*/ 25 w 336"/>
                <a:gd name="T59" fmla="*/ 43 h 300"/>
                <a:gd name="T60" fmla="*/ 24 w 336"/>
                <a:gd name="T61" fmla="*/ 50 h 300"/>
                <a:gd name="T62" fmla="*/ 24 w 336"/>
                <a:gd name="T63" fmla="*/ 71 h 300"/>
                <a:gd name="T64" fmla="*/ 20 w 336"/>
                <a:gd name="T65" fmla="*/ 71 h 300"/>
                <a:gd name="T66" fmla="*/ 0 w 336"/>
                <a:gd name="T67" fmla="*/ 95 h 300"/>
                <a:gd name="T68" fmla="*/ 0 w 336"/>
                <a:gd name="T69" fmla="*/ 148 h 300"/>
                <a:gd name="T70" fmla="*/ 24 w 336"/>
                <a:gd name="T71" fmla="*/ 172 h 300"/>
                <a:gd name="T72" fmla="*/ 104 w 336"/>
                <a:gd name="T73" fmla="*/ 300 h 300"/>
                <a:gd name="T74" fmla="*/ 232 w 336"/>
                <a:gd name="T75" fmla="*/ 300 h 300"/>
                <a:gd name="T76" fmla="*/ 312 w 336"/>
                <a:gd name="T77" fmla="*/ 172 h 300"/>
                <a:gd name="T78" fmla="*/ 336 w 336"/>
                <a:gd name="T79" fmla="*/ 148 h 300"/>
                <a:gd name="T80" fmla="*/ 336 w 336"/>
                <a:gd name="T81" fmla="*/ 95 h 300"/>
                <a:gd name="T82" fmla="*/ 320 w 336"/>
                <a:gd name="T83" fmla="*/ 72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36" h="300">
                  <a:moveTo>
                    <a:pt x="320" y="72"/>
                  </a:moveTo>
                  <a:cubicBezTo>
                    <a:pt x="318" y="71"/>
                    <a:pt x="315" y="71"/>
                    <a:pt x="312" y="71"/>
                  </a:cubicBezTo>
                  <a:lnTo>
                    <a:pt x="312" y="50"/>
                  </a:lnTo>
                  <a:cubicBezTo>
                    <a:pt x="312" y="48"/>
                    <a:pt x="312" y="46"/>
                    <a:pt x="311" y="44"/>
                  </a:cubicBezTo>
                  <a:cubicBezTo>
                    <a:pt x="311" y="43"/>
                    <a:pt x="311" y="42"/>
                    <a:pt x="311" y="41"/>
                  </a:cubicBezTo>
                  <a:cubicBezTo>
                    <a:pt x="311" y="40"/>
                    <a:pt x="311" y="39"/>
                    <a:pt x="310" y="38"/>
                  </a:cubicBezTo>
                  <a:cubicBezTo>
                    <a:pt x="310" y="37"/>
                    <a:pt x="310" y="36"/>
                    <a:pt x="310" y="35"/>
                  </a:cubicBezTo>
                  <a:cubicBezTo>
                    <a:pt x="310" y="34"/>
                    <a:pt x="309" y="33"/>
                    <a:pt x="309" y="32"/>
                  </a:cubicBezTo>
                  <a:cubicBezTo>
                    <a:pt x="309" y="31"/>
                    <a:pt x="309" y="30"/>
                    <a:pt x="308" y="29"/>
                  </a:cubicBezTo>
                  <a:cubicBezTo>
                    <a:pt x="308" y="28"/>
                    <a:pt x="308" y="27"/>
                    <a:pt x="308" y="27"/>
                  </a:cubicBezTo>
                  <a:cubicBezTo>
                    <a:pt x="307" y="24"/>
                    <a:pt x="306" y="22"/>
                    <a:pt x="305" y="20"/>
                  </a:cubicBezTo>
                  <a:cubicBezTo>
                    <a:pt x="304" y="19"/>
                    <a:pt x="304" y="19"/>
                    <a:pt x="304" y="19"/>
                  </a:cubicBezTo>
                  <a:cubicBezTo>
                    <a:pt x="303" y="17"/>
                    <a:pt x="303" y="16"/>
                    <a:pt x="302" y="15"/>
                  </a:cubicBezTo>
                  <a:cubicBezTo>
                    <a:pt x="302" y="14"/>
                    <a:pt x="302" y="14"/>
                    <a:pt x="301" y="14"/>
                  </a:cubicBezTo>
                  <a:cubicBezTo>
                    <a:pt x="301" y="12"/>
                    <a:pt x="300" y="11"/>
                    <a:pt x="299" y="10"/>
                  </a:cubicBezTo>
                  <a:lnTo>
                    <a:pt x="299" y="10"/>
                  </a:lnTo>
                  <a:cubicBezTo>
                    <a:pt x="291" y="12"/>
                    <a:pt x="282" y="13"/>
                    <a:pt x="272" y="13"/>
                  </a:cubicBezTo>
                  <a:cubicBezTo>
                    <a:pt x="252" y="13"/>
                    <a:pt x="235" y="8"/>
                    <a:pt x="225" y="1"/>
                  </a:cubicBezTo>
                  <a:cubicBezTo>
                    <a:pt x="204" y="8"/>
                    <a:pt x="172" y="13"/>
                    <a:pt x="138" y="13"/>
                  </a:cubicBezTo>
                  <a:cubicBezTo>
                    <a:pt x="101" y="13"/>
                    <a:pt x="68" y="8"/>
                    <a:pt x="46" y="0"/>
                  </a:cubicBezTo>
                  <a:cubicBezTo>
                    <a:pt x="41" y="4"/>
                    <a:pt x="37" y="10"/>
                    <a:pt x="33" y="16"/>
                  </a:cubicBezTo>
                  <a:cubicBezTo>
                    <a:pt x="33" y="16"/>
                    <a:pt x="33" y="16"/>
                    <a:pt x="33" y="16"/>
                  </a:cubicBezTo>
                  <a:cubicBezTo>
                    <a:pt x="32" y="18"/>
                    <a:pt x="31" y="20"/>
                    <a:pt x="31" y="22"/>
                  </a:cubicBezTo>
                  <a:cubicBezTo>
                    <a:pt x="30" y="22"/>
                    <a:pt x="30" y="22"/>
                    <a:pt x="30" y="22"/>
                  </a:cubicBezTo>
                  <a:cubicBezTo>
                    <a:pt x="29" y="24"/>
                    <a:pt x="29" y="26"/>
                    <a:pt x="28" y="28"/>
                  </a:cubicBezTo>
                  <a:cubicBezTo>
                    <a:pt x="28" y="28"/>
                    <a:pt x="28" y="29"/>
                    <a:pt x="28" y="29"/>
                  </a:cubicBezTo>
                  <a:cubicBezTo>
                    <a:pt x="27" y="31"/>
                    <a:pt x="27" y="33"/>
                    <a:pt x="26" y="34"/>
                  </a:cubicBezTo>
                  <a:cubicBezTo>
                    <a:pt x="26" y="35"/>
                    <a:pt x="26" y="35"/>
                    <a:pt x="26" y="36"/>
                  </a:cubicBezTo>
                  <a:cubicBezTo>
                    <a:pt x="26" y="38"/>
                    <a:pt x="25" y="39"/>
                    <a:pt x="25" y="41"/>
                  </a:cubicBezTo>
                  <a:cubicBezTo>
                    <a:pt x="25" y="42"/>
                    <a:pt x="25" y="42"/>
                    <a:pt x="25" y="43"/>
                  </a:cubicBezTo>
                  <a:cubicBezTo>
                    <a:pt x="25" y="45"/>
                    <a:pt x="24" y="48"/>
                    <a:pt x="24" y="50"/>
                  </a:cubicBezTo>
                  <a:lnTo>
                    <a:pt x="24" y="71"/>
                  </a:lnTo>
                  <a:cubicBezTo>
                    <a:pt x="23" y="71"/>
                    <a:pt x="21" y="71"/>
                    <a:pt x="20" y="71"/>
                  </a:cubicBezTo>
                  <a:cubicBezTo>
                    <a:pt x="9" y="73"/>
                    <a:pt x="0" y="83"/>
                    <a:pt x="0" y="95"/>
                  </a:cubicBezTo>
                  <a:lnTo>
                    <a:pt x="0" y="148"/>
                  </a:lnTo>
                  <a:cubicBezTo>
                    <a:pt x="0" y="161"/>
                    <a:pt x="11" y="172"/>
                    <a:pt x="24" y="172"/>
                  </a:cubicBezTo>
                  <a:cubicBezTo>
                    <a:pt x="24" y="172"/>
                    <a:pt x="66" y="300"/>
                    <a:pt x="104" y="300"/>
                  </a:cubicBezTo>
                  <a:lnTo>
                    <a:pt x="232" y="300"/>
                  </a:lnTo>
                  <a:cubicBezTo>
                    <a:pt x="270" y="300"/>
                    <a:pt x="312" y="172"/>
                    <a:pt x="312" y="172"/>
                  </a:cubicBezTo>
                  <a:cubicBezTo>
                    <a:pt x="325" y="172"/>
                    <a:pt x="336" y="161"/>
                    <a:pt x="336" y="148"/>
                  </a:cubicBezTo>
                  <a:lnTo>
                    <a:pt x="336" y="95"/>
                  </a:lnTo>
                  <a:cubicBezTo>
                    <a:pt x="336" y="85"/>
                    <a:pt x="330" y="76"/>
                    <a:pt x="320" y="72"/>
                  </a:cubicBezTo>
                </a:path>
              </a:pathLst>
            </a:custGeom>
            <a:solidFill>
              <a:srgbClr val="FFB9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3F3F3F"/>
                </a:solidFill>
              </a:endParaRPr>
            </a:p>
          </p:txBody>
        </p:sp>
        <p:sp>
          <p:nvSpPr>
            <p:cNvPr id="275" name="Freeform 50"/>
            <p:cNvSpPr>
              <a:spLocks noEditPoints="1"/>
            </p:cNvSpPr>
            <p:nvPr/>
          </p:nvSpPr>
          <p:spPr bwMode="auto">
            <a:xfrm>
              <a:off x="9359107" y="4515169"/>
              <a:ext cx="169707" cy="54829"/>
            </a:xfrm>
            <a:custGeom>
              <a:avLst/>
              <a:gdLst>
                <a:gd name="T0" fmla="*/ 230 w 288"/>
                <a:gd name="T1" fmla="*/ 82 h 94"/>
                <a:gd name="T2" fmla="*/ 180 w 288"/>
                <a:gd name="T3" fmla="*/ 68 h 94"/>
                <a:gd name="T4" fmla="*/ 176 w 288"/>
                <a:gd name="T5" fmla="*/ 20 h 94"/>
                <a:gd name="T6" fmla="*/ 212 w 288"/>
                <a:gd name="T7" fmla="*/ 11 h 94"/>
                <a:gd name="T8" fmla="*/ 262 w 288"/>
                <a:gd name="T9" fmla="*/ 32 h 94"/>
                <a:gd name="T10" fmla="*/ 230 w 288"/>
                <a:gd name="T11" fmla="*/ 82 h 94"/>
                <a:gd name="T12" fmla="*/ 109 w 288"/>
                <a:gd name="T13" fmla="*/ 68 h 94"/>
                <a:gd name="T14" fmla="*/ 58 w 288"/>
                <a:gd name="T15" fmla="*/ 82 h 94"/>
                <a:gd name="T16" fmla="*/ 26 w 288"/>
                <a:gd name="T17" fmla="*/ 32 h 94"/>
                <a:gd name="T18" fmla="*/ 77 w 288"/>
                <a:gd name="T19" fmla="*/ 11 h 94"/>
                <a:gd name="T20" fmla="*/ 113 w 288"/>
                <a:gd name="T21" fmla="*/ 20 h 94"/>
                <a:gd name="T22" fmla="*/ 109 w 288"/>
                <a:gd name="T23" fmla="*/ 68 h 94"/>
                <a:gd name="T24" fmla="*/ 285 w 288"/>
                <a:gd name="T25" fmla="*/ 7 h 94"/>
                <a:gd name="T26" fmla="*/ 214 w 288"/>
                <a:gd name="T27" fmla="*/ 4 h 94"/>
                <a:gd name="T28" fmla="*/ 145 w 288"/>
                <a:gd name="T29" fmla="*/ 18 h 94"/>
                <a:gd name="T30" fmla="*/ 75 w 288"/>
                <a:gd name="T31" fmla="*/ 4 h 94"/>
                <a:gd name="T32" fmla="*/ 3 w 288"/>
                <a:gd name="T33" fmla="*/ 7 h 94"/>
                <a:gd name="T34" fmla="*/ 2 w 288"/>
                <a:gd name="T35" fmla="*/ 16 h 94"/>
                <a:gd name="T36" fmla="*/ 11 w 288"/>
                <a:gd name="T37" fmla="*/ 27 h 94"/>
                <a:gd name="T38" fmla="*/ 20 w 288"/>
                <a:gd name="T39" fmla="*/ 50 h 94"/>
                <a:gd name="T40" fmla="*/ 86 w 288"/>
                <a:gd name="T41" fmla="*/ 88 h 94"/>
                <a:gd name="T42" fmla="*/ 134 w 288"/>
                <a:gd name="T43" fmla="*/ 38 h 94"/>
                <a:gd name="T44" fmla="*/ 145 w 288"/>
                <a:gd name="T45" fmla="*/ 32 h 94"/>
                <a:gd name="T46" fmla="*/ 156 w 288"/>
                <a:gd name="T47" fmla="*/ 38 h 94"/>
                <a:gd name="T48" fmla="*/ 203 w 288"/>
                <a:gd name="T49" fmla="*/ 88 h 94"/>
                <a:gd name="T50" fmla="*/ 269 w 288"/>
                <a:gd name="T51" fmla="*/ 50 h 94"/>
                <a:gd name="T52" fmla="*/ 277 w 288"/>
                <a:gd name="T53" fmla="*/ 27 h 94"/>
                <a:gd name="T54" fmla="*/ 286 w 288"/>
                <a:gd name="T55" fmla="*/ 16 h 94"/>
                <a:gd name="T56" fmla="*/ 285 w 288"/>
                <a:gd name="T57" fmla="*/ 7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88" h="94">
                  <a:moveTo>
                    <a:pt x="230" y="82"/>
                  </a:moveTo>
                  <a:cubicBezTo>
                    <a:pt x="207" y="85"/>
                    <a:pt x="190" y="80"/>
                    <a:pt x="180" y="68"/>
                  </a:cubicBezTo>
                  <a:cubicBezTo>
                    <a:pt x="170" y="56"/>
                    <a:pt x="160" y="26"/>
                    <a:pt x="176" y="20"/>
                  </a:cubicBezTo>
                  <a:cubicBezTo>
                    <a:pt x="193" y="14"/>
                    <a:pt x="193" y="14"/>
                    <a:pt x="212" y="11"/>
                  </a:cubicBezTo>
                  <a:cubicBezTo>
                    <a:pt x="212" y="11"/>
                    <a:pt x="262" y="3"/>
                    <a:pt x="262" y="32"/>
                  </a:cubicBezTo>
                  <a:cubicBezTo>
                    <a:pt x="262" y="61"/>
                    <a:pt x="254" y="78"/>
                    <a:pt x="230" y="82"/>
                  </a:cubicBezTo>
                  <a:moveTo>
                    <a:pt x="109" y="68"/>
                  </a:moveTo>
                  <a:cubicBezTo>
                    <a:pt x="100" y="80"/>
                    <a:pt x="82" y="85"/>
                    <a:pt x="58" y="82"/>
                  </a:cubicBezTo>
                  <a:cubicBezTo>
                    <a:pt x="35" y="78"/>
                    <a:pt x="26" y="61"/>
                    <a:pt x="26" y="32"/>
                  </a:cubicBezTo>
                  <a:cubicBezTo>
                    <a:pt x="26" y="3"/>
                    <a:pt x="77" y="11"/>
                    <a:pt x="77" y="11"/>
                  </a:cubicBezTo>
                  <a:cubicBezTo>
                    <a:pt x="97" y="14"/>
                    <a:pt x="97" y="14"/>
                    <a:pt x="113" y="20"/>
                  </a:cubicBezTo>
                  <a:cubicBezTo>
                    <a:pt x="129" y="26"/>
                    <a:pt x="119" y="56"/>
                    <a:pt x="109" y="68"/>
                  </a:cubicBezTo>
                  <a:moveTo>
                    <a:pt x="285" y="7"/>
                  </a:moveTo>
                  <a:cubicBezTo>
                    <a:pt x="285" y="7"/>
                    <a:pt x="244" y="0"/>
                    <a:pt x="214" y="4"/>
                  </a:cubicBezTo>
                  <a:cubicBezTo>
                    <a:pt x="183" y="7"/>
                    <a:pt x="159" y="18"/>
                    <a:pt x="145" y="18"/>
                  </a:cubicBezTo>
                  <a:cubicBezTo>
                    <a:pt x="131" y="18"/>
                    <a:pt x="106" y="7"/>
                    <a:pt x="75" y="4"/>
                  </a:cubicBezTo>
                  <a:cubicBezTo>
                    <a:pt x="45" y="0"/>
                    <a:pt x="3" y="7"/>
                    <a:pt x="3" y="7"/>
                  </a:cubicBezTo>
                  <a:cubicBezTo>
                    <a:pt x="0" y="8"/>
                    <a:pt x="1" y="11"/>
                    <a:pt x="2" y="16"/>
                  </a:cubicBezTo>
                  <a:cubicBezTo>
                    <a:pt x="4" y="22"/>
                    <a:pt x="4" y="24"/>
                    <a:pt x="11" y="27"/>
                  </a:cubicBezTo>
                  <a:cubicBezTo>
                    <a:pt x="18" y="31"/>
                    <a:pt x="20" y="50"/>
                    <a:pt x="20" y="50"/>
                  </a:cubicBezTo>
                  <a:cubicBezTo>
                    <a:pt x="25" y="84"/>
                    <a:pt x="51" y="94"/>
                    <a:pt x="86" y="88"/>
                  </a:cubicBezTo>
                  <a:cubicBezTo>
                    <a:pt x="122" y="82"/>
                    <a:pt x="130" y="44"/>
                    <a:pt x="134" y="38"/>
                  </a:cubicBezTo>
                  <a:cubicBezTo>
                    <a:pt x="138" y="32"/>
                    <a:pt x="145" y="32"/>
                    <a:pt x="145" y="32"/>
                  </a:cubicBezTo>
                  <a:cubicBezTo>
                    <a:pt x="145" y="32"/>
                    <a:pt x="152" y="32"/>
                    <a:pt x="156" y="38"/>
                  </a:cubicBezTo>
                  <a:cubicBezTo>
                    <a:pt x="159" y="44"/>
                    <a:pt x="168" y="82"/>
                    <a:pt x="203" y="88"/>
                  </a:cubicBezTo>
                  <a:cubicBezTo>
                    <a:pt x="238" y="94"/>
                    <a:pt x="263" y="84"/>
                    <a:pt x="269" y="50"/>
                  </a:cubicBezTo>
                  <a:cubicBezTo>
                    <a:pt x="269" y="50"/>
                    <a:pt x="271" y="31"/>
                    <a:pt x="277" y="27"/>
                  </a:cubicBezTo>
                  <a:cubicBezTo>
                    <a:pt x="284" y="24"/>
                    <a:pt x="285" y="22"/>
                    <a:pt x="286" y="16"/>
                  </a:cubicBezTo>
                  <a:cubicBezTo>
                    <a:pt x="287" y="11"/>
                    <a:pt x="288" y="8"/>
                    <a:pt x="285" y="7"/>
                  </a:cubicBezTo>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3F3F3F"/>
                </a:solidFill>
              </a:endParaRPr>
            </a:p>
          </p:txBody>
        </p:sp>
        <p:sp>
          <p:nvSpPr>
            <p:cNvPr id="276" name="Oval 51"/>
            <p:cNvSpPr>
              <a:spLocks noChangeArrowheads="1"/>
            </p:cNvSpPr>
            <p:nvPr/>
          </p:nvSpPr>
          <p:spPr bwMode="auto">
            <a:xfrm>
              <a:off x="9361719" y="4523003"/>
              <a:ext cx="5221" cy="2612"/>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3F3F3F"/>
                </a:solidFill>
              </a:endParaRPr>
            </a:p>
          </p:txBody>
        </p:sp>
        <p:sp>
          <p:nvSpPr>
            <p:cNvPr id="277" name="Oval 52"/>
            <p:cNvSpPr>
              <a:spLocks noChangeArrowheads="1"/>
            </p:cNvSpPr>
            <p:nvPr/>
          </p:nvSpPr>
          <p:spPr bwMode="auto">
            <a:xfrm>
              <a:off x="9520981" y="4523003"/>
              <a:ext cx="2612" cy="2612"/>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3F3F3F"/>
                </a:solidFill>
              </a:endParaRPr>
            </a:p>
          </p:txBody>
        </p:sp>
        <p:sp>
          <p:nvSpPr>
            <p:cNvPr id="278" name="Rectangle 277"/>
            <p:cNvSpPr/>
            <p:nvPr/>
          </p:nvSpPr>
          <p:spPr>
            <a:xfrm>
              <a:off x="9388178" y="4693219"/>
              <a:ext cx="107550" cy="392521"/>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prstClr val="white"/>
                </a:solidFill>
              </a:endParaRPr>
            </a:p>
          </p:txBody>
        </p:sp>
        <p:grpSp>
          <p:nvGrpSpPr>
            <p:cNvPr id="279" name="Group 278"/>
            <p:cNvGrpSpPr/>
            <p:nvPr/>
          </p:nvGrpSpPr>
          <p:grpSpPr>
            <a:xfrm>
              <a:off x="9154146" y="4691097"/>
              <a:ext cx="579609" cy="639662"/>
              <a:chOff x="11282861" y="3904551"/>
              <a:chExt cx="579609" cy="639662"/>
            </a:xfrm>
            <a:solidFill>
              <a:srgbClr val="442359"/>
            </a:solidFill>
          </p:grpSpPr>
          <p:sp>
            <p:nvSpPr>
              <p:cNvPr id="282" name="Freeform 31"/>
              <p:cNvSpPr>
                <a:spLocks/>
              </p:cNvSpPr>
              <p:nvPr/>
            </p:nvSpPr>
            <p:spPr bwMode="auto">
              <a:xfrm>
                <a:off x="11644285" y="3930801"/>
                <a:ext cx="218185" cy="566750"/>
              </a:xfrm>
              <a:custGeom>
                <a:avLst/>
                <a:gdLst>
                  <a:gd name="T0" fmla="*/ 0 w 364"/>
                  <a:gd name="T1" fmla="*/ 38 h 941"/>
                  <a:gd name="T2" fmla="*/ 144 w 364"/>
                  <a:gd name="T3" fmla="*/ 0 h 941"/>
                  <a:gd name="T4" fmla="*/ 364 w 364"/>
                  <a:gd name="T5" fmla="*/ 941 h 941"/>
                  <a:gd name="T6" fmla="*/ 216 w 364"/>
                  <a:gd name="T7" fmla="*/ 941 h 941"/>
                  <a:gd name="T8" fmla="*/ 0 w 364"/>
                  <a:gd name="T9" fmla="*/ 38 h 941"/>
                </a:gdLst>
                <a:ahLst/>
                <a:cxnLst>
                  <a:cxn ang="0">
                    <a:pos x="T0" y="T1"/>
                  </a:cxn>
                  <a:cxn ang="0">
                    <a:pos x="T2" y="T3"/>
                  </a:cxn>
                  <a:cxn ang="0">
                    <a:pos x="T4" y="T5"/>
                  </a:cxn>
                  <a:cxn ang="0">
                    <a:pos x="T6" y="T7"/>
                  </a:cxn>
                  <a:cxn ang="0">
                    <a:pos x="T8" y="T9"/>
                  </a:cxn>
                </a:cxnLst>
                <a:rect l="0" t="0" r="r" b="b"/>
                <a:pathLst>
                  <a:path w="364" h="941">
                    <a:moveTo>
                      <a:pt x="0" y="38"/>
                    </a:moveTo>
                    <a:cubicBezTo>
                      <a:pt x="48" y="25"/>
                      <a:pt x="96" y="13"/>
                      <a:pt x="144" y="0"/>
                    </a:cubicBezTo>
                    <a:cubicBezTo>
                      <a:pt x="285" y="303"/>
                      <a:pt x="332" y="608"/>
                      <a:pt x="364" y="941"/>
                    </a:cubicBezTo>
                    <a:lnTo>
                      <a:pt x="216" y="941"/>
                    </a:lnTo>
                    <a:cubicBezTo>
                      <a:pt x="181" y="622"/>
                      <a:pt x="136" y="330"/>
                      <a:pt x="0" y="38"/>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3F3F3F"/>
                  </a:solidFill>
                </a:endParaRPr>
              </a:p>
            </p:txBody>
          </p:sp>
          <p:sp>
            <p:nvSpPr>
              <p:cNvPr id="283" name="Freeform 30"/>
              <p:cNvSpPr>
                <a:spLocks/>
              </p:cNvSpPr>
              <p:nvPr/>
            </p:nvSpPr>
            <p:spPr bwMode="auto">
              <a:xfrm>
                <a:off x="11282861" y="3935881"/>
                <a:ext cx="216703" cy="556115"/>
              </a:xfrm>
              <a:custGeom>
                <a:avLst/>
                <a:gdLst>
                  <a:gd name="T0" fmla="*/ 364 w 364"/>
                  <a:gd name="T1" fmla="*/ 38 h 941"/>
                  <a:gd name="T2" fmla="*/ 220 w 364"/>
                  <a:gd name="T3" fmla="*/ 0 h 941"/>
                  <a:gd name="T4" fmla="*/ 0 w 364"/>
                  <a:gd name="T5" fmla="*/ 941 h 941"/>
                  <a:gd name="T6" fmla="*/ 148 w 364"/>
                  <a:gd name="T7" fmla="*/ 941 h 941"/>
                  <a:gd name="T8" fmla="*/ 364 w 364"/>
                  <a:gd name="T9" fmla="*/ 38 h 941"/>
                </a:gdLst>
                <a:ahLst/>
                <a:cxnLst>
                  <a:cxn ang="0">
                    <a:pos x="T0" y="T1"/>
                  </a:cxn>
                  <a:cxn ang="0">
                    <a:pos x="T2" y="T3"/>
                  </a:cxn>
                  <a:cxn ang="0">
                    <a:pos x="T4" y="T5"/>
                  </a:cxn>
                  <a:cxn ang="0">
                    <a:pos x="T6" y="T7"/>
                  </a:cxn>
                  <a:cxn ang="0">
                    <a:pos x="T8" y="T9"/>
                  </a:cxn>
                </a:cxnLst>
                <a:rect l="0" t="0" r="r" b="b"/>
                <a:pathLst>
                  <a:path w="364" h="941">
                    <a:moveTo>
                      <a:pt x="364" y="38"/>
                    </a:moveTo>
                    <a:cubicBezTo>
                      <a:pt x="316" y="25"/>
                      <a:pt x="268" y="13"/>
                      <a:pt x="220" y="0"/>
                    </a:cubicBezTo>
                    <a:cubicBezTo>
                      <a:pt x="79" y="303"/>
                      <a:pt x="32" y="608"/>
                      <a:pt x="0" y="941"/>
                    </a:cubicBezTo>
                    <a:lnTo>
                      <a:pt x="148" y="941"/>
                    </a:lnTo>
                    <a:cubicBezTo>
                      <a:pt x="183" y="622"/>
                      <a:pt x="228" y="330"/>
                      <a:pt x="364" y="38"/>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3F3F3F"/>
                  </a:solidFill>
                </a:endParaRPr>
              </a:p>
            </p:txBody>
          </p:sp>
          <p:sp>
            <p:nvSpPr>
              <p:cNvPr id="284" name="Freeform 36"/>
              <p:cNvSpPr>
                <a:spLocks/>
              </p:cNvSpPr>
              <p:nvPr/>
            </p:nvSpPr>
            <p:spPr bwMode="auto">
              <a:xfrm>
                <a:off x="11410792" y="3904551"/>
                <a:ext cx="323747" cy="639662"/>
              </a:xfrm>
              <a:custGeom>
                <a:avLst/>
                <a:gdLst>
                  <a:gd name="T0" fmla="*/ 81 w 124"/>
                  <a:gd name="T1" fmla="*/ 0 h 245"/>
                  <a:gd name="T2" fmla="*/ 62 w 124"/>
                  <a:gd name="T3" fmla="*/ 153 h 245"/>
                  <a:gd name="T4" fmla="*/ 43 w 124"/>
                  <a:gd name="T5" fmla="*/ 0 h 245"/>
                  <a:gd name="T6" fmla="*/ 0 w 124"/>
                  <a:gd name="T7" fmla="*/ 12 h 245"/>
                  <a:gd name="T8" fmla="*/ 2 w 124"/>
                  <a:gd name="T9" fmla="*/ 245 h 245"/>
                  <a:gd name="T10" fmla="*/ 122 w 124"/>
                  <a:gd name="T11" fmla="*/ 245 h 245"/>
                  <a:gd name="T12" fmla="*/ 124 w 124"/>
                  <a:gd name="T13" fmla="*/ 12 h 245"/>
                  <a:gd name="T14" fmla="*/ 81 w 124"/>
                  <a:gd name="T15" fmla="*/ 0 h 2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4" h="245">
                    <a:moveTo>
                      <a:pt x="81" y="0"/>
                    </a:moveTo>
                    <a:lnTo>
                      <a:pt x="62" y="153"/>
                    </a:lnTo>
                    <a:lnTo>
                      <a:pt x="43" y="0"/>
                    </a:lnTo>
                    <a:lnTo>
                      <a:pt x="0" y="12"/>
                    </a:lnTo>
                    <a:lnTo>
                      <a:pt x="2" y="245"/>
                    </a:lnTo>
                    <a:lnTo>
                      <a:pt x="122" y="245"/>
                    </a:lnTo>
                    <a:lnTo>
                      <a:pt x="124" y="12"/>
                    </a:lnTo>
                    <a:lnTo>
                      <a:pt x="8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3F3F3F"/>
                  </a:solidFill>
                </a:endParaRPr>
              </a:p>
            </p:txBody>
          </p:sp>
        </p:grpSp>
        <p:sp>
          <p:nvSpPr>
            <p:cNvPr id="280" name="Freeform 24"/>
            <p:cNvSpPr>
              <a:spLocks/>
            </p:cNvSpPr>
            <p:nvPr/>
          </p:nvSpPr>
          <p:spPr bwMode="auto">
            <a:xfrm>
              <a:off x="9302150" y="5898491"/>
              <a:ext cx="130545" cy="65272"/>
            </a:xfrm>
            <a:custGeom>
              <a:avLst/>
              <a:gdLst>
                <a:gd name="T0" fmla="*/ 106 w 213"/>
                <a:gd name="T1" fmla="*/ 0 h 106"/>
                <a:gd name="T2" fmla="*/ 0 w 213"/>
                <a:gd name="T3" fmla="*/ 106 h 106"/>
                <a:gd name="T4" fmla="*/ 213 w 213"/>
                <a:gd name="T5" fmla="*/ 106 h 106"/>
                <a:gd name="T6" fmla="*/ 106 w 213"/>
                <a:gd name="T7" fmla="*/ 0 h 106"/>
              </a:gdLst>
              <a:ahLst/>
              <a:cxnLst>
                <a:cxn ang="0">
                  <a:pos x="T0" y="T1"/>
                </a:cxn>
                <a:cxn ang="0">
                  <a:pos x="T2" y="T3"/>
                </a:cxn>
                <a:cxn ang="0">
                  <a:pos x="T4" y="T5"/>
                </a:cxn>
                <a:cxn ang="0">
                  <a:pos x="T6" y="T7"/>
                </a:cxn>
              </a:cxnLst>
              <a:rect l="0" t="0" r="r" b="b"/>
              <a:pathLst>
                <a:path w="213" h="106">
                  <a:moveTo>
                    <a:pt x="106" y="0"/>
                  </a:moveTo>
                  <a:cubicBezTo>
                    <a:pt x="47" y="0"/>
                    <a:pt x="0" y="47"/>
                    <a:pt x="0" y="106"/>
                  </a:cubicBezTo>
                  <a:lnTo>
                    <a:pt x="213" y="106"/>
                  </a:lnTo>
                  <a:cubicBezTo>
                    <a:pt x="213" y="47"/>
                    <a:pt x="165" y="0"/>
                    <a:pt x="106" y="0"/>
                  </a:cubicBezTo>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3F3F3F"/>
                </a:solidFill>
              </a:endParaRPr>
            </a:p>
          </p:txBody>
        </p:sp>
        <p:sp>
          <p:nvSpPr>
            <p:cNvPr id="281" name="Freeform 25"/>
            <p:cNvSpPr>
              <a:spLocks/>
            </p:cNvSpPr>
            <p:nvPr/>
          </p:nvSpPr>
          <p:spPr bwMode="auto">
            <a:xfrm>
              <a:off x="9446293" y="5898491"/>
              <a:ext cx="133265" cy="65272"/>
            </a:xfrm>
            <a:custGeom>
              <a:avLst/>
              <a:gdLst>
                <a:gd name="T0" fmla="*/ 107 w 213"/>
                <a:gd name="T1" fmla="*/ 0 h 106"/>
                <a:gd name="T2" fmla="*/ 0 w 213"/>
                <a:gd name="T3" fmla="*/ 106 h 106"/>
                <a:gd name="T4" fmla="*/ 213 w 213"/>
                <a:gd name="T5" fmla="*/ 106 h 106"/>
                <a:gd name="T6" fmla="*/ 107 w 213"/>
                <a:gd name="T7" fmla="*/ 0 h 106"/>
              </a:gdLst>
              <a:ahLst/>
              <a:cxnLst>
                <a:cxn ang="0">
                  <a:pos x="T0" y="T1"/>
                </a:cxn>
                <a:cxn ang="0">
                  <a:pos x="T2" y="T3"/>
                </a:cxn>
                <a:cxn ang="0">
                  <a:pos x="T4" y="T5"/>
                </a:cxn>
                <a:cxn ang="0">
                  <a:pos x="T6" y="T7"/>
                </a:cxn>
              </a:cxnLst>
              <a:rect l="0" t="0" r="r" b="b"/>
              <a:pathLst>
                <a:path w="213" h="106">
                  <a:moveTo>
                    <a:pt x="107" y="0"/>
                  </a:moveTo>
                  <a:cubicBezTo>
                    <a:pt x="48" y="0"/>
                    <a:pt x="0" y="47"/>
                    <a:pt x="0" y="106"/>
                  </a:cubicBezTo>
                  <a:lnTo>
                    <a:pt x="213" y="106"/>
                  </a:lnTo>
                  <a:cubicBezTo>
                    <a:pt x="213" y="47"/>
                    <a:pt x="166" y="0"/>
                    <a:pt x="107" y="0"/>
                  </a:cubicBezTo>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3F3F3F"/>
                </a:solidFill>
              </a:endParaRPr>
            </a:p>
          </p:txBody>
        </p:sp>
      </p:grpSp>
      <p:grpSp>
        <p:nvGrpSpPr>
          <p:cNvPr id="285" name="Group 284"/>
          <p:cNvGrpSpPr/>
          <p:nvPr/>
        </p:nvGrpSpPr>
        <p:grpSpPr>
          <a:xfrm>
            <a:off x="9840989" y="5530760"/>
            <a:ext cx="335268" cy="233091"/>
            <a:chOff x="8998358" y="4985042"/>
            <a:chExt cx="417591" cy="290325"/>
          </a:xfrm>
        </p:grpSpPr>
        <p:sp>
          <p:nvSpPr>
            <p:cNvPr id="286" name="Rectangle 285"/>
            <p:cNvSpPr/>
            <p:nvPr/>
          </p:nvSpPr>
          <p:spPr>
            <a:xfrm>
              <a:off x="9042001" y="4996361"/>
              <a:ext cx="324489" cy="216246"/>
            </a:xfrm>
            <a:prstGeom prst="rect">
              <a:avLst/>
            </a:prstGeom>
            <a:solidFill>
              <a:schemeClr val="bg2">
                <a:lumMod val="50000"/>
              </a:schemeClr>
            </a:solidFill>
            <a:ln>
              <a:solidFill>
                <a:schemeClr val="bg2">
                  <a:lumMod val="5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prstClr val="white"/>
                </a:solidFill>
              </a:endParaRPr>
            </a:p>
          </p:txBody>
        </p:sp>
        <p:sp>
          <p:nvSpPr>
            <p:cNvPr id="287" name="Freeform 20"/>
            <p:cNvSpPr>
              <a:spLocks noEditPoints="1"/>
            </p:cNvSpPr>
            <p:nvPr/>
          </p:nvSpPr>
          <p:spPr bwMode="black">
            <a:xfrm>
              <a:off x="8998358" y="4985042"/>
              <a:ext cx="417591" cy="290325"/>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DC3C00"/>
            </a:solidFill>
            <a:extLst/>
          </p:spPr>
          <p:txBody>
            <a:bodyPr vert="horz" wrap="square" lIns="82305" tIns="41153" rIns="82305" bIns="41153" numCol="1" anchor="t" anchorCtr="0" compatLnSpc="1">
              <a:prstTxWarp prst="textNoShape">
                <a:avLst/>
              </a:prstTxWarp>
            </a:bodyPr>
            <a:lstStyle/>
            <a:p>
              <a:pPr defTabSz="932316">
                <a:defRPr/>
              </a:pPr>
              <a:endParaRPr lang="en-US" sz="900" kern="0" dirty="0" smtClean="0">
                <a:solidFill>
                  <a:srgbClr val="FFFFFF"/>
                </a:solidFill>
              </a:endParaRPr>
            </a:p>
          </p:txBody>
        </p:sp>
        <p:sp>
          <p:nvSpPr>
            <p:cNvPr id="288" name="Rectangle 287"/>
            <p:cNvSpPr/>
            <p:nvPr/>
          </p:nvSpPr>
          <p:spPr bwMode="auto">
            <a:xfrm>
              <a:off x="9058742" y="5009740"/>
              <a:ext cx="54381" cy="52861"/>
            </a:xfrm>
            <a:prstGeom prst="rect">
              <a:avLst/>
            </a:prstGeom>
            <a:solidFill>
              <a:srgbClr val="C000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defRPr/>
              </a:pPr>
              <a:endParaRPr lang="en-US" sz="2400" kern="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89" name="Rectangle 288"/>
            <p:cNvSpPr/>
            <p:nvPr/>
          </p:nvSpPr>
          <p:spPr bwMode="auto">
            <a:xfrm>
              <a:off x="9117888" y="5009740"/>
              <a:ext cx="54381" cy="52861"/>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defRPr/>
              </a:pPr>
              <a:endParaRPr lang="en-US" sz="2400" kern="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90" name="Rectangle 289"/>
            <p:cNvSpPr/>
            <p:nvPr/>
          </p:nvSpPr>
          <p:spPr bwMode="auto">
            <a:xfrm>
              <a:off x="9177034" y="5009740"/>
              <a:ext cx="54381" cy="52861"/>
            </a:xfrm>
            <a:prstGeom prst="rect">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defRPr/>
              </a:pPr>
              <a:endParaRPr lang="en-US" sz="2400" kern="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91" name="Rectangle 290"/>
            <p:cNvSpPr/>
            <p:nvPr/>
          </p:nvSpPr>
          <p:spPr bwMode="auto">
            <a:xfrm>
              <a:off x="9236180" y="5009740"/>
              <a:ext cx="54381" cy="52861"/>
            </a:xfrm>
            <a:prstGeom prst="rect">
              <a:avLst/>
            </a:prstGeom>
            <a:solidFill>
              <a:schemeClr val="tx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defRPr/>
              </a:pPr>
              <a:endParaRPr lang="en-US" sz="2400" kern="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92" name="Rectangle 291"/>
            <p:cNvSpPr/>
            <p:nvPr/>
          </p:nvSpPr>
          <p:spPr bwMode="auto">
            <a:xfrm>
              <a:off x="9058742" y="5070173"/>
              <a:ext cx="54381" cy="52861"/>
            </a:xfrm>
            <a:prstGeom prst="rect">
              <a:avLst/>
            </a:prstGeom>
            <a:solidFill>
              <a:schemeClr val="accent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defRPr/>
              </a:pPr>
              <a:endParaRPr lang="en-US" sz="2400" kern="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93" name="Rectangle 292"/>
            <p:cNvSpPr/>
            <p:nvPr/>
          </p:nvSpPr>
          <p:spPr bwMode="auto">
            <a:xfrm>
              <a:off x="9117888" y="5070173"/>
              <a:ext cx="54381" cy="52861"/>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defRPr/>
              </a:pPr>
              <a:endParaRPr lang="en-US" sz="2400" kern="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94" name="Rectangle 293"/>
            <p:cNvSpPr/>
            <p:nvPr/>
          </p:nvSpPr>
          <p:spPr bwMode="auto">
            <a:xfrm>
              <a:off x="9177034" y="5070173"/>
              <a:ext cx="54381" cy="52861"/>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defRPr/>
              </a:pPr>
              <a:endParaRPr lang="en-US" sz="2400" kern="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95" name="Rectangle 294"/>
            <p:cNvSpPr/>
            <p:nvPr/>
          </p:nvSpPr>
          <p:spPr bwMode="auto">
            <a:xfrm>
              <a:off x="9236180" y="5070173"/>
              <a:ext cx="54381" cy="52861"/>
            </a:xfrm>
            <a:prstGeom prst="rect">
              <a:avLst/>
            </a:prstGeom>
            <a:solidFill>
              <a:schemeClr val="accent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defRPr/>
              </a:pPr>
              <a:endParaRPr lang="en-US" sz="2400" kern="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96" name="Rectangle 295"/>
            <p:cNvSpPr/>
            <p:nvPr/>
          </p:nvSpPr>
          <p:spPr bwMode="auto">
            <a:xfrm>
              <a:off x="9058742" y="5129510"/>
              <a:ext cx="113527" cy="52861"/>
            </a:xfrm>
            <a:prstGeom prst="rect">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defRPr/>
              </a:pPr>
              <a:endParaRPr lang="en-US" sz="2400" kern="0" dirty="0" smtClean="0">
                <a:gradFill>
                  <a:gsLst>
                    <a:gs pos="0">
                      <a:srgbClr val="FFFFFF"/>
                    </a:gs>
                    <a:gs pos="100000">
                      <a:srgbClr val="FFFFFF"/>
                    </a:gs>
                  </a:gsLst>
                  <a:lin ang="5400000" scaled="0"/>
                </a:gradFill>
                <a:ea typeface="Segoe UI" pitchFamily="34" charset="0"/>
                <a:cs typeface="Segoe UI" pitchFamily="34" charset="0"/>
              </a:endParaRPr>
            </a:p>
          </p:txBody>
        </p:sp>
      </p:grpSp>
      <p:sp>
        <p:nvSpPr>
          <p:cNvPr id="297" name="Freeform 296"/>
          <p:cNvSpPr/>
          <p:nvPr/>
        </p:nvSpPr>
        <p:spPr bwMode="auto">
          <a:xfrm flipH="1">
            <a:off x="10609770" y="4927776"/>
            <a:ext cx="170953" cy="146728"/>
          </a:xfrm>
          <a:custGeom>
            <a:avLst/>
            <a:gdLst>
              <a:gd name="connsiteX0" fmla="*/ 300038 w 300038"/>
              <a:gd name="connsiteY0" fmla="*/ 190500 h 190500"/>
              <a:gd name="connsiteX1" fmla="*/ 271463 w 300038"/>
              <a:gd name="connsiteY1" fmla="*/ 116681 h 190500"/>
              <a:gd name="connsiteX2" fmla="*/ 195263 w 300038"/>
              <a:gd name="connsiteY2" fmla="*/ 107156 h 190500"/>
              <a:gd name="connsiteX3" fmla="*/ 52388 w 300038"/>
              <a:gd name="connsiteY3" fmla="*/ 100012 h 190500"/>
              <a:gd name="connsiteX4" fmla="*/ 21431 w 300038"/>
              <a:gd name="connsiteY4" fmla="*/ 119062 h 190500"/>
              <a:gd name="connsiteX5" fmla="*/ 23813 w 300038"/>
              <a:gd name="connsiteY5" fmla="*/ 164306 h 190500"/>
              <a:gd name="connsiteX6" fmla="*/ 0 w 300038"/>
              <a:gd name="connsiteY6" fmla="*/ 171450 h 190500"/>
              <a:gd name="connsiteX7" fmla="*/ 97631 w 300038"/>
              <a:gd name="connsiteY7" fmla="*/ 0 h 190500"/>
              <a:gd name="connsiteX8" fmla="*/ 214313 w 300038"/>
              <a:gd name="connsiteY8" fmla="*/ 40481 h 190500"/>
              <a:gd name="connsiteX9" fmla="*/ 300038 w 300038"/>
              <a:gd name="connsiteY9" fmla="*/ 190500 h 190500"/>
              <a:gd name="connsiteX0" fmla="*/ 300038 w 300038"/>
              <a:gd name="connsiteY0" fmla="*/ 190500 h 190500"/>
              <a:gd name="connsiteX1" fmla="*/ 271463 w 300038"/>
              <a:gd name="connsiteY1" fmla="*/ 116681 h 190500"/>
              <a:gd name="connsiteX2" fmla="*/ 195263 w 300038"/>
              <a:gd name="connsiteY2" fmla="*/ 107156 h 190500"/>
              <a:gd name="connsiteX3" fmla="*/ 52388 w 300038"/>
              <a:gd name="connsiteY3" fmla="*/ 100012 h 190500"/>
              <a:gd name="connsiteX4" fmla="*/ 21431 w 300038"/>
              <a:gd name="connsiteY4" fmla="*/ 119062 h 190500"/>
              <a:gd name="connsiteX5" fmla="*/ 23813 w 300038"/>
              <a:gd name="connsiteY5" fmla="*/ 164306 h 190500"/>
              <a:gd name="connsiteX6" fmla="*/ 0 w 300038"/>
              <a:gd name="connsiteY6" fmla="*/ 171450 h 190500"/>
              <a:gd name="connsiteX7" fmla="*/ 97631 w 300038"/>
              <a:gd name="connsiteY7" fmla="*/ 0 h 190500"/>
              <a:gd name="connsiteX8" fmla="*/ 214313 w 300038"/>
              <a:gd name="connsiteY8" fmla="*/ 40481 h 190500"/>
              <a:gd name="connsiteX9" fmla="*/ 300038 w 300038"/>
              <a:gd name="connsiteY9" fmla="*/ 190500 h 190500"/>
              <a:gd name="connsiteX0" fmla="*/ 300038 w 300038"/>
              <a:gd name="connsiteY0" fmla="*/ 190500 h 190500"/>
              <a:gd name="connsiteX1" fmla="*/ 271463 w 300038"/>
              <a:gd name="connsiteY1" fmla="*/ 116681 h 190500"/>
              <a:gd name="connsiteX2" fmla="*/ 195263 w 300038"/>
              <a:gd name="connsiteY2" fmla="*/ 107156 h 190500"/>
              <a:gd name="connsiteX3" fmla="*/ 52388 w 300038"/>
              <a:gd name="connsiteY3" fmla="*/ 100012 h 190500"/>
              <a:gd name="connsiteX4" fmla="*/ 21431 w 300038"/>
              <a:gd name="connsiteY4" fmla="*/ 119062 h 190500"/>
              <a:gd name="connsiteX5" fmla="*/ 23813 w 300038"/>
              <a:gd name="connsiteY5" fmla="*/ 164306 h 190500"/>
              <a:gd name="connsiteX6" fmla="*/ 0 w 300038"/>
              <a:gd name="connsiteY6" fmla="*/ 171450 h 190500"/>
              <a:gd name="connsiteX7" fmla="*/ 97631 w 300038"/>
              <a:gd name="connsiteY7" fmla="*/ 0 h 190500"/>
              <a:gd name="connsiteX8" fmla="*/ 214313 w 300038"/>
              <a:gd name="connsiteY8" fmla="*/ 40481 h 190500"/>
              <a:gd name="connsiteX9" fmla="*/ 300038 w 300038"/>
              <a:gd name="connsiteY9" fmla="*/ 190500 h 190500"/>
              <a:gd name="connsiteX0" fmla="*/ 300038 w 301649"/>
              <a:gd name="connsiteY0" fmla="*/ 190500 h 190500"/>
              <a:gd name="connsiteX1" fmla="*/ 271463 w 301649"/>
              <a:gd name="connsiteY1" fmla="*/ 116681 h 190500"/>
              <a:gd name="connsiteX2" fmla="*/ 195263 w 301649"/>
              <a:gd name="connsiteY2" fmla="*/ 107156 h 190500"/>
              <a:gd name="connsiteX3" fmla="*/ 52388 w 301649"/>
              <a:gd name="connsiteY3" fmla="*/ 100012 h 190500"/>
              <a:gd name="connsiteX4" fmla="*/ 21431 w 301649"/>
              <a:gd name="connsiteY4" fmla="*/ 119062 h 190500"/>
              <a:gd name="connsiteX5" fmla="*/ 23813 w 301649"/>
              <a:gd name="connsiteY5" fmla="*/ 164306 h 190500"/>
              <a:gd name="connsiteX6" fmla="*/ 0 w 301649"/>
              <a:gd name="connsiteY6" fmla="*/ 171450 h 190500"/>
              <a:gd name="connsiteX7" fmla="*/ 97631 w 301649"/>
              <a:gd name="connsiteY7" fmla="*/ 0 h 190500"/>
              <a:gd name="connsiteX8" fmla="*/ 214313 w 301649"/>
              <a:gd name="connsiteY8" fmla="*/ 40481 h 190500"/>
              <a:gd name="connsiteX9" fmla="*/ 300038 w 301649"/>
              <a:gd name="connsiteY9" fmla="*/ 190500 h 190500"/>
              <a:gd name="connsiteX0" fmla="*/ 300038 w 301649"/>
              <a:gd name="connsiteY0" fmla="*/ 194507 h 194507"/>
              <a:gd name="connsiteX1" fmla="*/ 271463 w 301649"/>
              <a:gd name="connsiteY1" fmla="*/ 120688 h 194507"/>
              <a:gd name="connsiteX2" fmla="*/ 195263 w 301649"/>
              <a:gd name="connsiteY2" fmla="*/ 111163 h 194507"/>
              <a:gd name="connsiteX3" fmla="*/ 52388 w 301649"/>
              <a:gd name="connsiteY3" fmla="*/ 104019 h 194507"/>
              <a:gd name="connsiteX4" fmla="*/ 21431 w 301649"/>
              <a:gd name="connsiteY4" fmla="*/ 123069 h 194507"/>
              <a:gd name="connsiteX5" fmla="*/ 23813 w 301649"/>
              <a:gd name="connsiteY5" fmla="*/ 168313 h 194507"/>
              <a:gd name="connsiteX6" fmla="*/ 0 w 301649"/>
              <a:gd name="connsiteY6" fmla="*/ 175457 h 194507"/>
              <a:gd name="connsiteX7" fmla="*/ 97631 w 301649"/>
              <a:gd name="connsiteY7" fmla="*/ 4007 h 194507"/>
              <a:gd name="connsiteX8" fmla="*/ 214313 w 301649"/>
              <a:gd name="connsiteY8" fmla="*/ 44488 h 194507"/>
              <a:gd name="connsiteX9" fmla="*/ 300038 w 301649"/>
              <a:gd name="connsiteY9" fmla="*/ 194507 h 194507"/>
              <a:gd name="connsiteX0" fmla="*/ 300038 w 301649"/>
              <a:gd name="connsiteY0" fmla="*/ 195665 h 195665"/>
              <a:gd name="connsiteX1" fmla="*/ 271463 w 301649"/>
              <a:gd name="connsiteY1" fmla="*/ 121846 h 195665"/>
              <a:gd name="connsiteX2" fmla="*/ 195263 w 301649"/>
              <a:gd name="connsiteY2" fmla="*/ 112321 h 195665"/>
              <a:gd name="connsiteX3" fmla="*/ 52388 w 301649"/>
              <a:gd name="connsiteY3" fmla="*/ 105177 h 195665"/>
              <a:gd name="connsiteX4" fmla="*/ 21431 w 301649"/>
              <a:gd name="connsiteY4" fmla="*/ 124227 h 195665"/>
              <a:gd name="connsiteX5" fmla="*/ 23813 w 301649"/>
              <a:gd name="connsiteY5" fmla="*/ 169471 h 195665"/>
              <a:gd name="connsiteX6" fmla="*/ 0 w 301649"/>
              <a:gd name="connsiteY6" fmla="*/ 176615 h 195665"/>
              <a:gd name="connsiteX7" fmla="*/ 97631 w 301649"/>
              <a:gd name="connsiteY7" fmla="*/ 5165 h 195665"/>
              <a:gd name="connsiteX8" fmla="*/ 214313 w 301649"/>
              <a:gd name="connsiteY8" fmla="*/ 45646 h 195665"/>
              <a:gd name="connsiteX9" fmla="*/ 300038 w 301649"/>
              <a:gd name="connsiteY9" fmla="*/ 195665 h 195665"/>
              <a:gd name="connsiteX0" fmla="*/ 300038 w 301649"/>
              <a:gd name="connsiteY0" fmla="*/ 195665 h 195665"/>
              <a:gd name="connsiteX1" fmla="*/ 271463 w 301649"/>
              <a:gd name="connsiteY1" fmla="*/ 121846 h 195665"/>
              <a:gd name="connsiteX2" fmla="*/ 195263 w 301649"/>
              <a:gd name="connsiteY2" fmla="*/ 112321 h 195665"/>
              <a:gd name="connsiteX3" fmla="*/ 52388 w 301649"/>
              <a:gd name="connsiteY3" fmla="*/ 105177 h 195665"/>
              <a:gd name="connsiteX4" fmla="*/ 45243 w 301649"/>
              <a:gd name="connsiteY4" fmla="*/ 150420 h 195665"/>
              <a:gd name="connsiteX5" fmla="*/ 23813 w 301649"/>
              <a:gd name="connsiteY5" fmla="*/ 169471 h 195665"/>
              <a:gd name="connsiteX6" fmla="*/ 0 w 301649"/>
              <a:gd name="connsiteY6" fmla="*/ 176615 h 195665"/>
              <a:gd name="connsiteX7" fmla="*/ 97631 w 301649"/>
              <a:gd name="connsiteY7" fmla="*/ 5165 h 195665"/>
              <a:gd name="connsiteX8" fmla="*/ 214313 w 301649"/>
              <a:gd name="connsiteY8" fmla="*/ 45646 h 195665"/>
              <a:gd name="connsiteX9" fmla="*/ 300038 w 301649"/>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5688 w 302094"/>
              <a:gd name="connsiteY4" fmla="*/ 150420 h 195665"/>
              <a:gd name="connsiteX5" fmla="*/ 24258 w 302094"/>
              <a:gd name="connsiteY5" fmla="*/ 169471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5688 w 302094"/>
              <a:gd name="connsiteY4" fmla="*/ 150420 h 195665"/>
              <a:gd name="connsiteX5" fmla="*/ 21877 w 302094"/>
              <a:gd name="connsiteY5" fmla="*/ 131371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3307 w 302094"/>
              <a:gd name="connsiteY4" fmla="*/ 126608 h 195665"/>
              <a:gd name="connsiteX5" fmla="*/ 21877 w 302094"/>
              <a:gd name="connsiteY5" fmla="*/ 131371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3307 w 302094"/>
              <a:gd name="connsiteY4" fmla="*/ 126608 h 195665"/>
              <a:gd name="connsiteX5" fmla="*/ 12352 w 302094"/>
              <a:gd name="connsiteY5" fmla="*/ 171852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3307 w 302094"/>
              <a:gd name="connsiteY4" fmla="*/ 126608 h 195665"/>
              <a:gd name="connsiteX5" fmla="*/ 12352 w 302094"/>
              <a:gd name="connsiteY5" fmla="*/ 171852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3307 w 302094"/>
              <a:gd name="connsiteY4" fmla="*/ 126608 h 195665"/>
              <a:gd name="connsiteX5" fmla="*/ 12352 w 302094"/>
              <a:gd name="connsiteY5" fmla="*/ 171852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3307 w 302094"/>
              <a:gd name="connsiteY4" fmla="*/ 126608 h 195665"/>
              <a:gd name="connsiteX5" fmla="*/ 12352 w 302094"/>
              <a:gd name="connsiteY5" fmla="*/ 171852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3307 w 302094"/>
              <a:gd name="connsiteY4" fmla="*/ 126608 h 195665"/>
              <a:gd name="connsiteX5" fmla="*/ 12352 w 302094"/>
              <a:gd name="connsiteY5" fmla="*/ 171852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1906"/>
              <a:gd name="connsiteY0" fmla="*/ 195665 h 195665"/>
              <a:gd name="connsiteX1" fmla="*/ 271908 w 301906"/>
              <a:gd name="connsiteY1" fmla="*/ 121846 h 195665"/>
              <a:gd name="connsiteX2" fmla="*/ 195708 w 301906"/>
              <a:gd name="connsiteY2" fmla="*/ 112321 h 195665"/>
              <a:gd name="connsiteX3" fmla="*/ 52833 w 301906"/>
              <a:gd name="connsiteY3" fmla="*/ 105177 h 195665"/>
              <a:gd name="connsiteX4" fmla="*/ 43307 w 301906"/>
              <a:gd name="connsiteY4" fmla="*/ 126608 h 195665"/>
              <a:gd name="connsiteX5" fmla="*/ 12352 w 301906"/>
              <a:gd name="connsiteY5" fmla="*/ 171852 h 195665"/>
              <a:gd name="connsiteX6" fmla="*/ 445 w 301906"/>
              <a:gd name="connsiteY6" fmla="*/ 176615 h 195665"/>
              <a:gd name="connsiteX7" fmla="*/ 98076 w 301906"/>
              <a:gd name="connsiteY7" fmla="*/ 5165 h 195665"/>
              <a:gd name="connsiteX8" fmla="*/ 214758 w 301906"/>
              <a:gd name="connsiteY8" fmla="*/ 45646 h 195665"/>
              <a:gd name="connsiteX9" fmla="*/ 300483 w 301906"/>
              <a:gd name="connsiteY9" fmla="*/ 195665 h 195665"/>
              <a:gd name="connsiteX0" fmla="*/ 300483 w 301906"/>
              <a:gd name="connsiteY0" fmla="*/ 195665 h 195665"/>
              <a:gd name="connsiteX1" fmla="*/ 271908 w 301906"/>
              <a:gd name="connsiteY1" fmla="*/ 121846 h 195665"/>
              <a:gd name="connsiteX2" fmla="*/ 195708 w 301906"/>
              <a:gd name="connsiteY2" fmla="*/ 112321 h 195665"/>
              <a:gd name="connsiteX3" fmla="*/ 52833 w 301906"/>
              <a:gd name="connsiteY3" fmla="*/ 105177 h 195665"/>
              <a:gd name="connsiteX4" fmla="*/ 43307 w 301906"/>
              <a:gd name="connsiteY4" fmla="*/ 126608 h 195665"/>
              <a:gd name="connsiteX5" fmla="*/ 12352 w 301906"/>
              <a:gd name="connsiteY5" fmla="*/ 171852 h 195665"/>
              <a:gd name="connsiteX6" fmla="*/ 445 w 301906"/>
              <a:gd name="connsiteY6" fmla="*/ 176615 h 195665"/>
              <a:gd name="connsiteX7" fmla="*/ 98076 w 301906"/>
              <a:gd name="connsiteY7" fmla="*/ 5165 h 195665"/>
              <a:gd name="connsiteX8" fmla="*/ 214758 w 301906"/>
              <a:gd name="connsiteY8" fmla="*/ 45646 h 195665"/>
              <a:gd name="connsiteX9" fmla="*/ 300483 w 301906"/>
              <a:gd name="connsiteY9" fmla="*/ 195665 h 195665"/>
              <a:gd name="connsiteX0" fmla="*/ 300157 w 305426"/>
              <a:gd name="connsiteY0" fmla="*/ 207197 h 207197"/>
              <a:gd name="connsiteX1" fmla="*/ 271582 w 305426"/>
              <a:gd name="connsiteY1" fmla="*/ 133378 h 207197"/>
              <a:gd name="connsiteX2" fmla="*/ 195382 w 305426"/>
              <a:gd name="connsiteY2" fmla="*/ 123853 h 207197"/>
              <a:gd name="connsiteX3" fmla="*/ 52507 w 305426"/>
              <a:gd name="connsiteY3" fmla="*/ 116709 h 207197"/>
              <a:gd name="connsiteX4" fmla="*/ 42981 w 305426"/>
              <a:gd name="connsiteY4" fmla="*/ 138140 h 207197"/>
              <a:gd name="connsiteX5" fmla="*/ 12026 w 305426"/>
              <a:gd name="connsiteY5" fmla="*/ 183384 h 207197"/>
              <a:gd name="connsiteX6" fmla="*/ 119 w 305426"/>
              <a:gd name="connsiteY6" fmla="*/ 188147 h 207197"/>
              <a:gd name="connsiteX7" fmla="*/ 97750 w 305426"/>
              <a:gd name="connsiteY7" fmla="*/ 16697 h 207197"/>
              <a:gd name="connsiteX8" fmla="*/ 236657 w 305426"/>
              <a:gd name="connsiteY8" fmla="*/ 25428 h 207197"/>
              <a:gd name="connsiteX9" fmla="*/ 300157 w 305426"/>
              <a:gd name="connsiteY9" fmla="*/ 207197 h 207197"/>
              <a:gd name="connsiteX0" fmla="*/ 301589 w 306858"/>
              <a:gd name="connsiteY0" fmla="*/ 228594 h 228594"/>
              <a:gd name="connsiteX1" fmla="*/ 273014 w 306858"/>
              <a:gd name="connsiteY1" fmla="*/ 154775 h 228594"/>
              <a:gd name="connsiteX2" fmla="*/ 196814 w 306858"/>
              <a:gd name="connsiteY2" fmla="*/ 145250 h 228594"/>
              <a:gd name="connsiteX3" fmla="*/ 53939 w 306858"/>
              <a:gd name="connsiteY3" fmla="*/ 138106 h 228594"/>
              <a:gd name="connsiteX4" fmla="*/ 44413 w 306858"/>
              <a:gd name="connsiteY4" fmla="*/ 159537 h 228594"/>
              <a:gd name="connsiteX5" fmla="*/ 13458 w 306858"/>
              <a:gd name="connsiteY5" fmla="*/ 204781 h 228594"/>
              <a:gd name="connsiteX6" fmla="*/ 1551 w 306858"/>
              <a:gd name="connsiteY6" fmla="*/ 209544 h 228594"/>
              <a:gd name="connsiteX7" fmla="*/ 35682 w 306858"/>
              <a:gd name="connsiteY7" fmla="*/ 9519 h 228594"/>
              <a:gd name="connsiteX8" fmla="*/ 238089 w 306858"/>
              <a:gd name="connsiteY8" fmla="*/ 46825 h 228594"/>
              <a:gd name="connsiteX9" fmla="*/ 301589 w 306858"/>
              <a:gd name="connsiteY9" fmla="*/ 228594 h 228594"/>
              <a:gd name="connsiteX0" fmla="*/ 309678 w 314947"/>
              <a:gd name="connsiteY0" fmla="*/ 254831 h 254831"/>
              <a:gd name="connsiteX1" fmla="*/ 281103 w 314947"/>
              <a:gd name="connsiteY1" fmla="*/ 181012 h 254831"/>
              <a:gd name="connsiteX2" fmla="*/ 204903 w 314947"/>
              <a:gd name="connsiteY2" fmla="*/ 171487 h 254831"/>
              <a:gd name="connsiteX3" fmla="*/ 62028 w 314947"/>
              <a:gd name="connsiteY3" fmla="*/ 164343 h 254831"/>
              <a:gd name="connsiteX4" fmla="*/ 52502 w 314947"/>
              <a:gd name="connsiteY4" fmla="*/ 185774 h 254831"/>
              <a:gd name="connsiteX5" fmla="*/ 21547 w 314947"/>
              <a:gd name="connsiteY5" fmla="*/ 231018 h 254831"/>
              <a:gd name="connsiteX6" fmla="*/ 9640 w 314947"/>
              <a:gd name="connsiteY6" fmla="*/ 235781 h 254831"/>
              <a:gd name="connsiteX7" fmla="*/ 43771 w 314947"/>
              <a:gd name="connsiteY7" fmla="*/ 35756 h 254831"/>
              <a:gd name="connsiteX8" fmla="*/ 246178 w 314947"/>
              <a:gd name="connsiteY8" fmla="*/ 73062 h 254831"/>
              <a:gd name="connsiteX9" fmla="*/ 309678 w 314947"/>
              <a:gd name="connsiteY9" fmla="*/ 254831 h 254831"/>
              <a:gd name="connsiteX0" fmla="*/ 322378 w 324871"/>
              <a:gd name="connsiteY0" fmla="*/ 280231 h 280231"/>
              <a:gd name="connsiteX1" fmla="*/ 281103 w 324871"/>
              <a:gd name="connsiteY1" fmla="*/ 181012 h 280231"/>
              <a:gd name="connsiteX2" fmla="*/ 204903 w 324871"/>
              <a:gd name="connsiteY2" fmla="*/ 171487 h 280231"/>
              <a:gd name="connsiteX3" fmla="*/ 62028 w 324871"/>
              <a:gd name="connsiteY3" fmla="*/ 164343 h 280231"/>
              <a:gd name="connsiteX4" fmla="*/ 52502 w 324871"/>
              <a:gd name="connsiteY4" fmla="*/ 185774 h 280231"/>
              <a:gd name="connsiteX5" fmla="*/ 21547 w 324871"/>
              <a:gd name="connsiteY5" fmla="*/ 231018 h 280231"/>
              <a:gd name="connsiteX6" fmla="*/ 9640 w 324871"/>
              <a:gd name="connsiteY6" fmla="*/ 235781 h 280231"/>
              <a:gd name="connsiteX7" fmla="*/ 43771 w 324871"/>
              <a:gd name="connsiteY7" fmla="*/ 35756 h 280231"/>
              <a:gd name="connsiteX8" fmla="*/ 246178 w 324871"/>
              <a:gd name="connsiteY8" fmla="*/ 73062 h 280231"/>
              <a:gd name="connsiteX9" fmla="*/ 322378 w 324871"/>
              <a:gd name="connsiteY9" fmla="*/ 280231 h 280231"/>
              <a:gd name="connsiteX0" fmla="*/ 322378 w 335881"/>
              <a:gd name="connsiteY0" fmla="*/ 280231 h 280231"/>
              <a:gd name="connsiteX1" fmla="*/ 281103 w 335881"/>
              <a:gd name="connsiteY1" fmla="*/ 181012 h 280231"/>
              <a:gd name="connsiteX2" fmla="*/ 204903 w 335881"/>
              <a:gd name="connsiteY2" fmla="*/ 171487 h 280231"/>
              <a:gd name="connsiteX3" fmla="*/ 62028 w 335881"/>
              <a:gd name="connsiteY3" fmla="*/ 164343 h 280231"/>
              <a:gd name="connsiteX4" fmla="*/ 52502 w 335881"/>
              <a:gd name="connsiteY4" fmla="*/ 185774 h 280231"/>
              <a:gd name="connsiteX5" fmla="*/ 21547 w 335881"/>
              <a:gd name="connsiteY5" fmla="*/ 231018 h 280231"/>
              <a:gd name="connsiteX6" fmla="*/ 9640 w 335881"/>
              <a:gd name="connsiteY6" fmla="*/ 235781 h 280231"/>
              <a:gd name="connsiteX7" fmla="*/ 43771 w 335881"/>
              <a:gd name="connsiteY7" fmla="*/ 35756 h 280231"/>
              <a:gd name="connsiteX8" fmla="*/ 246178 w 335881"/>
              <a:gd name="connsiteY8" fmla="*/ 73062 h 280231"/>
              <a:gd name="connsiteX9" fmla="*/ 322378 w 335881"/>
              <a:gd name="connsiteY9" fmla="*/ 280231 h 280231"/>
              <a:gd name="connsiteX0" fmla="*/ 320006 w 333509"/>
              <a:gd name="connsiteY0" fmla="*/ 256912 h 256912"/>
              <a:gd name="connsiteX1" fmla="*/ 278731 w 333509"/>
              <a:gd name="connsiteY1" fmla="*/ 157693 h 256912"/>
              <a:gd name="connsiteX2" fmla="*/ 202531 w 333509"/>
              <a:gd name="connsiteY2" fmla="*/ 148168 h 256912"/>
              <a:gd name="connsiteX3" fmla="*/ 59656 w 333509"/>
              <a:gd name="connsiteY3" fmla="*/ 141024 h 256912"/>
              <a:gd name="connsiteX4" fmla="*/ 50130 w 333509"/>
              <a:gd name="connsiteY4" fmla="*/ 162455 h 256912"/>
              <a:gd name="connsiteX5" fmla="*/ 19175 w 333509"/>
              <a:gd name="connsiteY5" fmla="*/ 207699 h 256912"/>
              <a:gd name="connsiteX6" fmla="*/ 918 w 333509"/>
              <a:gd name="connsiteY6" fmla="*/ 253737 h 256912"/>
              <a:gd name="connsiteX7" fmla="*/ 41399 w 333509"/>
              <a:gd name="connsiteY7" fmla="*/ 12437 h 256912"/>
              <a:gd name="connsiteX8" fmla="*/ 243806 w 333509"/>
              <a:gd name="connsiteY8" fmla="*/ 49743 h 256912"/>
              <a:gd name="connsiteX9" fmla="*/ 320006 w 333509"/>
              <a:gd name="connsiteY9" fmla="*/ 256912 h 256912"/>
              <a:gd name="connsiteX0" fmla="*/ 340397 w 353900"/>
              <a:gd name="connsiteY0" fmla="*/ 256912 h 256912"/>
              <a:gd name="connsiteX1" fmla="*/ 299122 w 353900"/>
              <a:gd name="connsiteY1" fmla="*/ 157693 h 256912"/>
              <a:gd name="connsiteX2" fmla="*/ 222922 w 353900"/>
              <a:gd name="connsiteY2" fmla="*/ 148168 h 256912"/>
              <a:gd name="connsiteX3" fmla="*/ 80047 w 353900"/>
              <a:gd name="connsiteY3" fmla="*/ 141024 h 256912"/>
              <a:gd name="connsiteX4" fmla="*/ 70521 w 353900"/>
              <a:gd name="connsiteY4" fmla="*/ 162455 h 256912"/>
              <a:gd name="connsiteX5" fmla="*/ 39566 w 353900"/>
              <a:gd name="connsiteY5" fmla="*/ 207699 h 256912"/>
              <a:gd name="connsiteX6" fmla="*/ 21309 w 353900"/>
              <a:gd name="connsiteY6" fmla="*/ 253737 h 256912"/>
              <a:gd name="connsiteX7" fmla="*/ 61790 w 353900"/>
              <a:gd name="connsiteY7" fmla="*/ 12437 h 256912"/>
              <a:gd name="connsiteX8" fmla="*/ 264197 w 353900"/>
              <a:gd name="connsiteY8" fmla="*/ 49743 h 256912"/>
              <a:gd name="connsiteX9" fmla="*/ 340397 w 353900"/>
              <a:gd name="connsiteY9" fmla="*/ 256912 h 256912"/>
              <a:gd name="connsiteX0" fmla="*/ 351275 w 364778"/>
              <a:gd name="connsiteY0" fmla="*/ 283264 h 283264"/>
              <a:gd name="connsiteX1" fmla="*/ 310000 w 364778"/>
              <a:gd name="connsiteY1" fmla="*/ 184045 h 283264"/>
              <a:gd name="connsiteX2" fmla="*/ 233800 w 364778"/>
              <a:gd name="connsiteY2" fmla="*/ 174520 h 283264"/>
              <a:gd name="connsiteX3" fmla="*/ 90925 w 364778"/>
              <a:gd name="connsiteY3" fmla="*/ 167376 h 283264"/>
              <a:gd name="connsiteX4" fmla="*/ 81399 w 364778"/>
              <a:gd name="connsiteY4" fmla="*/ 188807 h 283264"/>
              <a:gd name="connsiteX5" fmla="*/ 50444 w 364778"/>
              <a:gd name="connsiteY5" fmla="*/ 234051 h 283264"/>
              <a:gd name="connsiteX6" fmla="*/ 32187 w 364778"/>
              <a:gd name="connsiteY6" fmla="*/ 280089 h 283264"/>
              <a:gd name="connsiteX7" fmla="*/ 72668 w 364778"/>
              <a:gd name="connsiteY7" fmla="*/ 38789 h 283264"/>
              <a:gd name="connsiteX8" fmla="*/ 275075 w 364778"/>
              <a:gd name="connsiteY8" fmla="*/ 76095 h 283264"/>
              <a:gd name="connsiteX9" fmla="*/ 351275 w 364778"/>
              <a:gd name="connsiteY9" fmla="*/ 283264 h 283264"/>
              <a:gd name="connsiteX0" fmla="*/ 351275 w 374648"/>
              <a:gd name="connsiteY0" fmla="*/ 286181 h 286181"/>
              <a:gd name="connsiteX1" fmla="*/ 310000 w 374648"/>
              <a:gd name="connsiteY1" fmla="*/ 186962 h 286181"/>
              <a:gd name="connsiteX2" fmla="*/ 233800 w 374648"/>
              <a:gd name="connsiteY2" fmla="*/ 177437 h 286181"/>
              <a:gd name="connsiteX3" fmla="*/ 90925 w 374648"/>
              <a:gd name="connsiteY3" fmla="*/ 170293 h 286181"/>
              <a:gd name="connsiteX4" fmla="*/ 81399 w 374648"/>
              <a:gd name="connsiteY4" fmla="*/ 191724 h 286181"/>
              <a:gd name="connsiteX5" fmla="*/ 50444 w 374648"/>
              <a:gd name="connsiteY5" fmla="*/ 236968 h 286181"/>
              <a:gd name="connsiteX6" fmla="*/ 32187 w 374648"/>
              <a:gd name="connsiteY6" fmla="*/ 283006 h 286181"/>
              <a:gd name="connsiteX7" fmla="*/ 72668 w 374648"/>
              <a:gd name="connsiteY7" fmla="*/ 41706 h 286181"/>
              <a:gd name="connsiteX8" fmla="*/ 307978 w 374648"/>
              <a:gd name="connsiteY8" fmla="*/ 66435 h 286181"/>
              <a:gd name="connsiteX9" fmla="*/ 351275 w 374648"/>
              <a:gd name="connsiteY9" fmla="*/ 286181 h 286181"/>
              <a:gd name="connsiteX0" fmla="*/ 351275 w 366478"/>
              <a:gd name="connsiteY0" fmla="*/ 289222 h 289222"/>
              <a:gd name="connsiteX1" fmla="*/ 310000 w 366478"/>
              <a:gd name="connsiteY1" fmla="*/ 190003 h 289222"/>
              <a:gd name="connsiteX2" fmla="*/ 233800 w 366478"/>
              <a:gd name="connsiteY2" fmla="*/ 180478 h 289222"/>
              <a:gd name="connsiteX3" fmla="*/ 90925 w 366478"/>
              <a:gd name="connsiteY3" fmla="*/ 173334 h 289222"/>
              <a:gd name="connsiteX4" fmla="*/ 81399 w 366478"/>
              <a:gd name="connsiteY4" fmla="*/ 194765 h 289222"/>
              <a:gd name="connsiteX5" fmla="*/ 50444 w 366478"/>
              <a:gd name="connsiteY5" fmla="*/ 240009 h 289222"/>
              <a:gd name="connsiteX6" fmla="*/ 32187 w 366478"/>
              <a:gd name="connsiteY6" fmla="*/ 286047 h 289222"/>
              <a:gd name="connsiteX7" fmla="*/ 72668 w 366478"/>
              <a:gd name="connsiteY7" fmla="*/ 44747 h 289222"/>
              <a:gd name="connsiteX8" fmla="*/ 282618 w 366478"/>
              <a:gd name="connsiteY8" fmla="*/ 57997 h 289222"/>
              <a:gd name="connsiteX9" fmla="*/ 351275 w 366478"/>
              <a:gd name="connsiteY9" fmla="*/ 289222 h 289222"/>
              <a:gd name="connsiteX0" fmla="*/ 351275 w 362099"/>
              <a:gd name="connsiteY0" fmla="*/ 289222 h 289222"/>
              <a:gd name="connsiteX1" fmla="*/ 310000 w 362099"/>
              <a:gd name="connsiteY1" fmla="*/ 190003 h 289222"/>
              <a:gd name="connsiteX2" fmla="*/ 233800 w 362099"/>
              <a:gd name="connsiteY2" fmla="*/ 180478 h 289222"/>
              <a:gd name="connsiteX3" fmla="*/ 90925 w 362099"/>
              <a:gd name="connsiteY3" fmla="*/ 173334 h 289222"/>
              <a:gd name="connsiteX4" fmla="*/ 81399 w 362099"/>
              <a:gd name="connsiteY4" fmla="*/ 194765 h 289222"/>
              <a:gd name="connsiteX5" fmla="*/ 50444 w 362099"/>
              <a:gd name="connsiteY5" fmla="*/ 240009 h 289222"/>
              <a:gd name="connsiteX6" fmla="*/ 32187 w 362099"/>
              <a:gd name="connsiteY6" fmla="*/ 286047 h 289222"/>
              <a:gd name="connsiteX7" fmla="*/ 72668 w 362099"/>
              <a:gd name="connsiteY7" fmla="*/ 44747 h 289222"/>
              <a:gd name="connsiteX8" fmla="*/ 282618 w 362099"/>
              <a:gd name="connsiteY8" fmla="*/ 57997 h 289222"/>
              <a:gd name="connsiteX9" fmla="*/ 351275 w 362099"/>
              <a:gd name="connsiteY9" fmla="*/ 289222 h 289222"/>
              <a:gd name="connsiteX0" fmla="*/ 351275 w 362099"/>
              <a:gd name="connsiteY0" fmla="*/ 293611 h 293611"/>
              <a:gd name="connsiteX1" fmla="*/ 310000 w 362099"/>
              <a:gd name="connsiteY1" fmla="*/ 194392 h 293611"/>
              <a:gd name="connsiteX2" fmla="*/ 233800 w 362099"/>
              <a:gd name="connsiteY2" fmla="*/ 184867 h 293611"/>
              <a:gd name="connsiteX3" fmla="*/ 90925 w 362099"/>
              <a:gd name="connsiteY3" fmla="*/ 177723 h 293611"/>
              <a:gd name="connsiteX4" fmla="*/ 81399 w 362099"/>
              <a:gd name="connsiteY4" fmla="*/ 199154 h 293611"/>
              <a:gd name="connsiteX5" fmla="*/ 50444 w 362099"/>
              <a:gd name="connsiteY5" fmla="*/ 244398 h 293611"/>
              <a:gd name="connsiteX6" fmla="*/ 32187 w 362099"/>
              <a:gd name="connsiteY6" fmla="*/ 290436 h 293611"/>
              <a:gd name="connsiteX7" fmla="*/ 72668 w 362099"/>
              <a:gd name="connsiteY7" fmla="*/ 49136 h 293611"/>
              <a:gd name="connsiteX8" fmla="*/ 282618 w 362099"/>
              <a:gd name="connsiteY8" fmla="*/ 62386 h 293611"/>
              <a:gd name="connsiteX9" fmla="*/ 351275 w 362099"/>
              <a:gd name="connsiteY9" fmla="*/ 293611 h 293611"/>
              <a:gd name="connsiteX0" fmla="*/ 351275 w 369395"/>
              <a:gd name="connsiteY0" fmla="*/ 299808 h 299808"/>
              <a:gd name="connsiteX1" fmla="*/ 310000 w 369395"/>
              <a:gd name="connsiteY1" fmla="*/ 200589 h 299808"/>
              <a:gd name="connsiteX2" fmla="*/ 233800 w 369395"/>
              <a:gd name="connsiteY2" fmla="*/ 191064 h 299808"/>
              <a:gd name="connsiteX3" fmla="*/ 90925 w 369395"/>
              <a:gd name="connsiteY3" fmla="*/ 183920 h 299808"/>
              <a:gd name="connsiteX4" fmla="*/ 81399 w 369395"/>
              <a:gd name="connsiteY4" fmla="*/ 205351 h 299808"/>
              <a:gd name="connsiteX5" fmla="*/ 50444 w 369395"/>
              <a:gd name="connsiteY5" fmla="*/ 250595 h 299808"/>
              <a:gd name="connsiteX6" fmla="*/ 32187 w 369395"/>
              <a:gd name="connsiteY6" fmla="*/ 296633 h 299808"/>
              <a:gd name="connsiteX7" fmla="*/ 72668 w 369395"/>
              <a:gd name="connsiteY7" fmla="*/ 55333 h 299808"/>
              <a:gd name="connsiteX8" fmla="*/ 314316 w 369395"/>
              <a:gd name="connsiteY8" fmla="*/ 51363 h 299808"/>
              <a:gd name="connsiteX9" fmla="*/ 351275 w 369395"/>
              <a:gd name="connsiteY9" fmla="*/ 299808 h 299808"/>
              <a:gd name="connsiteX0" fmla="*/ 351275 w 369395"/>
              <a:gd name="connsiteY0" fmla="*/ 296292 h 296292"/>
              <a:gd name="connsiteX1" fmla="*/ 310000 w 369395"/>
              <a:gd name="connsiteY1" fmla="*/ 197073 h 296292"/>
              <a:gd name="connsiteX2" fmla="*/ 233800 w 369395"/>
              <a:gd name="connsiteY2" fmla="*/ 187548 h 296292"/>
              <a:gd name="connsiteX3" fmla="*/ 90925 w 369395"/>
              <a:gd name="connsiteY3" fmla="*/ 180404 h 296292"/>
              <a:gd name="connsiteX4" fmla="*/ 81399 w 369395"/>
              <a:gd name="connsiteY4" fmla="*/ 201835 h 296292"/>
              <a:gd name="connsiteX5" fmla="*/ 50444 w 369395"/>
              <a:gd name="connsiteY5" fmla="*/ 247079 h 296292"/>
              <a:gd name="connsiteX6" fmla="*/ 32187 w 369395"/>
              <a:gd name="connsiteY6" fmla="*/ 293117 h 296292"/>
              <a:gd name="connsiteX7" fmla="*/ 72668 w 369395"/>
              <a:gd name="connsiteY7" fmla="*/ 51817 h 296292"/>
              <a:gd name="connsiteX8" fmla="*/ 314316 w 369395"/>
              <a:gd name="connsiteY8" fmla="*/ 47847 h 296292"/>
              <a:gd name="connsiteX9" fmla="*/ 351275 w 369395"/>
              <a:gd name="connsiteY9" fmla="*/ 296292 h 296292"/>
              <a:gd name="connsiteX0" fmla="*/ 351275 w 364876"/>
              <a:gd name="connsiteY0" fmla="*/ 296292 h 296292"/>
              <a:gd name="connsiteX1" fmla="*/ 310000 w 364876"/>
              <a:gd name="connsiteY1" fmla="*/ 197073 h 296292"/>
              <a:gd name="connsiteX2" fmla="*/ 233800 w 364876"/>
              <a:gd name="connsiteY2" fmla="*/ 187548 h 296292"/>
              <a:gd name="connsiteX3" fmla="*/ 90925 w 364876"/>
              <a:gd name="connsiteY3" fmla="*/ 180404 h 296292"/>
              <a:gd name="connsiteX4" fmla="*/ 81399 w 364876"/>
              <a:gd name="connsiteY4" fmla="*/ 201835 h 296292"/>
              <a:gd name="connsiteX5" fmla="*/ 50444 w 364876"/>
              <a:gd name="connsiteY5" fmla="*/ 247079 h 296292"/>
              <a:gd name="connsiteX6" fmla="*/ 32187 w 364876"/>
              <a:gd name="connsiteY6" fmla="*/ 293117 h 296292"/>
              <a:gd name="connsiteX7" fmla="*/ 72668 w 364876"/>
              <a:gd name="connsiteY7" fmla="*/ 51817 h 296292"/>
              <a:gd name="connsiteX8" fmla="*/ 314316 w 364876"/>
              <a:gd name="connsiteY8" fmla="*/ 47847 h 296292"/>
              <a:gd name="connsiteX9" fmla="*/ 351275 w 364876"/>
              <a:gd name="connsiteY9" fmla="*/ 296292 h 296292"/>
              <a:gd name="connsiteX0" fmla="*/ 351275 w 364876"/>
              <a:gd name="connsiteY0" fmla="*/ 296292 h 296292"/>
              <a:gd name="connsiteX1" fmla="*/ 310000 w 364876"/>
              <a:gd name="connsiteY1" fmla="*/ 197073 h 296292"/>
              <a:gd name="connsiteX2" fmla="*/ 233800 w 364876"/>
              <a:gd name="connsiteY2" fmla="*/ 187548 h 296292"/>
              <a:gd name="connsiteX3" fmla="*/ 90925 w 364876"/>
              <a:gd name="connsiteY3" fmla="*/ 180404 h 296292"/>
              <a:gd name="connsiteX4" fmla="*/ 81399 w 364876"/>
              <a:gd name="connsiteY4" fmla="*/ 201835 h 296292"/>
              <a:gd name="connsiteX5" fmla="*/ 50444 w 364876"/>
              <a:gd name="connsiteY5" fmla="*/ 247079 h 296292"/>
              <a:gd name="connsiteX6" fmla="*/ 32187 w 364876"/>
              <a:gd name="connsiteY6" fmla="*/ 293117 h 296292"/>
              <a:gd name="connsiteX7" fmla="*/ 72668 w 364876"/>
              <a:gd name="connsiteY7" fmla="*/ 51817 h 296292"/>
              <a:gd name="connsiteX8" fmla="*/ 314316 w 364876"/>
              <a:gd name="connsiteY8" fmla="*/ 47847 h 296292"/>
              <a:gd name="connsiteX9" fmla="*/ 351275 w 364876"/>
              <a:gd name="connsiteY9" fmla="*/ 296292 h 296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4876" h="296292">
                <a:moveTo>
                  <a:pt x="351275" y="296292"/>
                </a:moveTo>
                <a:cubicBezTo>
                  <a:pt x="282218" y="259780"/>
                  <a:pt x="319525" y="221679"/>
                  <a:pt x="310000" y="197073"/>
                </a:cubicBezTo>
                <a:cubicBezTo>
                  <a:pt x="284600" y="205805"/>
                  <a:pt x="259200" y="190723"/>
                  <a:pt x="233800" y="187548"/>
                </a:cubicBezTo>
                <a:cubicBezTo>
                  <a:pt x="155219" y="213742"/>
                  <a:pt x="124262" y="199454"/>
                  <a:pt x="90925" y="180404"/>
                </a:cubicBezTo>
                <a:lnTo>
                  <a:pt x="81399" y="201835"/>
                </a:lnTo>
                <a:cubicBezTo>
                  <a:pt x="71081" y="216916"/>
                  <a:pt x="70287" y="253430"/>
                  <a:pt x="50444" y="247079"/>
                </a:cubicBezTo>
                <a:lnTo>
                  <a:pt x="32187" y="293117"/>
                </a:lnTo>
                <a:cubicBezTo>
                  <a:pt x="-18613" y="199454"/>
                  <a:pt x="-12263" y="146141"/>
                  <a:pt x="72668" y="51817"/>
                </a:cubicBezTo>
                <a:cubicBezTo>
                  <a:pt x="157599" y="-42507"/>
                  <a:pt x="265958" y="14324"/>
                  <a:pt x="314316" y="47847"/>
                </a:cubicBezTo>
                <a:cubicBezTo>
                  <a:pt x="358046" y="96698"/>
                  <a:pt x="381438" y="266130"/>
                  <a:pt x="351275" y="296292"/>
                </a:cubicBez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98" name="Rectangle 297"/>
          <p:cNvSpPr/>
          <p:nvPr/>
        </p:nvSpPr>
        <p:spPr bwMode="auto">
          <a:xfrm>
            <a:off x="1149926" y="1887067"/>
            <a:ext cx="3064703" cy="2751719"/>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4008" tIns="45718" rIns="91436" bIns="91440" numCol="1" rtlCol="0" anchor="t" anchorCtr="0" compatLnSpc="1">
            <a:prstTxWarp prst="textNoShape">
              <a:avLst/>
            </a:prstTxWarp>
          </a:bodyPr>
          <a:lstStyle/>
          <a:p>
            <a:pPr defTabSz="914099" fontAlgn="base">
              <a:lnSpc>
                <a:spcPct val="90000"/>
              </a:lnSpc>
              <a:spcBef>
                <a:spcPct val="0"/>
              </a:spcBef>
              <a:spcAft>
                <a:spcPct val="0"/>
              </a:spcAft>
            </a:pPr>
            <a:endParaRPr lang="en-US" sz="2800" dirty="0" smtClean="0">
              <a:gradFill>
                <a:gsLst>
                  <a:gs pos="0">
                    <a:srgbClr val="FFFFFF"/>
                  </a:gs>
                  <a:gs pos="100000">
                    <a:srgbClr val="FFFFFF"/>
                  </a:gs>
                </a:gsLst>
                <a:lin ang="5400000" scaled="0"/>
              </a:gradFill>
              <a:latin typeface="Segoe UI Light"/>
              <a:ea typeface="Segoe UI" pitchFamily="34" charset="0"/>
              <a:cs typeface="Segoe UI" pitchFamily="34" charset="0"/>
            </a:endParaRPr>
          </a:p>
          <a:p>
            <a:pPr defTabSz="914099" fontAlgn="base">
              <a:lnSpc>
                <a:spcPct val="90000"/>
              </a:lnSpc>
              <a:spcBef>
                <a:spcPct val="0"/>
              </a:spcBef>
              <a:spcAft>
                <a:spcPct val="0"/>
              </a:spcAft>
            </a:pPr>
            <a:r>
              <a:rPr lang="en-US" sz="3200" spc="-150" dirty="0" smtClean="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Office where &amp; when you need it</a:t>
            </a:r>
            <a:endParaRPr lang="en-US" sz="3200" spc="-15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299" name="Rectangle 298"/>
          <p:cNvSpPr/>
          <p:nvPr/>
        </p:nvSpPr>
        <p:spPr bwMode="auto">
          <a:xfrm>
            <a:off x="4437085" y="1887067"/>
            <a:ext cx="3093593" cy="2751719"/>
          </a:xfrm>
          <a:prstGeom prst="rect">
            <a:avLst/>
          </a:prstGeom>
          <a:solidFill>
            <a:schemeClr val="accent5">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4008" tIns="45718" rIns="91436" bIns="91440" numCol="1" rtlCol="0" anchor="t" anchorCtr="0" compatLnSpc="1">
            <a:prstTxWarp prst="textNoShape">
              <a:avLst/>
            </a:prstTxWarp>
          </a:bodyPr>
          <a:lstStyle/>
          <a:p>
            <a:pPr defTabSz="914099" fontAlgn="base">
              <a:lnSpc>
                <a:spcPct val="90000"/>
              </a:lnSpc>
              <a:spcBef>
                <a:spcPct val="0"/>
              </a:spcBef>
              <a:spcAft>
                <a:spcPct val="0"/>
              </a:spcAft>
            </a:pPr>
            <a:endParaRPr lang="en-US" sz="2000" spc="-150" dirty="0" smtClean="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a:p>
            <a:pPr defTabSz="914099" fontAlgn="base">
              <a:lnSpc>
                <a:spcPct val="90000"/>
              </a:lnSpc>
              <a:spcBef>
                <a:spcPct val="0"/>
              </a:spcBef>
              <a:spcAft>
                <a:spcPct val="0"/>
              </a:spcAft>
            </a:pPr>
            <a:r>
              <a:rPr lang="en-US" sz="3200" spc="-150" dirty="0" smtClean="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The best &amp; latest version of Office</a:t>
            </a:r>
            <a:endParaRPr lang="en-US" sz="3200" spc="-15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326" name="Group 325"/>
          <p:cNvGrpSpPr/>
          <p:nvPr/>
        </p:nvGrpSpPr>
        <p:grpSpPr>
          <a:xfrm>
            <a:off x="10435608" y="5400005"/>
            <a:ext cx="159800" cy="270865"/>
            <a:chOff x="9495205" y="4755959"/>
            <a:chExt cx="189808" cy="321728"/>
          </a:xfrm>
        </p:grpSpPr>
        <p:sp>
          <p:nvSpPr>
            <p:cNvPr id="327" name="Rectangle 326"/>
            <p:cNvSpPr/>
            <p:nvPr/>
          </p:nvSpPr>
          <p:spPr>
            <a:xfrm>
              <a:off x="9502358" y="4763272"/>
              <a:ext cx="168445" cy="284843"/>
            </a:xfrm>
            <a:prstGeom prst="rect">
              <a:avLst/>
            </a:prstGeom>
            <a:solidFill>
              <a:srgbClr val="00188F"/>
            </a:solidFill>
            <a:ln>
              <a:solidFill>
                <a:srgbClr val="00188F"/>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prstClr val="white"/>
                </a:solidFill>
              </a:endParaRPr>
            </a:p>
          </p:txBody>
        </p:sp>
        <p:sp>
          <p:nvSpPr>
            <p:cNvPr id="328" name="Rectangle 79"/>
            <p:cNvSpPr/>
            <p:nvPr/>
          </p:nvSpPr>
          <p:spPr>
            <a:xfrm>
              <a:off x="9495205" y="4755959"/>
              <a:ext cx="189808" cy="321728"/>
            </a:xfrm>
            <a:custGeom>
              <a:avLst/>
              <a:gdLst/>
              <a:ahLst/>
              <a:cxnLst/>
              <a:rect l="l" t="t" r="r" b="b"/>
              <a:pathLst>
                <a:path w="1407298" h="2385394">
                  <a:moveTo>
                    <a:pt x="703650" y="2179220"/>
                  </a:moveTo>
                  <a:cubicBezTo>
                    <a:pt x="660028" y="2179220"/>
                    <a:pt x="624666" y="2214582"/>
                    <a:pt x="624666" y="2258204"/>
                  </a:cubicBezTo>
                  <a:cubicBezTo>
                    <a:pt x="624666" y="2301826"/>
                    <a:pt x="660028" y="2337188"/>
                    <a:pt x="703650" y="2337188"/>
                  </a:cubicBezTo>
                  <a:cubicBezTo>
                    <a:pt x="747272" y="2337188"/>
                    <a:pt x="782634" y="2301826"/>
                    <a:pt x="782634" y="2258204"/>
                  </a:cubicBezTo>
                  <a:cubicBezTo>
                    <a:pt x="782634" y="2214582"/>
                    <a:pt x="747272" y="2179220"/>
                    <a:pt x="703650" y="2179220"/>
                  </a:cubicBezTo>
                  <a:close/>
                  <a:moveTo>
                    <a:pt x="177553" y="179867"/>
                  </a:moveTo>
                  <a:lnTo>
                    <a:pt x="172551" y="180877"/>
                  </a:lnTo>
                  <a:lnTo>
                    <a:pt x="165667" y="180877"/>
                  </a:lnTo>
                  <a:cubicBezTo>
                    <a:pt x="144630" y="180877"/>
                    <a:pt x="127577" y="197930"/>
                    <a:pt x="127577" y="218967"/>
                  </a:cubicBezTo>
                  <a:lnTo>
                    <a:pt x="127577" y="2097793"/>
                  </a:lnTo>
                  <a:cubicBezTo>
                    <a:pt x="127577" y="2118830"/>
                    <a:pt x="144630" y="2135883"/>
                    <a:pt x="165667" y="2135883"/>
                  </a:cubicBezTo>
                  <a:lnTo>
                    <a:pt x="1241631" y="2135883"/>
                  </a:lnTo>
                  <a:cubicBezTo>
                    <a:pt x="1262668" y="2135883"/>
                    <a:pt x="1279721" y="2118830"/>
                    <a:pt x="1279721" y="2097793"/>
                  </a:cubicBezTo>
                  <a:lnTo>
                    <a:pt x="1279721" y="218967"/>
                  </a:lnTo>
                  <a:cubicBezTo>
                    <a:pt x="1279721" y="197930"/>
                    <a:pt x="1262668" y="180877"/>
                    <a:pt x="1241631" y="180877"/>
                  </a:cubicBezTo>
                  <a:lnTo>
                    <a:pt x="1234749" y="180877"/>
                  </a:lnTo>
                  <a:cubicBezTo>
                    <a:pt x="1233161" y="179963"/>
                    <a:pt x="1231465" y="179867"/>
                    <a:pt x="1229746" y="179867"/>
                  </a:cubicBezTo>
                  <a:close/>
                  <a:moveTo>
                    <a:pt x="602415" y="56498"/>
                  </a:moveTo>
                  <a:cubicBezTo>
                    <a:pt x="588290" y="56498"/>
                    <a:pt x="576839" y="67949"/>
                    <a:pt x="576839" y="82074"/>
                  </a:cubicBezTo>
                  <a:cubicBezTo>
                    <a:pt x="576839" y="96199"/>
                    <a:pt x="588290" y="107650"/>
                    <a:pt x="602415" y="107650"/>
                  </a:cubicBezTo>
                  <a:lnTo>
                    <a:pt x="804884" y="107650"/>
                  </a:lnTo>
                  <a:cubicBezTo>
                    <a:pt x="819009" y="107650"/>
                    <a:pt x="830460" y="96199"/>
                    <a:pt x="830460" y="82074"/>
                  </a:cubicBezTo>
                  <a:cubicBezTo>
                    <a:pt x="830460" y="67949"/>
                    <a:pt x="819009" y="56498"/>
                    <a:pt x="804884" y="56498"/>
                  </a:cubicBezTo>
                  <a:close/>
                  <a:moveTo>
                    <a:pt x="76685" y="0"/>
                  </a:moveTo>
                  <a:lnTo>
                    <a:pt x="1330614" y="0"/>
                  </a:lnTo>
                  <a:cubicBezTo>
                    <a:pt x="1372966" y="0"/>
                    <a:pt x="1407298" y="34333"/>
                    <a:pt x="1407298" y="76684"/>
                  </a:cubicBezTo>
                  <a:lnTo>
                    <a:pt x="1407298" y="1757263"/>
                  </a:lnTo>
                  <a:lnTo>
                    <a:pt x="1407298" y="1766789"/>
                  </a:lnTo>
                  <a:lnTo>
                    <a:pt x="1407298" y="2308710"/>
                  </a:lnTo>
                  <a:cubicBezTo>
                    <a:pt x="1407298" y="2351061"/>
                    <a:pt x="1372966" y="2385394"/>
                    <a:pt x="1330614" y="2385394"/>
                  </a:cubicBezTo>
                  <a:lnTo>
                    <a:pt x="76685" y="2385394"/>
                  </a:lnTo>
                  <a:cubicBezTo>
                    <a:pt x="34333" y="2385394"/>
                    <a:pt x="0" y="2351061"/>
                    <a:pt x="0" y="2308710"/>
                  </a:cubicBezTo>
                  <a:lnTo>
                    <a:pt x="0" y="1766789"/>
                  </a:lnTo>
                  <a:lnTo>
                    <a:pt x="0" y="1757263"/>
                  </a:lnTo>
                  <a:lnTo>
                    <a:pt x="0" y="76684"/>
                  </a:lnTo>
                  <a:cubicBezTo>
                    <a:pt x="0" y="34333"/>
                    <a:pt x="34333" y="0"/>
                    <a:pt x="76685" y="0"/>
                  </a:cubicBezTo>
                  <a:close/>
                </a:path>
              </a:pathLst>
            </a:custGeom>
            <a:solidFill>
              <a:schemeClr val="accent5"/>
            </a:soli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316">
                <a:defRPr/>
              </a:pPr>
              <a:endParaRPr lang="en-US" sz="1836" kern="0" dirty="0" smtClean="0">
                <a:solidFill>
                  <a:srgbClr val="FFFFFF"/>
                </a:solidFill>
              </a:endParaRPr>
            </a:p>
          </p:txBody>
        </p:sp>
        <p:grpSp>
          <p:nvGrpSpPr>
            <p:cNvPr id="329" name="Group 328"/>
            <p:cNvGrpSpPr/>
            <p:nvPr/>
          </p:nvGrpSpPr>
          <p:grpSpPr>
            <a:xfrm>
              <a:off x="9523655" y="4790359"/>
              <a:ext cx="114860" cy="169146"/>
              <a:chOff x="9523655" y="4790359"/>
              <a:chExt cx="114860" cy="169146"/>
            </a:xfrm>
          </p:grpSpPr>
          <p:sp>
            <p:nvSpPr>
              <p:cNvPr id="332" name="Rectangle 331"/>
              <p:cNvSpPr/>
              <p:nvPr/>
            </p:nvSpPr>
            <p:spPr bwMode="auto">
              <a:xfrm>
                <a:off x="9523655" y="4790359"/>
                <a:ext cx="54118" cy="52605"/>
              </a:xfrm>
              <a:prstGeom prst="rect">
                <a:avLst/>
              </a:prstGeom>
              <a:solidFill>
                <a:srgbClr val="FF8C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defRPr/>
                </a:pPr>
                <a:endParaRPr lang="en-US" sz="2400" kern="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33" name="Rectangle 332"/>
              <p:cNvSpPr/>
              <p:nvPr/>
            </p:nvSpPr>
            <p:spPr bwMode="auto">
              <a:xfrm>
                <a:off x="9523655" y="4848863"/>
                <a:ext cx="54118" cy="52605"/>
              </a:xfrm>
              <a:prstGeom prst="rect">
                <a:avLst/>
              </a:prstGeom>
              <a:solidFill>
                <a:srgbClr val="00827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defRPr/>
                </a:pPr>
                <a:endParaRPr lang="en-US" sz="2400" kern="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34" name="Rectangle 333"/>
              <p:cNvSpPr/>
              <p:nvPr/>
            </p:nvSpPr>
            <p:spPr bwMode="auto">
              <a:xfrm>
                <a:off x="9584397" y="4790359"/>
                <a:ext cx="54118" cy="52605"/>
              </a:xfrm>
              <a:prstGeom prst="rect">
                <a:avLst/>
              </a:prstGeom>
              <a:solidFill>
                <a:srgbClr val="DC3C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defRPr/>
                </a:pPr>
                <a:endParaRPr lang="en-US" sz="2400" kern="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35" name="Rectangle 334"/>
              <p:cNvSpPr/>
              <p:nvPr/>
            </p:nvSpPr>
            <p:spPr bwMode="auto">
              <a:xfrm>
                <a:off x="9584397" y="4848863"/>
                <a:ext cx="54118" cy="52605"/>
              </a:xfrm>
              <a:prstGeom prst="rect">
                <a:avLst/>
              </a:prstGeom>
              <a:solidFill>
                <a:srgbClr val="0070C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defRPr/>
                </a:pPr>
                <a:endParaRPr lang="en-US" sz="2400" kern="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36" name="Rectangle 335"/>
              <p:cNvSpPr/>
              <p:nvPr/>
            </p:nvSpPr>
            <p:spPr bwMode="auto">
              <a:xfrm>
                <a:off x="9523655" y="4906899"/>
                <a:ext cx="54118" cy="52606"/>
              </a:xfrm>
              <a:prstGeom prst="rect">
                <a:avLst/>
              </a:prstGeom>
              <a:solidFill>
                <a:srgbClr val="FF8C0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defRPr/>
                </a:pPr>
                <a:endParaRPr lang="en-US" sz="2400" kern="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37" name="Rectangle 336"/>
              <p:cNvSpPr/>
              <p:nvPr/>
            </p:nvSpPr>
            <p:spPr bwMode="auto">
              <a:xfrm>
                <a:off x="9584397" y="4906900"/>
                <a:ext cx="54118" cy="52605"/>
              </a:xfrm>
              <a:prstGeom prst="rect">
                <a:avLst/>
              </a:prstGeom>
              <a:solidFill>
                <a:schemeClr val="bg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defRPr/>
                </a:pPr>
                <a:endParaRPr lang="en-US" sz="2400" kern="0" dirty="0" smtClean="0">
                  <a:gradFill>
                    <a:gsLst>
                      <a:gs pos="0">
                        <a:srgbClr val="FFFFFF"/>
                      </a:gs>
                      <a:gs pos="100000">
                        <a:srgbClr val="FFFFFF"/>
                      </a:gs>
                    </a:gsLst>
                    <a:lin ang="5400000" scaled="0"/>
                  </a:gradFill>
                  <a:ea typeface="Segoe UI" pitchFamily="34" charset="0"/>
                  <a:cs typeface="Segoe UI" pitchFamily="34" charset="0"/>
                </a:endParaRPr>
              </a:p>
            </p:txBody>
          </p:sp>
        </p:grpSp>
        <p:sp>
          <p:nvSpPr>
            <p:cNvPr id="330" name="Rectangle 329"/>
            <p:cNvSpPr/>
            <p:nvPr/>
          </p:nvSpPr>
          <p:spPr bwMode="auto">
            <a:xfrm>
              <a:off x="9523655" y="4966249"/>
              <a:ext cx="54118" cy="52606"/>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defRPr/>
              </a:pPr>
              <a:endParaRPr lang="en-US" sz="2400" kern="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31" name="Rectangle 330"/>
            <p:cNvSpPr/>
            <p:nvPr/>
          </p:nvSpPr>
          <p:spPr bwMode="auto">
            <a:xfrm>
              <a:off x="9584397" y="4966250"/>
              <a:ext cx="54118" cy="52605"/>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spcBef>
                  <a:spcPct val="0"/>
                </a:spcBef>
                <a:spcAft>
                  <a:spcPct val="0"/>
                </a:spcAft>
                <a:defRPr/>
              </a:pPr>
              <a:endParaRPr lang="en-US" sz="2400" kern="0" dirty="0"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5" name="Group 4"/>
          <p:cNvGrpSpPr/>
          <p:nvPr/>
        </p:nvGrpSpPr>
        <p:grpSpPr>
          <a:xfrm>
            <a:off x="7702407" y="1887067"/>
            <a:ext cx="3070301" cy="2751719"/>
            <a:chOff x="7702408" y="1887067"/>
            <a:chExt cx="2938280" cy="2751719"/>
          </a:xfrm>
        </p:grpSpPr>
        <p:sp>
          <p:nvSpPr>
            <p:cNvPr id="300" name="Rectangle 299"/>
            <p:cNvSpPr/>
            <p:nvPr/>
          </p:nvSpPr>
          <p:spPr bwMode="auto">
            <a:xfrm>
              <a:off x="7702408" y="1887067"/>
              <a:ext cx="2938280" cy="2751719"/>
            </a:xfrm>
            <a:prstGeom prst="rect">
              <a:avLst/>
            </a:prstGeom>
            <a:solidFill>
              <a:schemeClr val="accent6">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4008" tIns="45718" rIns="91436" bIns="91440" numCol="1" rtlCol="0" anchor="t" anchorCtr="0" compatLnSpc="1">
              <a:prstTxWarp prst="textNoShape">
                <a:avLst/>
              </a:prstTxWarp>
            </a:bodyPr>
            <a:lstStyle/>
            <a:p>
              <a:pPr defTabSz="914099" fontAlgn="base">
                <a:lnSpc>
                  <a:spcPct val="90000"/>
                </a:lnSpc>
                <a:spcBef>
                  <a:spcPct val="0"/>
                </a:spcBef>
                <a:spcAft>
                  <a:spcPct val="0"/>
                </a:spcAft>
              </a:pPr>
              <a:endParaRPr lang="en-US" sz="2800" spc="-150" dirty="0" smtClean="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a:p>
              <a:pPr defTabSz="914099" fontAlgn="base">
                <a:lnSpc>
                  <a:spcPct val="90000"/>
                </a:lnSpc>
                <a:spcBef>
                  <a:spcPct val="0"/>
                </a:spcBef>
                <a:spcAft>
                  <a:spcPct val="0"/>
                </a:spcAft>
              </a:pPr>
              <a:r>
                <a:rPr lang="en-US" sz="3200" spc="-150" dirty="0" smtClean="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Built-in sharing &amp; cloud storage</a:t>
              </a:r>
              <a:endParaRPr lang="en-US" sz="3200" spc="-150" dirty="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grpSp>
          <p:nvGrpSpPr>
            <p:cNvPr id="3" name="Group 2"/>
            <p:cNvGrpSpPr/>
            <p:nvPr/>
          </p:nvGrpSpPr>
          <p:grpSpPr>
            <a:xfrm>
              <a:off x="8431730" y="3373319"/>
              <a:ext cx="1331196" cy="752732"/>
              <a:chOff x="9427764" y="3988970"/>
              <a:chExt cx="382812" cy="237398"/>
            </a:xfrm>
          </p:grpSpPr>
          <p:sp>
            <p:nvSpPr>
              <p:cNvPr id="368" name="Freeform 26"/>
              <p:cNvSpPr>
                <a:spLocks/>
              </p:cNvSpPr>
              <p:nvPr/>
            </p:nvSpPr>
            <p:spPr bwMode="black">
              <a:xfrm>
                <a:off x="9473532" y="4026610"/>
                <a:ext cx="271541" cy="196193"/>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32316"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smtClean="0">
                  <a:ln>
                    <a:solidFill>
                      <a:srgbClr val="FFFFFF">
                        <a:alpha val="0"/>
                      </a:srgbClr>
                    </a:solidFill>
                  </a:ln>
                  <a:solidFill>
                    <a:srgbClr val="000000"/>
                  </a:solidFill>
                  <a:effectLst/>
                  <a:uLnTx/>
                  <a:uFillTx/>
                </a:endParaRPr>
              </a:p>
            </p:txBody>
          </p:sp>
          <p:sp>
            <p:nvSpPr>
              <p:cNvPr id="369" name="Freeform 27"/>
              <p:cNvSpPr>
                <a:spLocks/>
              </p:cNvSpPr>
              <p:nvPr/>
            </p:nvSpPr>
            <p:spPr bwMode="black">
              <a:xfrm>
                <a:off x="9515635" y="3988970"/>
                <a:ext cx="252625" cy="147961"/>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32316"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smtClean="0">
                  <a:ln>
                    <a:solidFill>
                      <a:srgbClr val="FFFFFF">
                        <a:alpha val="0"/>
                      </a:srgbClr>
                    </a:solidFill>
                  </a:ln>
                  <a:solidFill>
                    <a:srgbClr val="000000"/>
                  </a:solidFill>
                  <a:effectLst/>
                  <a:uLnTx/>
                  <a:uFillTx/>
                </a:endParaRPr>
              </a:p>
            </p:txBody>
          </p:sp>
          <p:sp>
            <p:nvSpPr>
              <p:cNvPr id="370" name="Freeform 28"/>
              <p:cNvSpPr>
                <a:spLocks/>
              </p:cNvSpPr>
              <p:nvPr/>
            </p:nvSpPr>
            <p:spPr bwMode="black">
              <a:xfrm>
                <a:off x="9485124" y="4136592"/>
                <a:ext cx="122651" cy="89776"/>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32316"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smtClean="0">
                  <a:ln>
                    <a:solidFill>
                      <a:srgbClr val="FFFFFF">
                        <a:alpha val="0"/>
                      </a:srgbClr>
                    </a:solidFill>
                  </a:ln>
                  <a:solidFill>
                    <a:srgbClr val="000000"/>
                  </a:solidFill>
                  <a:effectLst/>
                  <a:uLnTx/>
                  <a:uFillTx/>
                </a:endParaRPr>
              </a:p>
            </p:txBody>
          </p:sp>
          <p:sp>
            <p:nvSpPr>
              <p:cNvPr id="371" name="Freeform 29"/>
              <p:cNvSpPr>
                <a:spLocks/>
              </p:cNvSpPr>
              <p:nvPr/>
            </p:nvSpPr>
            <p:spPr bwMode="black">
              <a:xfrm>
                <a:off x="9743236" y="4020234"/>
                <a:ext cx="67340" cy="117733"/>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32316"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smtClean="0">
                  <a:ln>
                    <a:solidFill>
                      <a:srgbClr val="FFFFFF">
                        <a:alpha val="0"/>
                      </a:srgbClr>
                    </a:solidFill>
                  </a:ln>
                  <a:solidFill>
                    <a:srgbClr val="000000"/>
                  </a:solidFill>
                  <a:effectLst/>
                  <a:uLnTx/>
                  <a:uFillTx/>
                </a:endParaRPr>
              </a:p>
            </p:txBody>
          </p:sp>
          <p:sp>
            <p:nvSpPr>
              <p:cNvPr id="372" name="Freeform 30"/>
              <p:cNvSpPr>
                <a:spLocks/>
              </p:cNvSpPr>
              <p:nvPr/>
            </p:nvSpPr>
            <p:spPr bwMode="black">
              <a:xfrm>
                <a:off x="9427764" y="4022667"/>
                <a:ext cx="67732" cy="115300"/>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32316"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smtClean="0">
                  <a:ln>
                    <a:solidFill>
                      <a:srgbClr val="FFFFFF">
                        <a:alpha val="0"/>
                      </a:srgbClr>
                    </a:solidFill>
                  </a:ln>
                  <a:solidFill>
                    <a:srgbClr val="000000"/>
                  </a:solidFill>
                  <a:effectLst/>
                  <a:uLnTx/>
                  <a:uFillTx/>
                </a:endParaRPr>
              </a:p>
            </p:txBody>
          </p:sp>
        </p:grpSp>
      </p:grpSp>
      <p:pic>
        <p:nvPicPr>
          <p:cNvPr id="379" name="Picture 2" descr="\\MAGNUM\Projects\Microsoft\Cloud Power FY12\Design\ICONS_PNG\Devices.png"/>
          <p:cNvPicPr>
            <a:picLocks noChangeAspect="1" noChangeArrowheads="1"/>
          </p:cNvPicPr>
          <p:nvPr/>
        </p:nvPicPr>
        <p:blipFill>
          <a:blip r:embed="rId3" cstate="print">
            <a:lum bright="100000" contrast="100000"/>
          </a:blip>
          <a:stretch>
            <a:fillRect/>
          </a:stretch>
        </p:blipFill>
        <p:spPr bwMode="auto">
          <a:xfrm>
            <a:off x="5371359" y="3200732"/>
            <a:ext cx="1099044" cy="1099044"/>
          </a:xfrm>
          <a:prstGeom prst="rect">
            <a:avLst/>
          </a:prstGeom>
          <a:noFill/>
          <a:ln>
            <a:noFill/>
          </a:ln>
        </p:spPr>
      </p:pic>
      <p:grpSp>
        <p:nvGrpSpPr>
          <p:cNvPr id="2" name="Group 1"/>
          <p:cNvGrpSpPr/>
          <p:nvPr/>
        </p:nvGrpSpPr>
        <p:grpSpPr>
          <a:xfrm>
            <a:off x="1970945" y="3332419"/>
            <a:ext cx="1339540" cy="936084"/>
            <a:chOff x="2166004" y="3189967"/>
            <a:chExt cx="1470428" cy="1027550"/>
          </a:xfrm>
        </p:grpSpPr>
        <p:grpSp>
          <p:nvGrpSpPr>
            <p:cNvPr id="139" name="Group 138"/>
            <p:cNvGrpSpPr>
              <a:grpSpLocks noChangeAspect="1"/>
            </p:cNvGrpSpPr>
            <p:nvPr/>
          </p:nvGrpSpPr>
          <p:grpSpPr>
            <a:xfrm>
              <a:off x="2602556" y="3480166"/>
              <a:ext cx="1033876" cy="737351"/>
              <a:chOff x="1919150" y="3044496"/>
              <a:chExt cx="666391" cy="475141"/>
            </a:xfrm>
          </p:grpSpPr>
          <p:sp>
            <p:nvSpPr>
              <p:cNvPr id="140" name="Round Same Side Corner Rectangle 11"/>
              <p:cNvSpPr/>
              <p:nvPr/>
            </p:nvSpPr>
            <p:spPr>
              <a:xfrm>
                <a:off x="1970085" y="3044496"/>
                <a:ext cx="564520" cy="361776"/>
              </a:xfrm>
              <a:custGeom>
                <a:avLst/>
                <a:gdLst/>
                <a:ahLst/>
                <a:cxnLst/>
                <a:rect l="l" t="t" r="r" b="b"/>
                <a:pathLst>
                  <a:path w="564520" h="361776">
                    <a:moveTo>
                      <a:pt x="21117" y="19360"/>
                    </a:moveTo>
                    <a:lnTo>
                      <a:pt x="21117" y="345592"/>
                    </a:lnTo>
                    <a:lnTo>
                      <a:pt x="543404" y="345592"/>
                    </a:lnTo>
                    <a:lnTo>
                      <a:pt x="543404" y="19360"/>
                    </a:lnTo>
                    <a:close/>
                    <a:moveTo>
                      <a:pt x="17539" y="0"/>
                    </a:moveTo>
                    <a:lnTo>
                      <a:pt x="546981" y="0"/>
                    </a:lnTo>
                    <a:cubicBezTo>
                      <a:pt x="556668" y="0"/>
                      <a:pt x="564520" y="7852"/>
                      <a:pt x="564520" y="17539"/>
                    </a:cubicBezTo>
                    <a:lnTo>
                      <a:pt x="564520" y="361776"/>
                    </a:lnTo>
                    <a:lnTo>
                      <a:pt x="0" y="361776"/>
                    </a:lnTo>
                    <a:lnTo>
                      <a:pt x="0" y="17539"/>
                    </a:lnTo>
                    <a:cubicBezTo>
                      <a:pt x="0" y="7852"/>
                      <a:pt x="7852" y="0"/>
                      <a:pt x="17539" y="0"/>
                    </a:cubicBezTo>
                    <a:close/>
                  </a:path>
                </a:pathLst>
              </a:custGeom>
              <a:solidFill>
                <a:srgbClr val="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Segoe"/>
                  <a:ea typeface="+mn-ea"/>
                  <a:cs typeface="+mn-cs"/>
                </a:endParaRPr>
              </a:p>
            </p:txBody>
          </p:sp>
          <p:sp>
            <p:nvSpPr>
              <p:cNvPr id="141" name="Trapezoid 12"/>
              <p:cNvSpPr/>
              <p:nvPr/>
            </p:nvSpPr>
            <p:spPr>
              <a:xfrm>
                <a:off x="1919150" y="3408078"/>
                <a:ext cx="666391" cy="84127"/>
              </a:xfrm>
              <a:custGeom>
                <a:avLst/>
                <a:gdLst/>
                <a:ahLst/>
                <a:cxnLst/>
                <a:rect l="l" t="t" r="r" b="b"/>
                <a:pathLst>
                  <a:path w="666391" h="84127">
                    <a:moveTo>
                      <a:pt x="257990" y="52557"/>
                    </a:moveTo>
                    <a:lnTo>
                      <a:pt x="241755" y="79989"/>
                    </a:lnTo>
                    <a:lnTo>
                      <a:pt x="424635" y="79989"/>
                    </a:lnTo>
                    <a:lnTo>
                      <a:pt x="408400" y="52557"/>
                    </a:lnTo>
                    <a:close/>
                    <a:moveTo>
                      <a:pt x="49787" y="0"/>
                    </a:moveTo>
                    <a:lnTo>
                      <a:pt x="616604" y="0"/>
                    </a:lnTo>
                    <a:lnTo>
                      <a:pt x="666391" y="84127"/>
                    </a:lnTo>
                    <a:lnTo>
                      <a:pt x="0" y="84127"/>
                    </a:lnTo>
                    <a:close/>
                  </a:path>
                </a:pathLst>
              </a:custGeom>
              <a:solidFill>
                <a:srgbClr val="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Segoe"/>
                  <a:ea typeface="+mn-ea"/>
                  <a:cs typeface="+mn-cs"/>
                </a:endParaRPr>
              </a:p>
            </p:txBody>
          </p:sp>
          <p:sp>
            <p:nvSpPr>
              <p:cNvPr id="142" name="Rectangle 141"/>
              <p:cNvSpPr/>
              <p:nvPr/>
            </p:nvSpPr>
            <p:spPr>
              <a:xfrm>
                <a:off x="1919446" y="3492205"/>
                <a:ext cx="665798" cy="27432"/>
              </a:xfrm>
              <a:prstGeom prst="rect">
                <a:avLst/>
              </a:prstGeom>
              <a:solidFill>
                <a:srgbClr val="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Segoe"/>
                  <a:ea typeface="+mn-ea"/>
                  <a:cs typeface="+mn-cs"/>
                </a:endParaRPr>
              </a:p>
            </p:txBody>
          </p:sp>
        </p:grpSp>
        <p:pic>
          <p:nvPicPr>
            <p:cNvPr id="143" name="Picture 142"/>
            <p:cNvPicPr>
              <a:picLocks noChangeAspect="1"/>
            </p:cNvPicPr>
            <p:nvPr/>
          </p:nvPicPr>
          <p:blipFill>
            <a:blip r:embed="rId4" cstate="print">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2166004" y="3189967"/>
              <a:ext cx="434944" cy="835855"/>
            </a:xfrm>
            <a:prstGeom prst="rect">
              <a:avLst/>
            </a:prstGeom>
          </p:spPr>
        </p:pic>
      </p:grpSp>
    </p:spTree>
    <p:extLst>
      <p:ext uri="{BB962C8B-B14F-4D97-AF65-F5344CB8AC3E}">
        <p14:creationId xmlns:p14="http://schemas.microsoft.com/office/powerpoint/2010/main" val="523669"/>
      </p:ext>
    </p:extLst>
  </p:cSld>
  <p:clrMapOvr>
    <a:masterClrMapping/>
  </p:clrMapOvr>
  <mc:AlternateContent xmlns:mc="http://schemas.openxmlformats.org/markup-compatibility/2006">
    <mc:Choice xmlns:p14="http://schemas.microsoft.com/office/powerpoint/2010/main" Requires="p14">
      <p:transition spd="slow" p14:dur="1250">
        <p14:flip dir="r"/>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98"/>
                                        </p:tgtEl>
                                        <p:attrNameLst>
                                          <p:attrName>style.visibility</p:attrName>
                                        </p:attrNameLst>
                                      </p:cBhvr>
                                      <p:to>
                                        <p:strVal val="visible"/>
                                      </p:to>
                                    </p:set>
                                    <p:animEffect transition="in" filter="fade">
                                      <p:cBhvr>
                                        <p:cTn id="7" dur="500"/>
                                        <p:tgtEl>
                                          <p:spTgt spid="29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99"/>
                                        </p:tgtEl>
                                        <p:attrNameLst>
                                          <p:attrName>style.visibility</p:attrName>
                                        </p:attrNameLst>
                                      </p:cBhvr>
                                      <p:to>
                                        <p:strVal val="visible"/>
                                      </p:to>
                                    </p:set>
                                    <p:animEffect transition="in" filter="fade">
                                      <p:cBhvr>
                                        <p:cTn id="12" dur="500"/>
                                        <p:tgtEl>
                                          <p:spTgt spid="29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8" grpId="0" animBg="1"/>
      <p:bldP spid="299"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Rectangle 56"/>
          <p:cNvSpPr/>
          <p:nvPr/>
        </p:nvSpPr>
        <p:spPr>
          <a:xfrm>
            <a:off x="1" y="1"/>
            <a:ext cx="12990994" cy="6858000"/>
          </a:xfrm>
          <a:prstGeom prst="rect">
            <a:avLst/>
          </a:prstGeom>
          <a:solidFill>
            <a:srgbClr val="45ACC8"/>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5" name="Rectangle 54"/>
          <p:cNvSpPr/>
          <p:nvPr/>
        </p:nvSpPr>
        <p:spPr>
          <a:xfrm>
            <a:off x="1" y="1"/>
            <a:ext cx="12210290" cy="6858000"/>
          </a:xfrm>
          <a:prstGeom prst="rect">
            <a:avLst/>
          </a:prstGeom>
          <a:solidFill>
            <a:srgbClr val="45ACC8"/>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nvGrpSpPr>
          <p:cNvPr id="34" name="Group 4"/>
          <p:cNvGrpSpPr>
            <a:grpSpLocks noChangeAspect="1"/>
          </p:cNvGrpSpPr>
          <p:nvPr/>
        </p:nvGrpSpPr>
        <p:grpSpPr bwMode="auto">
          <a:xfrm>
            <a:off x="6610070" y="4716237"/>
            <a:ext cx="6392516" cy="2141763"/>
            <a:chOff x="3751" y="2917"/>
            <a:chExt cx="4486" cy="1503"/>
          </a:xfrm>
        </p:grpSpPr>
        <p:sp>
          <p:nvSpPr>
            <p:cNvPr id="35" name="AutoShape 3"/>
            <p:cNvSpPr>
              <a:spLocks noChangeAspect="1" noChangeArrowheads="1" noTextEdit="1"/>
            </p:cNvSpPr>
            <p:nvPr/>
          </p:nvSpPr>
          <p:spPr bwMode="auto">
            <a:xfrm>
              <a:off x="3751" y="2917"/>
              <a:ext cx="4486" cy="15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6" name="Freeform 5"/>
            <p:cNvSpPr>
              <a:spLocks/>
            </p:cNvSpPr>
            <p:nvPr/>
          </p:nvSpPr>
          <p:spPr bwMode="auto">
            <a:xfrm>
              <a:off x="6119" y="3534"/>
              <a:ext cx="199" cy="340"/>
            </a:xfrm>
            <a:custGeom>
              <a:avLst/>
              <a:gdLst>
                <a:gd name="T0" fmla="*/ 84 w 84"/>
                <a:gd name="T1" fmla="*/ 138 h 143"/>
                <a:gd name="T2" fmla="*/ 78 w 84"/>
                <a:gd name="T3" fmla="*/ 143 h 143"/>
                <a:gd name="T4" fmla="*/ 6 w 84"/>
                <a:gd name="T5" fmla="*/ 143 h 143"/>
                <a:gd name="T6" fmla="*/ 0 w 84"/>
                <a:gd name="T7" fmla="*/ 138 h 143"/>
                <a:gd name="T8" fmla="*/ 0 w 84"/>
                <a:gd name="T9" fmla="*/ 5 h 143"/>
                <a:gd name="T10" fmla="*/ 6 w 84"/>
                <a:gd name="T11" fmla="*/ 0 h 143"/>
                <a:gd name="T12" fmla="*/ 78 w 84"/>
                <a:gd name="T13" fmla="*/ 0 h 143"/>
                <a:gd name="T14" fmla="*/ 84 w 84"/>
                <a:gd name="T15" fmla="*/ 5 h 143"/>
                <a:gd name="T16" fmla="*/ 84 w 84"/>
                <a:gd name="T17" fmla="*/ 138 h 143"/>
                <a:gd name="T18" fmla="*/ 84 w 84"/>
                <a:gd name="T19" fmla="*/ 138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143">
                  <a:moveTo>
                    <a:pt x="84" y="138"/>
                  </a:moveTo>
                  <a:cubicBezTo>
                    <a:pt x="84" y="141"/>
                    <a:pt x="82" y="143"/>
                    <a:pt x="78" y="143"/>
                  </a:cubicBezTo>
                  <a:cubicBezTo>
                    <a:pt x="6" y="143"/>
                    <a:pt x="6" y="143"/>
                    <a:pt x="6" y="143"/>
                  </a:cubicBezTo>
                  <a:cubicBezTo>
                    <a:pt x="3" y="143"/>
                    <a:pt x="0" y="141"/>
                    <a:pt x="0" y="138"/>
                  </a:cubicBezTo>
                  <a:cubicBezTo>
                    <a:pt x="0" y="5"/>
                    <a:pt x="0" y="5"/>
                    <a:pt x="0" y="5"/>
                  </a:cubicBezTo>
                  <a:cubicBezTo>
                    <a:pt x="0" y="2"/>
                    <a:pt x="3" y="0"/>
                    <a:pt x="6" y="0"/>
                  </a:cubicBezTo>
                  <a:cubicBezTo>
                    <a:pt x="78" y="0"/>
                    <a:pt x="78" y="0"/>
                    <a:pt x="78" y="0"/>
                  </a:cubicBezTo>
                  <a:cubicBezTo>
                    <a:pt x="82" y="0"/>
                    <a:pt x="84" y="2"/>
                    <a:pt x="84" y="5"/>
                  </a:cubicBezTo>
                  <a:cubicBezTo>
                    <a:pt x="84" y="138"/>
                    <a:pt x="84" y="138"/>
                    <a:pt x="84" y="138"/>
                  </a:cubicBezTo>
                  <a:cubicBezTo>
                    <a:pt x="84" y="138"/>
                    <a:pt x="84" y="138"/>
                    <a:pt x="84" y="138"/>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7" name="Freeform 6"/>
            <p:cNvSpPr>
              <a:spLocks/>
            </p:cNvSpPr>
            <p:nvPr/>
          </p:nvSpPr>
          <p:spPr bwMode="auto">
            <a:xfrm>
              <a:off x="6138" y="3553"/>
              <a:ext cx="161" cy="269"/>
            </a:xfrm>
            <a:custGeom>
              <a:avLst/>
              <a:gdLst>
                <a:gd name="T0" fmla="*/ 0 w 161"/>
                <a:gd name="T1" fmla="*/ 0 h 269"/>
                <a:gd name="T2" fmla="*/ 161 w 161"/>
                <a:gd name="T3" fmla="*/ 0 h 269"/>
                <a:gd name="T4" fmla="*/ 161 w 161"/>
                <a:gd name="T5" fmla="*/ 269 h 269"/>
                <a:gd name="T6" fmla="*/ 0 w 161"/>
                <a:gd name="T7" fmla="*/ 269 h 269"/>
                <a:gd name="T8" fmla="*/ 0 w 161"/>
                <a:gd name="T9" fmla="*/ 0 h 269"/>
                <a:gd name="T10" fmla="*/ 0 w 161"/>
                <a:gd name="T11" fmla="*/ 0 h 269"/>
              </a:gdLst>
              <a:ahLst/>
              <a:cxnLst>
                <a:cxn ang="0">
                  <a:pos x="T0" y="T1"/>
                </a:cxn>
                <a:cxn ang="0">
                  <a:pos x="T2" y="T3"/>
                </a:cxn>
                <a:cxn ang="0">
                  <a:pos x="T4" y="T5"/>
                </a:cxn>
                <a:cxn ang="0">
                  <a:pos x="T6" y="T7"/>
                </a:cxn>
                <a:cxn ang="0">
                  <a:pos x="T8" y="T9"/>
                </a:cxn>
                <a:cxn ang="0">
                  <a:pos x="T10" y="T11"/>
                </a:cxn>
              </a:cxnLst>
              <a:rect l="0" t="0" r="r" b="b"/>
              <a:pathLst>
                <a:path w="161" h="269">
                  <a:moveTo>
                    <a:pt x="0" y="0"/>
                  </a:moveTo>
                  <a:lnTo>
                    <a:pt x="161" y="0"/>
                  </a:lnTo>
                  <a:lnTo>
                    <a:pt x="161" y="269"/>
                  </a:lnTo>
                  <a:lnTo>
                    <a:pt x="0" y="269"/>
                  </a:lnTo>
                  <a:lnTo>
                    <a:pt x="0" y="0"/>
                  </a:lnTo>
                  <a:lnTo>
                    <a:pt x="0" y="0"/>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8" name="Freeform 7"/>
            <p:cNvSpPr>
              <a:spLocks/>
            </p:cNvSpPr>
            <p:nvPr/>
          </p:nvSpPr>
          <p:spPr bwMode="auto">
            <a:xfrm>
              <a:off x="6044" y="3406"/>
              <a:ext cx="210" cy="361"/>
            </a:xfrm>
            <a:custGeom>
              <a:avLst/>
              <a:gdLst>
                <a:gd name="T0" fmla="*/ 89 w 89"/>
                <a:gd name="T1" fmla="*/ 147 h 152"/>
                <a:gd name="T2" fmla="*/ 83 w 89"/>
                <a:gd name="T3" fmla="*/ 152 h 152"/>
                <a:gd name="T4" fmla="*/ 6 w 89"/>
                <a:gd name="T5" fmla="*/ 152 h 152"/>
                <a:gd name="T6" fmla="*/ 0 w 89"/>
                <a:gd name="T7" fmla="*/ 147 h 152"/>
                <a:gd name="T8" fmla="*/ 0 w 89"/>
                <a:gd name="T9" fmla="*/ 6 h 152"/>
                <a:gd name="T10" fmla="*/ 6 w 89"/>
                <a:gd name="T11" fmla="*/ 0 h 152"/>
                <a:gd name="T12" fmla="*/ 83 w 89"/>
                <a:gd name="T13" fmla="*/ 0 h 152"/>
                <a:gd name="T14" fmla="*/ 89 w 89"/>
                <a:gd name="T15" fmla="*/ 6 h 152"/>
                <a:gd name="T16" fmla="*/ 89 w 89"/>
                <a:gd name="T17" fmla="*/ 147 h 152"/>
                <a:gd name="T18" fmla="*/ 89 w 89"/>
                <a:gd name="T19" fmla="*/ 14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152">
                  <a:moveTo>
                    <a:pt x="89" y="147"/>
                  </a:moveTo>
                  <a:cubicBezTo>
                    <a:pt x="89" y="150"/>
                    <a:pt x="86" y="152"/>
                    <a:pt x="83" y="152"/>
                  </a:cubicBezTo>
                  <a:cubicBezTo>
                    <a:pt x="6" y="152"/>
                    <a:pt x="6" y="152"/>
                    <a:pt x="6" y="152"/>
                  </a:cubicBezTo>
                  <a:cubicBezTo>
                    <a:pt x="2" y="152"/>
                    <a:pt x="0" y="150"/>
                    <a:pt x="0" y="147"/>
                  </a:cubicBezTo>
                  <a:cubicBezTo>
                    <a:pt x="0" y="6"/>
                    <a:pt x="0" y="6"/>
                    <a:pt x="0" y="6"/>
                  </a:cubicBezTo>
                  <a:cubicBezTo>
                    <a:pt x="0" y="2"/>
                    <a:pt x="2" y="0"/>
                    <a:pt x="6" y="0"/>
                  </a:cubicBezTo>
                  <a:cubicBezTo>
                    <a:pt x="83" y="0"/>
                    <a:pt x="83" y="0"/>
                    <a:pt x="83" y="0"/>
                  </a:cubicBezTo>
                  <a:cubicBezTo>
                    <a:pt x="86" y="0"/>
                    <a:pt x="89" y="2"/>
                    <a:pt x="89" y="6"/>
                  </a:cubicBezTo>
                  <a:cubicBezTo>
                    <a:pt x="89" y="147"/>
                    <a:pt x="89" y="147"/>
                    <a:pt x="89" y="147"/>
                  </a:cubicBezTo>
                  <a:cubicBezTo>
                    <a:pt x="89" y="147"/>
                    <a:pt x="89" y="147"/>
                    <a:pt x="89" y="14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39" name="Freeform 8"/>
            <p:cNvSpPr>
              <a:spLocks/>
            </p:cNvSpPr>
            <p:nvPr/>
          </p:nvSpPr>
          <p:spPr bwMode="auto">
            <a:xfrm>
              <a:off x="6063" y="3427"/>
              <a:ext cx="170" cy="285"/>
            </a:xfrm>
            <a:custGeom>
              <a:avLst/>
              <a:gdLst>
                <a:gd name="T0" fmla="*/ 0 w 170"/>
                <a:gd name="T1" fmla="*/ 0 h 285"/>
                <a:gd name="T2" fmla="*/ 170 w 170"/>
                <a:gd name="T3" fmla="*/ 0 h 285"/>
                <a:gd name="T4" fmla="*/ 170 w 170"/>
                <a:gd name="T5" fmla="*/ 285 h 285"/>
                <a:gd name="T6" fmla="*/ 0 w 170"/>
                <a:gd name="T7" fmla="*/ 285 h 285"/>
                <a:gd name="T8" fmla="*/ 0 w 170"/>
                <a:gd name="T9" fmla="*/ 0 h 285"/>
                <a:gd name="T10" fmla="*/ 0 w 170"/>
                <a:gd name="T11" fmla="*/ 0 h 285"/>
              </a:gdLst>
              <a:ahLst/>
              <a:cxnLst>
                <a:cxn ang="0">
                  <a:pos x="T0" y="T1"/>
                </a:cxn>
                <a:cxn ang="0">
                  <a:pos x="T2" y="T3"/>
                </a:cxn>
                <a:cxn ang="0">
                  <a:pos x="T4" y="T5"/>
                </a:cxn>
                <a:cxn ang="0">
                  <a:pos x="T6" y="T7"/>
                </a:cxn>
                <a:cxn ang="0">
                  <a:pos x="T8" y="T9"/>
                </a:cxn>
                <a:cxn ang="0">
                  <a:pos x="T10" y="T11"/>
                </a:cxn>
              </a:cxnLst>
              <a:rect l="0" t="0" r="r" b="b"/>
              <a:pathLst>
                <a:path w="170" h="285">
                  <a:moveTo>
                    <a:pt x="0" y="0"/>
                  </a:moveTo>
                  <a:lnTo>
                    <a:pt x="170" y="0"/>
                  </a:lnTo>
                  <a:lnTo>
                    <a:pt x="170" y="285"/>
                  </a:lnTo>
                  <a:lnTo>
                    <a:pt x="0" y="28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0" name="Rectangle 9"/>
            <p:cNvSpPr>
              <a:spLocks noChangeArrowheads="1"/>
            </p:cNvSpPr>
            <p:nvPr/>
          </p:nvSpPr>
          <p:spPr bwMode="auto">
            <a:xfrm>
              <a:off x="6633" y="3311"/>
              <a:ext cx="409" cy="92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1" name="Rectangle 10"/>
            <p:cNvSpPr>
              <a:spLocks noChangeArrowheads="1"/>
            </p:cNvSpPr>
            <p:nvPr/>
          </p:nvSpPr>
          <p:spPr bwMode="auto">
            <a:xfrm>
              <a:off x="6742" y="3076"/>
              <a:ext cx="224" cy="80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2" name="Rectangle 11"/>
            <p:cNvSpPr>
              <a:spLocks noChangeArrowheads="1"/>
            </p:cNvSpPr>
            <p:nvPr/>
          </p:nvSpPr>
          <p:spPr bwMode="auto">
            <a:xfrm>
              <a:off x="6510" y="3582"/>
              <a:ext cx="163" cy="65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3" name="Rectangle 42"/>
            <p:cNvSpPr>
              <a:spLocks noChangeArrowheads="1"/>
            </p:cNvSpPr>
            <p:nvPr/>
          </p:nvSpPr>
          <p:spPr bwMode="auto">
            <a:xfrm>
              <a:off x="7851" y="3190"/>
              <a:ext cx="163" cy="50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4" name="Rectangle 43"/>
            <p:cNvSpPr>
              <a:spLocks noChangeArrowheads="1"/>
            </p:cNvSpPr>
            <p:nvPr/>
          </p:nvSpPr>
          <p:spPr bwMode="auto">
            <a:xfrm>
              <a:off x="7499" y="3606"/>
              <a:ext cx="433" cy="63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5" name="Rectangle 44"/>
            <p:cNvSpPr>
              <a:spLocks noChangeArrowheads="1"/>
            </p:cNvSpPr>
            <p:nvPr/>
          </p:nvSpPr>
          <p:spPr bwMode="auto">
            <a:xfrm>
              <a:off x="7856" y="3912"/>
              <a:ext cx="315" cy="47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6" name="Rectangle 45"/>
            <p:cNvSpPr>
              <a:spLocks noChangeArrowheads="1"/>
            </p:cNvSpPr>
            <p:nvPr/>
          </p:nvSpPr>
          <p:spPr bwMode="auto">
            <a:xfrm>
              <a:off x="7745" y="3311"/>
              <a:ext cx="314" cy="103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7" name="Freeform 46"/>
            <p:cNvSpPr>
              <a:spLocks/>
            </p:cNvSpPr>
            <p:nvPr/>
          </p:nvSpPr>
          <p:spPr bwMode="auto">
            <a:xfrm>
              <a:off x="4506" y="3147"/>
              <a:ext cx="260" cy="777"/>
            </a:xfrm>
            <a:custGeom>
              <a:avLst/>
              <a:gdLst>
                <a:gd name="T0" fmla="*/ 144 w 260"/>
                <a:gd name="T1" fmla="*/ 0 h 777"/>
                <a:gd name="T2" fmla="*/ 0 w 260"/>
                <a:gd name="T3" fmla="*/ 777 h 777"/>
                <a:gd name="T4" fmla="*/ 260 w 260"/>
                <a:gd name="T5" fmla="*/ 777 h 777"/>
                <a:gd name="T6" fmla="*/ 144 w 260"/>
                <a:gd name="T7" fmla="*/ 0 h 777"/>
              </a:gdLst>
              <a:ahLst/>
              <a:cxnLst>
                <a:cxn ang="0">
                  <a:pos x="T0" y="T1"/>
                </a:cxn>
                <a:cxn ang="0">
                  <a:pos x="T2" y="T3"/>
                </a:cxn>
                <a:cxn ang="0">
                  <a:pos x="T4" y="T5"/>
                </a:cxn>
                <a:cxn ang="0">
                  <a:pos x="T6" y="T7"/>
                </a:cxn>
              </a:cxnLst>
              <a:rect l="0" t="0" r="r" b="b"/>
              <a:pathLst>
                <a:path w="260" h="777">
                  <a:moveTo>
                    <a:pt x="144" y="0"/>
                  </a:moveTo>
                  <a:lnTo>
                    <a:pt x="0" y="777"/>
                  </a:lnTo>
                  <a:lnTo>
                    <a:pt x="260" y="777"/>
                  </a:lnTo>
                  <a:lnTo>
                    <a:pt x="144"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8" name="Freeform 17"/>
            <p:cNvSpPr>
              <a:spLocks/>
            </p:cNvSpPr>
            <p:nvPr/>
          </p:nvSpPr>
          <p:spPr bwMode="auto">
            <a:xfrm>
              <a:off x="4721" y="3328"/>
              <a:ext cx="201" cy="596"/>
            </a:xfrm>
            <a:custGeom>
              <a:avLst/>
              <a:gdLst>
                <a:gd name="T0" fmla="*/ 111 w 201"/>
                <a:gd name="T1" fmla="*/ 0 h 596"/>
                <a:gd name="T2" fmla="*/ 0 w 201"/>
                <a:gd name="T3" fmla="*/ 596 h 596"/>
                <a:gd name="T4" fmla="*/ 201 w 201"/>
                <a:gd name="T5" fmla="*/ 596 h 596"/>
                <a:gd name="T6" fmla="*/ 111 w 201"/>
                <a:gd name="T7" fmla="*/ 0 h 596"/>
              </a:gdLst>
              <a:ahLst/>
              <a:cxnLst>
                <a:cxn ang="0">
                  <a:pos x="T0" y="T1"/>
                </a:cxn>
                <a:cxn ang="0">
                  <a:pos x="T2" y="T3"/>
                </a:cxn>
                <a:cxn ang="0">
                  <a:pos x="T4" y="T5"/>
                </a:cxn>
                <a:cxn ang="0">
                  <a:pos x="T6" y="T7"/>
                </a:cxn>
              </a:cxnLst>
              <a:rect l="0" t="0" r="r" b="b"/>
              <a:pathLst>
                <a:path w="201" h="596">
                  <a:moveTo>
                    <a:pt x="111" y="0"/>
                  </a:moveTo>
                  <a:lnTo>
                    <a:pt x="0" y="596"/>
                  </a:lnTo>
                  <a:lnTo>
                    <a:pt x="201" y="596"/>
                  </a:lnTo>
                  <a:lnTo>
                    <a:pt x="111"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9" name="Freeform 18"/>
            <p:cNvSpPr>
              <a:spLocks/>
            </p:cNvSpPr>
            <p:nvPr/>
          </p:nvSpPr>
          <p:spPr bwMode="auto">
            <a:xfrm>
              <a:off x="5781" y="3907"/>
              <a:ext cx="2454" cy="511"/>
            </a:xfrm>
            <a:custGeom>
              <a:avLst/>
              <a:gdLst>
                <a:gd name="T0" fmla="*/ 641 w 1037"/>
                <a:gd name="T1" fmla="*/ 10 h 215"/>
                <a:gd name="T2" fmla="*/ 629 w 1037"/>
                <a:gd name="T3" fmla="*/ 8 h 215"/>
                <a:gd name="T4" fmla="*/ 601 w 1037"/>
                <a:gd name="T5" fmla="*/ 5 h 215"/>
                <a:gd name="T6" fmla="*/ 544 w 1037"/>
                <a:gd name="T7" fmla="*/ 1 h 215"/>
                <a:gd name="T8" fmla="*/ 512 w 1037"/>
                <a:gd name="T9" fmla="*/ 0 h 215"/>
                <a:gd name="T10" fmla="*/ 0 w 1037"/>
                <a:gd name="T11" fmla="*/ 215 h 215"/>
                <a:gd name="T12" fmla="*/ 367 w 1037"/>
                <a:gd name="T13" fmla="*/ 215 h 215"/>
                <a:gd name="T14" fmla="*/ 1037 w 1037"/>
                <a:gd name="T15" fmla="*/ 215 h 215"/>
                <a:gd name="T16" fmla="*/ 641 w 1037"/>
                <a:gd name="T17" fmla="*/ 1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7" h="215">
                  <a:moveTo>
                    <a:pt x="641" y="10"/>
                  </a:moveTo>
                  <a:cubicBezTo>
                    <a:pt x="637" y="10"/>
                    <a:pt x="633" y="9"/>
                    <a:pt x="629" y="8"/>
                  </a:cubicBezTo>
                  <a:cubicBezTo>
                    <a:pt x="620" y="7"/>
                    <a:pt x="611" y="6"/>
                    <a:pt x="601" y="5"/>
                  </a:cubicBezTo>
                  <a:cubicBezTo>
                    <a:pt x="582" y="2"/>
                    <a:pt x="563" y="1"/>
                    <a:pt x="544" y="1"/>
                  </a:cubicBezTo>
                  <a:cubicBezTo>
                    <a:pt x="533" y="0"/>
                    <a:pt x="523" y="0"/>
                    <a:pt x="512" y="0"/>
                  </a:cubicBezTo>
                  <a:cubicBezTo>
                    <a:pt x="327" y="2"/>
                    <a:pt x="142" y="73"/>
                    <a:pt x="0" y="215"/>
                  </a:cubicBezTo>
                  <a:cubicBezTo>
                    <a:pt x="367" y="215"/>
                    <a:pt x="367" y="215"/>
                    <a:pt x="367" y="215"/>
                  </a:cubicBezTo>
                  <a:cubicBezTo>
                    <a:pt x="1037" y="215"/>
                    <a:pt x="1037" y="215"/>
                    <a:pt x="1037" y="215"/>
                  </a:cubicBezTo>
                  <a:cubicBezTo>
                    <a:pt x="925" y="103"/>
                    <a:pt x="786" y="35"/>
                    <a:pt x="641" y="1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0" name="Freeform 19"/>
            <p:cNvSpPr>
              <a:spLocks/>
            </p:cNvSpPr>
            <p:nvPr/>
          </p:nvSpPr>
          <p:spPr bwMode="auto">
            <a:xfrm>
              <a:off x="3749" y="3632"/>
              <a:ext cx="3773" cy="786"/>
            </a:xfrm>
            <a:custGeom>
              <a:avLst/>
              <a:gdLst>
                <a:gd name="T0" fmla="*/ 985 w 1595"/>
                <a:gd name="T1" fmla="*/ 16 h 331"/>
                <a:gd name="T2" fmla="*/ 968 w 1595"/>
                <a:gd name="T3" fmla="*/ 13 h 331"/>
                <a:gd name="T4" fmla="*/ 925 w 1595"/>
                <a:gd name="T5" fmla="*/ 7 h 331"/>
                <a:gd name="T6" fmla="*/ 836 w 1595"/>
                <a:gd name="T7" fmla="*/ 1 h 331"/>
                <a:gd name="T8" fmla="*/ 788 w 1595"/>
                <a:gd name="T9" fmla="*/ 0 h 331"/>
                <a:gd name="T10" fmla="*/ 0 w 1595"/>
                <a:gd name="T11" fmla="*/ 331 h 331"/>
                <a:gd name="T12" fmla="*/ 564 w 1595"/>
                <a:gd name="T13" fmla="*/ 331 h 331"/>
                <a:gd name="T14" fmla="*/ 1595 w 1595"/>
                <a:gd name="T15" fmla="*/ 331 h 331"/>
                <a:gd name="T16" fmla="*/ 985 w 1595"/>
                <a:gd name="T17" fmla="*/ 16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5" h="331">
                  <a:moveTo>
                    <a:pt x="985" y="16"/>
                  </a:moveTo>
                  <a:cubicBezTo>
                    <a:pt x="980" y="15"/>
                    <a:pt x="974" y="14"/>
                    <a:pt x="968" y="13"/>
                  </a:cubicBezTo>
                  <a:cubicBezTo>
                    <a:pt x="954" y="11"/>
                    <a:pt x="939" y="9"/>
                    <a:pt x="925" y="7"/>
                  </a:cubicBezTo>
                  <a:cubicBezTo>
                    <a:pt x="895" y="4"/>
                    <a:pt x="866" y="2"/>
                    <a:pt x="836" y="1"/>
                  </a:cubicBezTo>
                  <a:cubicBezTo>
                    <a:pt x="820" y="0"/>
                    <a:pt x="804" y="0"/>
                    <a:pt x="788" y="0"/>
                  </a:cubicBezTo>
                  <a:cubicBezTo>
                    <a:pt x="502" y="3"/>
                    <a:pt x="218" y="113"/>
                    <a:pt x="0" y="331"/>
                  </a:cubicBezTo>
                  <a:cubicBezTo>
                    <a:pt x="564" y="331"/>
                    <a:pt x="564" y="331"/>
                    <a:pt x="564" y="331"/>
                  </a:cubicBezTo>
                  <a:cubicBezTo>
                    <a:pt x="1595" y="331"/>
                    <a:pt x="1595" y="331"/>
                    <a:pt x="1595" y="331"/>
                  </a:cubicBezTo>
                  <a:cubicBezTo>
                    <a:pt x="1422" y="159"/>
                    <a:pt x="1208" y="54"/>
                    <a:pt x="985" y="1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1" name="Freeform 20"/>
            <p:cNvSpPr>
              <a:spLocks/>
            </p:cNvSpPr>
            <p:nvPr/>
          </p:nvSpPr>
          <p:spPr bwMode="auto">
            <a:xfrm>
              <a:off x="4463" y="3634"/>
              <a:ext cx="1346" cy="784"/>
            </a:xfrm>
            <a:custGeom>
              <a:avLst/>
              <a:gdLst>
                <a:gd name="T0" fmla="*/ 569 w 569"/>
                <a:gd name="T1" fmla="*/ 1 h 330"/>
                <a:gd name="T2" fmla="*/ 559 w 569"/>
                <a:gd name="T3" fmla="*/ 0 h 330"/>
                <a:gd name="T4" fmla="*/ 0 w 569"/>
                <a:gd name="T5" fmla="*/ 330 h 330"/>
                <a:gd name="T6" fmla="*/ 106 w 569"/>
                <a:gd name="T7" fmla="*/ 330 h 330"/>
                <a:gd name="T8" fmla="*/ 569 w 569"/>
                <a:gd name="T9" fmla="*/ 1 h 330"/>
              </a:gdLst>
              <a:ahLst/>
              <a:cxnLst>
                <a:cxn ang="0">
                  <a:pos x="T0" y="T1"/>
                </a:cxn>
                <a:cxn ang="0">
                  <a:pos x="T2" y="T3"/>
                </a:cxn>
                <a:cxn ang="0">
                  <a:pos x="T4" y="T5"/>
                </a:cxn>
                <a:cxn ang="0">
                  <a:pos x="T6" y="T7"/>
                </a:cxn>
                <a:cxn ang="0">
                  <a:pos x="T8" y="T9"/>
                </a:cxn>
              </a:cxnLst>
              <a:rect l="0" t="0" r="r" b="b"/>
              <a:pathLst>
                <a:path w="569" h="330">
                  <a:moveTo>
                    <a:pt x="569" y="1"/>
                  </a:moveTo>
                  <a:cubicBezTo>
                    <a:pt x="565" y="1"/>
                    <a:pt x="562" y="0"/>
                    <a:pt x="559" y="0"/>
                  </a:cubicBezTo>
                  <a:cubicBezTo>
                    <a:pt x="221" y="64"/>
                    <a:pt x="0" y="330"/>
                    <a:pt x="0" y="330"/>
                  </a:cubicBezTo>
                  <a:cubicBezTo>
                    <a:pt x="106" y="330"/>
                    <a:pt x="106" y="330"/>
                    <a:pt x="106" y="330"/>
                  </a:cubicBezTo>
                  <a:cubicBezTo>
                    <a:pt x="106" y="330"/>
                    <a:pt x="315" y="75"/>
                    <a:pt x="569" y="1"/>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2" name="Freeform 21"/>
            <p:cNvSpPr>
              <a:spLocks/>
            </p:cNvSpPr>
            <p:nvPr/>
          </p:nvSpPr>
          <p:spPr bwMode="auto">
            <a:xfrm>
              <a:off x="5942" y="3722"/>
              <a:ext cx="442" cy="696"/>
            </a:xfrm>
            <a:custGeom>
              <a:avLst/>
              <a:gdLst>
                <a:gd name="T0" fmla="*/ 187 w 187"/>
                <a:gd name="T1" fmla="*/ 6 h 293"/>
                <a:gd name="T2" fmla="*/ 167 w 187"/>
                <a:gd name="T3" fmla="*/ 0 h 293"/>
                <a:gd name="T4" fmla="*/ 24 w 187"/>
                <a:gd name="T5" fmla="*/ 293 h 293"/>
                <a:gd name="T6" fmla="*/ 67 w 187"/>
                <a:gd name="T7" fmla="*/ 293 h 293"/>
                <a:gd name="T8" fmla="*/ 187 w 187"/>
                <a:gd name="T9" fmla="*/ 6 h 293"/>
              </a:gdLst>
              <a:ahLst/>
              <a:cxnLst>
                <a:cxn ang="0">
                  <a:pos x="T0" y="T1"/>
                </a:cxn>
                <a:cxn ang="0">
                  <a:pos x="T2" y="T3"/>
                </a:cxn>
                <a:cxn ang="0">
                  <a:pos x="T4" y="T5"/>
                </a:cxn>
                <a:cxn ang="0">
                  <a:pos x="T6" y="T7"/>
                </a:cxn>
                <a:cxn ang="0">
                  <a:pos x="T8" y="T9"/>
                </a:cxn>
              </a:cxnLst>
              <a:rect l="0" t="0" r="r" b="b"/>
              <a:pathLst>
                <a:path w="187" h="293">
                  <a:moveTo>
                    <a:pt x="187" y="6"/>
                  </a:moveTo>
                  <a:cubicBezTo>
                    <a:pt x="181" y="4"/>
                    <a:pt x="174" y="2"/>
                    <a:pt x="167" y="0"/>
                  </a:cubicBezTo>
                  <a:cubicBezTo>
                    <a:pt x="159" y="7"/>
                    <a:pt x="0" y="133"/>
                    <a:pt x="24" y="293"/>
                  </a:cubicBezTo>
                  <a:cubicBezTo>
                    <a:pt x="67" y="293"/>
                    <a:pt x="67" y="293"/>
                    <a:pt x="67" y="293"/>
                  </a:cubicBezTo>
                  <a:cubicBezTo>
                    <a:pt x="35" y="129"/>
                    <a:pt x="187" y="6"/>
                    <a:pt x="187" y="6"/>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3" name="Freeform 22"/>
            <p:cNvSpPr>
              <a:spLocks/>
            </p:cNvSpPr>
            <p:nvPr/>
          </p:nvSpPr>
          <p:spPr bwMode="auto">
            <a:xfrm>
              <a:off x="4714" y="3636"/>
              <a:ext cx="1623" cy="782"/>
            </a:xfrm>
            <a:custGeom>
              <a:avLst/>
              <a:gdLst>
                <a:gd name="T0" fmla="*/ 686 w 686"/>
                <a:gd name="T1" fmla="*/ 36 h 329"/>
                <a:gd name="T2" fmla="*/ 463 w 686"/>
                <a:gd name="T3" fmla="*/ 0 h 329"/>
                <a:gd name="T4" fmla="*/ 0 w 686"/>
                <a:gd name="T5" fmla="*/ 329 h 329"/>
                <a:gd name="T6" fmla="*/ 543 w 686"/>
                <a:gd name="T7" fmla="*/ 329 h 329"/>
                <a:gd name="T8" fmla="*/ 686 w 686"/>
                <a:gd name="T9" fmla="*/ 36 h 329"/>
              </a:gdLst>
              <a:ahLst/>
              <a:cxnLst>
                <a:cxn ang="0">
                  <a:pos x="T0" y="T1"/>
                </a:cxn>
                <a:cxn ang="0">
                  <a:pos x="T2" y="T3"/>
                </a:cxn>
                <a:cxn ang="0">
                  <a:pos x="T4" y="T5"/>
                </a:cxn>
                <a:cxn ang="0">
                  <a:pos x="T6" y="T7"/>
                </a:cxn>
                <a:cxn ang="0">
                  <a:pos x="T8" y="T9"/>
                </a:cxn>
              </a:cxnLst>
              <a:rect l="0" t="0" r="r" b="b"/>
              <a:pathLst>
                <a:path w="686" h="329">
                  <a:moveTo>
                    <a:pt x="686" y="36"/>
                  </a:moveTo>
                  <a:cubicBezTo>
                    <a:pt x="613" y="17"/>
                    <a:pt x="538" y="5"/>
                    <a:pt x="463" y="0"/>
                  </a:cubicBezTo>
                  <a:cubicBezTo>
                    <a:pt x="209" y="74"/>
                    <a:pt x="0" y="329"/>
                    <a:pt x="0" y="329"/>
                  </a:cubicBezTo>
                  <a:cubicBezTo>
                    <a:pt x="543" y="329"/>
                    <a:pt x="543" y="329"/>
                    <a:pt x="543" y="329"/>
                  </a:cubicBezTo>
                  <a:cubicBezTo>
                    <a:pt x="519" y="169"/>
                    <a:pt x="678" y="43"/>
                    <a:pt x="686" y="36"/>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4" name="Rectangle 23"/>
            <p:cNvSpPr>
              <a:spLocks noChangeArrowheads="1"/>
            </p:cNvSpPr>
            <p:nvPr/>
          </p:nvSpPr>
          <p:spPr bwMode="auto">
            <a:xfrm>
              <a:off x="6820" y="2931"/>
              <a:ext cx="790" cy="1399"/>
            </a:xfrm>
            <a:prstGeom prst="rect">
              <a:avLst/>
            </a:prstGeom>
            <a:solidFill>
              <a:srgbClr val="0042A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6" name="Rectangle 24"/>
            <p:cNvSpPr>
              <a:spLocks noChangeArrowheads="1"/>
            </p:cNvSpPr>
            <p:nvPr/>
          </p:nvSpPr>
          <p:spPr bwMode="auto">
            <a:xfrm>
              <a:off x="7255" y="4130"/>
              <a:ext cx="102" cy="2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7" name="Freeform 25"/>
            <p:cNvSpPr>
              <a:spLocks/>
            </p:cNvSpPr>
            <p:nvPr/>
          </p:nvSpPr>
          <p:spPr bwMode="auto">
            <a:xfrm>
              <a:off x="7610" y="4161"/>
              <a:ext cx="203" cy="169"/>
            </a:xfrm>
            <a:custGeom>
              <a:avLst/>
              <a:gdLst>
                <a:gd name="T0" fmla="*/ 0 w 203"/>
                <a:gd name="T1" fmla="*/ 169 h 169"/>
                <a:gd name="T2" fmla="*/ 203 w 203"/>
                <a:gd name="T3" fmla="*/ 0 h 169"/>
                <a:gd name="T4" fmla="*/ 0 w 203"/>
                <a:gd name="T5" fmla="*/ 0 h 169"/>
                <a:gd name="T6" fmla="*/ 0 w 203"/>
                <a:gd name="T7" fmla="*/ 169 h 169"/>
              </a:gdLst>
              <a:ahLst/>
              <a:cxnLst>
                <a:cxn ang="0">
                  <a:pos x="T0" y="T1"/>
                </a:cxn>
                <a:cxn ang="0">
                  <a:pos x="T2" y="T3"/>
                </a:cxn>
                <a:cxn ang="0">
                  <a:pos x="T4" y="T5"/>
                </a:cxn>
                <a:cxn ang="0">
                  <a:pos x="T6" y="T7"/>
                </a:cxn>
              </a:cxnLst>
              <a:rect l="0" t="0" r="r" b="b"/>
              <a:pathLst>
                <a:path w="203" h="169">
                  <a:moveTo>
                    <a:pt x="0" y="169"/>
                  </a:moveTo>
                  <a:lnTo>
                    <a:pt x="203" y="0"/>
                  </a:lnTo>
                  <a:lnTo>
                    <a:pt x="0" y="0"/>
                  </a:lnTo>
                  <a:lnTo>
                    <a:pt x="0" y="169"/>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8" name="Freeform 26"/>
            <p:cNvSpPr>
              <a:spLocks/>
            </p:cNvSpPr>
            <p:nvPr/>
          </p:nvSpPr>
          <p:spPr bwMode="auto">
            <a:xfrm>
              <a:off x="5930" y="3741"/>
              <a:ext cx="149" cy="126"/>
            </a:xfrm>
            <a:custGeom>
              <a:avLst/>
              <a:gdLst>
                <a:gd name="T0" fmla="*/ 0 w 149"/>
                <a:gd name="T1" fmla="*/ 126 h 126"/>
                <a:gd name="T2" fmla="*/ 149 w 149"/>
                <a:gd name="T3" fmla="*/ 0 h 126"/>
                <a:gd name="T4" fmla="*/ 0 w 149"/>
                <a:gd name="T5" fmla="*/ 0 h 126"/>
                <a:gd name="T6" fmla="*/ 0 w 149"/>
                <a:gd name="T7" fmla="*/ 126 h 126"/>
              </a:gdLst>
              <a:ahLst/>
              <a:cxnLst>
                <a:cxn ang="0">
                  <a:pos x="T0" y="T1"/>
                </a:cxn>
                <a:cxn ang="0">
                  <a:pos x="T2" y="T3"/>
                </a:cxn>
                <a:cxn ang="0">
                  <a:pos x="T4" y="T5"/>
                </a:cxn>
                <a:cxn ang="0">
                  <a:pos x="T6" y="T7"/>
                </a:cxn>
              </a:cxnLst>
              <a:rect l="0" t="0" r="r" b="b"/>
              <a:pathLst>
                <a:path w="149" h="126">
                  <a:moveTo>
                    <a:pt x="0" y="126"/>
                  </a:moveTo>
                  <a:lnTo>
                    <a:pt x="149" y="0"/>
                  </a:lnTo>
                  <a:lnTo>
                    <a:pt x="0" y="0"/>
                  </a:lnTo>
                  <a:lnTo>
                    <a:pt x="0" y="126"/>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9" name="Rectangle 27"/>
            <p:cNvSpPr>
              <a:spLocks noChangeArrowheads="1"/>
            </p:cNvSpPr>
            <p:nvPr/>
          </p:nvSpPr>
          <p:spPr bwMode="auto">
            <a:xfrm>
              <a:off x="7075" y="4130"/>
              <a:ext cx="104" cy="2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0" name="Rectangle 28"/>
            <p:cNvSpPr>
              <a:spLocks noChangeArrowheads="1"/>
            </p:cNvSpPr>
            <p:nvPr/>
          </p:nvSpPr>
          <p:spPr bwMode="auto">
            <a:xfrm>
              <a:off x="6898" y="3430"/>
              <a:ext cx="639" cy="10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1" name="Rectangle 29"/>
            <p:cNvSpPr>
              <a:spLocks noChangeArrowheads="1"/>
            </p:cNvSpPr>
            <p:nvPr/>
          </p:nvSpPr>
          <p:spPr bwMode="auto">
            <a:xfrm>
              <a:off x="6898" y="3608"/>
              <a:ext cx="639" cy="10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2" name="Rectangle 30"/>
            <p:cNvSpPr>
              <a:spLocks noChangeArrowheads="1"/>
            </p:cNvSpPr>
            <p:nvPr/>
          </p:nvSpPr>
          <p:spPr bwMode="auto">
            <a:xfrm>
              <a:off x="6898" y="3786"/>
              <a:ext cx="639" cy="10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3" name="Rectangle 31"/>
            <p:cNvSpPr>
              <a:spLocks noChangeArrowheads="1"/>
            </p:cNvSpPr>
            <p:nvPr/>
          </p:nvSpPr>
          <p:spPr bwMode="auto">
            <a:xfrm>
              <a:off x="6898" y="3964"/>
              <a:ext cx="639" cy="10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4" name="Rectangle 32"/>
            <p:cNvSpPr>
              <a:spLocks noChangeArrowheads="1"/>
            </p:cNvSpPr>
            <p:nvPr/>
          </p:nvSpPr>
          <p:spPr bwMode="auto">
            <a:xfrm>
              <a:off x="6898" y="3074"/>
              <a:ext cx="639" cy="10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5" name="Rectangle 33"/>
            <p:cNvSpPr>
              <a:spLocks noChangeArrowheads="1"/>
            </p:cNvSpPr>
            <p:nvPr/>
          </p:nvSpPr>
          <p:spPr bwMode="auto">
            <a:xfrm>
              <a:off x="6898" y="3252"/>
              <a:ext cx="639" cy="10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6" name="Rectangle 34"/>
            <p:cNvSpPr>
              <a:spLocks noChangeArrowheads="1"/>
            </p:cNvSpPr>
            <p:nvPr/>
          </p:nvSpPr>
          <p:spPr bwMode="auto">
            <a:xfrm>
              <a:off x="5795" y="3154"/>
              <a:ext cx="362" cy="554"/>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7" name="Freeform 35"/>
            <p:cNvSpPr>
              <a:spLocks/>
            </p:cNvSpPr>
            <p:nvPr/>
          </p:nvSpPr>
          <p:spPr bwMode="auto">
            <a:xfrm>
              <a:off x="5833" y="3214"/>
              <a:ext cx="286" cy="50"/>
            </a:xfrm>
            <a:custGeom>
              <a:avLst/>
              <a:gdLst>
                <a:gd name="T0" fmla="*/ 10 w 121"/>
                <a:gd name="T1" fmla="*/ 0 h 21"/>
                <a:gd name="T2" fmla="*/ 0 w 121"/>
                <a:gd name="T3" fmla="*/ 9 h 21"/>
                <a:gd name="T4" fmla="*/ 0 w 121"/>
                <a:gd name="T5" fmla="*/ 11 h 21"/>
                <a:gd name="T6" fmla="*/ 10 w 121"/>
                <a:gd name="T7" fmla="*/ 21 h 21"/>
                <a:gd name="T8" fmla="*/ 111 w 121"/>
                <a:gd name="T9" fmla="*/ 21 h 21"/>
                <a:gd name="T10" fmla="*/ 121 w 121"/>
                <a:gd name="T11" fmla="*/ 11 h 21"/>
                <a:gd name="T12" fmla="*/ 121 w 121"/>
                <a:gd name="T13" fmla="*/ 9 h 21"/>
                <a:gd name="T14" fmla="*/ 111 w 121"/>
                <a:gd name="T15" fmla="*/ 0 h 21"/>
                <a:gd name="T16" fmla="*/ 64 w 121"/>
                <a:gd name="T17" fmla="*/ 0 h 21"/>
                <a:gd name="T18" fmla="*/ 10 w 121"/>
                <a:gd name="T1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21">
                  <a:moveTo>
                    <a:pt x="10" y="0"/>
                  </a:moveTo>
                  <a:cubicBezTo>
                    <a:pt x="10" y="0"/>
                    <a:pt x="0" y="0"/>
                    <a:pt x="0" y="9"/>
                  </a:cubicBezTo>
                  <a:cubicBezTo>
                    <a:pt x="0" y="11"/>
                    <a:pt x="0" y="11"/>
                    <a:pt x="0" y="11"/>
                  </a:cubicBezTo>
                  <a:cubicBezTo>
                    <a:pt x="0" y="11"/>
                    <a:pt x="0" y="21"/>
                    <a:pt x="10" y="21"/>
                  </a:cubicBezTo>
                  <a:cubicBezTo>
                    <a:pt x="111" y="21"/>
                    <a:pt x="111" y="21"/>
                    <a:pt x="111" y="21"/>
                  </a:cubicBezTo>
                  <a:cubicBezTo>
                    <a:pt x="111" y="21"/>
                    <a:pt x="121" y="21"/>
                    <a:pt x="121" y="11"/>
                  </a:cubicBezTo>
                  <a:cubicBezTo>
                    <a:pt x="121" y="9"/>
                    <a:pt x="121" y="9"/>
                    <a:pt x="121" y="9"/>
                  </a:cubicBezTo>
                  <a:cubicBezTo>
                    <a:pt x="121" y="9"/>
                    <a:pt x="121" y="0"/>
                    <a:pt x="111" y="0"/>
                  </a:cubicBezTo>
                  <a:cubicBezTo>
                    <a:pt x="64" y="0"/>
                    <a:pt x="64" y="0"/>
                    <a:pt x="64"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8" name="Freeform 36"/>
            <p:cNvSpPr>
              <a:spLocks/>
            </p:cNvSpPr>
            <p:nvPr/>
          </p:nvSpPr>
          <p:spPr bwMode="auto">
            <a:xfrm>
              <a:off x="5833" y="3302"/>
              <a:ext cx="286" cy="49"/>
            </a:xfrm>
            <a:custGeom>
              <a:avLst/>
              <a:gdLst>
                <a:gd name="T0" fmla="*/ 10 w 121"/>
                <a:gd name="T1" fmla="*/ 0 h 21"/>
                <a:gd name="T2" fmla="*/ 0 w 121"/>
                <a:gd name="T3" fmla="*/ 10 h 21"/>
                <a:gd name="T4" fmla="*/ 0 w 121"/>
                <a:gd name="T5" fmla="*/ 12 h 21"/>
                <a:gd name="T6" fmla="*/ 10 w 121"/>
                <a:gd name="T7" fmla="*/ 21 h 21"/>
                <a:gd name="T8" fmla="*/ 111 w 121"/>
                <a:gd name="T9" fmla="*/ 21 h 21"/>
                <a:gd name="T10" fmla="*/ 121 w 121"/>
                <a:gd name="T11" fmla="*/ 12 h 21"/>
                <a:gd name="T12" fmla="*/ 121 w 121"/>
                <a:gd name="T13" fmla="*/ 10 h 21"/>
                <a:gd name="T14" fmla="*/ 111 w 121"/>
                <a:gd name="T15" fmla="*/ 0 h 21"/>
                <a:gd name="T16" fmla="*/ 64 w 121"/>
                <a:gd name="T17" fmla="*/ 0 h 21"/>
                <a:gd name="T18" fmla="*/ 10 w 121"/>
                <a:gd name="T1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21">
                  <a:moveTo>
                    <a:pt x="10" y="0"/>
                  </a:moveTo>
                  <a:cubicBezTo>
                    <a:pt x="10" y="0"/>
                    <a:pt x="0" y="0"/>
                    <a:pt x="0" y="10"/>
                  </a:cubicBezTo>
                  <a:cubicBezTo>
                    <a:pt x="0" y="12"/>
                    <a:pt x="0" y="12"/>
                    <a:pt x="0" y="12"/>
                  </a:cubicBezTo>
                  <a:cubicBezTo>
                    <a:pt x="0" y="12"/>
                    <a:pt x="0" y="21"/>
                    <a:pt x="10" y="21"/>
                  </a:cubicBezTo>
                  <a:cubicBezTo>
                    <a:pt x="111" y="21"/>
                    <a:pt x="111" y="21"/>
                    <a:pt x="111" y="21"/>
                  </a:cubicBezTo>
                  <a:cubicBezTo>
                    <a:pt x="111" y="21"/>
                    <a:pt x="121" y="21"/>
                    <a:pt x="121" y="12"/>
                  </a:cubicBezTo>
                  <a:cubicBezTo>
                    <a:pt x="121" y="10"/>
                    <a:pt x="121" y="10"/>
                    <a:pt x="121" y="10"/>
                  </a:cubicBezTo>
                  <a:cubicBezTo>
                    <a:pt x="121" y="10"/>
                    <a:pt x="121" y="0"/>
                    <a:pt x="111" y="0"/>
                  </a:cubicBezTo>
                  <a:cubicBezTo>
                    <a:pt x="64" y="0"/>
                    <a:pt x="64" y="0"/>
                    <a:pt x="64"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99" name="Freeform 37"/>
            <p:cNvSpPr>
              <a:spLocks/>
            </p:cNvSpPr>
            <p:nvPr/>
          </p:nvSpPr>
          <p:spPr bwMode="auto">
            <a:xfrm>
              <a:off x="5833" y="3392"/>
              <a:ext cx="286" cy="50"/>
            </a:xfrm>
            <a:custGeom>
              <a:avLst/>
              <a:gdLst>
                <a:gd name="T0" fmla="*/ 10 w 121"/>
                <a:gd name="T1" fmla="*/ 0 h 21"/>
                <a:gd name="T2" fmla="*/ 0 w 121"/>
                <a:gd name="T3" fmla="*/ 9 h 21"/>
                <a:gd name="T4" fmla="*/ 0 w 121"/>
                <a:gd name="T5" fmla="*/ 11 h 21"/>
                <a:gd name="T6" fmla="*/ 10 w 121"/>
                <a:gd name="T7" fmla="*/ 21 h 21"/>
                <a:gd name="T8" fmla="*/ 111 w 121"/>
                <a:gd name="T9" fmla="*/ 21 h 21"/>
                <a:gd name="T10" fmla="*/ 121 w 121"/>
                <a:gd name="T11" fmla="*/ 11 h 21"/>
                <a:gd name="T12" fmla="*/ 121 w 121"/>
                <a:gd name="T13" fmla="*/ 9 h 21"/>
                <a:gd name="T14" fmla="*/ 111 w 121"/>
                <a:gd name="T15" fmla="*/ 0 h 21"/>
                <a:gd name="T16" fmla="*/ 64 w 121"/>
                <a:gd name="T17" fmla="*/ 0 h 21"/>
                <a:gd name="T18" fmla="*/ 10 w 121"/>
                <a:gd name="T1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21">
                  <a:moveTo>
                    <a:pt x="10" y="0"/>
                  </a:moveTo>
                  <a:cubicBezTo>
                    <a:pt x="10" y="0"/>
                    <a:pt x="0" y="0"/>
                    <a:pt x="0" y="9"/>
                  </a:cubicBezTo>
                  <a:cubicBezTo>
                    <a:pt x="0" y="11"/>
                    <a:pt x="0" y="11"/>
                    <a:pt x="0" y="11"/>
                  </a:cubicBezTo>
                  <a:cubicBezTo>
                    <a:pt x="0" y="11"/>
                    <a:pt x="0" y="21"/>
                    <a:pt x="10" y="21"/>
                  </a:cubicBezTo>
                  <a:cubicBezTo>
                    <a:pt x="111" y="21"/>
                    <a:pt x="111" y="21"/>
                    <a:pt x="111" y="21"/>
                  </a:cubicBezTo>
                  <a:cubicBezTo>
                    <a:pt x="111" y="21"/>
                    <a:pt x="121" y="21"/>
                    <a:pt x="121" y="11"/>
                  </a:cubicBezTo>
                  <a:cubicBezTo>
                    <a:pt x="121" y="9"/>
                    <a:pt x="121" y="9"/>
                    <a:pt x="121" y="9"/>
                  </a:cubicBezTo>
                  <a:cubicBezTo>
                    <a:pt x="121" y="9"/>
                    <a:pt x="121" y="0"/>
                    <a:pt x="111" y="0"/>
                  </a:cubicBezTo>
                  <a:cubicBezTo>
                    <a:pt x="64" y="0"/>
                    <a:pt x="64" y="0"/>
                    <a:pt x="64"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0" name="Freeform 38"/>
            <p:cNvSpPr>
              <a:spLocks/>
            </p:cNvSpPr>
            <p:nvPr/>
          </p:nvSpPr>
          <p:spPr bwMode="auto">
            <a:xfrm>
              <a:off x="5833" y="3480"/>
              <a:ext cx="286" cy="52"/>
            </a:xfrm>
            <a:custGeom>
              <a:avLst/>
              <a:gdLst>
                <a:gd name="T0" fmla="*/ 10 w 121"/>
                <a:gd name="T1" fmla="*/ 0 h 22"/>
                <a:gd name="T2" fmla="*/ 0 w 121"/>
                <a:gd name="T3" fmla="*/ 10 h 22"/>
                <a:gd name="T4" fmla="*/ 0 w 121"/>
                <a:gd name="T5" fmla="*/ 12 h 22"/>
                <a:gd name="T6" fmla="*/ 10 w 121"/>
                <a:gd name="T7" fmla="*/ 22 h 22"/>
                <a:gd name="T8" fmla="*/ 111 w 121"/>
                <a:gd name="T9" fmla="*/ 22 h 22"/>
                <a:gd name="T10" fmla="*/ 121 w 121"/>
                <a:gd name="T11" fmla="*/ 12 h 22"/>
                <a:gd name="T12" fmla="*/ 121 w 121"/>
                <a:gd name="T13" fmla="*/ 10 h 22"/>
                <a:gd name="T14" fmla="*/ 111 w 121"/>
                <a:gd name="T15" fmla="*/ 0 h 22"/>
                <a:gd name="T16" fmla="*/ 64 w 121"/>
                <a:gd name="T17" fmla="*/ 0 h 22"/>
                <a:gd name="T18" fmla="*/ 10 w 121"/>
                <a:gd name="T19"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22">
                  <a:moveTo>
                    <a:pt x="10" y="0"/>
                  </a:moveTo>
                  <a:cubicBezTo>
                    <a:pt x="10" y="0"/>
                    <a:pt x="0" y="0"/>
                    <a:pt x="0" y="10"/>
                  </a:cubicBezTo>
                  <a:cubicBezTo>
                    <a:pt x="0" y="12"/>
                    <a:pt x="0" y="12"/>
                    <a:pt x="0" y="12"/>
                  </a:cubicBezTo>
                  <a:cubicBezTo>
                    <a:pt x="0" y="12"/>
                    <a:pt x="0" y="22"/>
                    <a:pt x="10" y="22"/>
                  </a:cubicBezTo>
                  <a:cubicBezTo>
                    <a:pt x="111" y="22"/>
                    <a:pt x="111" y="22"/>
                    <a:pt x="111" y="22"/>
                  </a:cubicBezTo>
                  <a:cubicBezTo>
                    <a:pt x="111" y="22"/>
                    <a:pt x="121" y="22"/>
                    <a:pt x="121" y="12"/>
                  </a:cubicBezTo>
                  <a:cubicBezTo>
                    <a:pt x="121" y="10"/>
                    <a:pt x="121" y="10"/>
                    <a:pt x="121" y="10"/>
                  </a:cubicBezTo>
                  <a:cubicBezTo>
                    <a:pt x="121" y="10"/>
                    <a:pt x="121" y="0"/>
                    <a:pt x="111" y="0"/>
                  </a:cubicBezTo>
                  <a:cubicBezTo>
                    <a:pt x="64" y="0"/>
                    <a:pt x="64" y="0"/>
                    <a:pt x="64"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1" name="Freeform 39"/>
            <p:cNvSpPr>
              <a:spLocks/>
            </p:cNvSpPr>
            <p:nvPr/>
          </p:nvSpPr>
          <p:spPr bwMode="auto">
            <a:xfrm>
              <a:off x="5833" y="3570"/>
              <a:ext cx="286" cy="50"/>
            </a:xfrm>
            <a:custGeom>
              <a:avLst/>
              <a:gdLst>
                <a:gd name="T0" fmla="*/ 10 w 121"/>
                <a:gd name="T1" fmla="*/ 0 h 21"/>
                <a:gd name="T2" fmla="*/ 0 w 121"/>
                <a:gd name="T3" fmla="*/ 10 h 21"/>
                <a:gd name="T4" fmla="*/ 0 w 121"/>
                <a:gd name="T5" fmla="*/ 12 h 21"/>
                <a:gd name="T6" fmla="*/ 10 w 121"/>
                <a:gd name="T7" fmla="*/ 21 h 21"/>
                <a:gd name="T8" fmla="*/ 111 w 121"/>
                <a:gd name="T9" fmla="*/ 21 h 21"/>
                <a:gd name="T10" fmla="*/ 121 w 121"/>
                <a:gd name="T11" fmla="*/ 12 h 21"/>
                <a:gd name="T12" fmla="*/ 121 w 121"/>
                <a:gd name="T13" fmla="*/ 10 h 21"/>
                <a:gd name="T14" fmla="*/ 111 w 121"/>
                <a:gd name="T15" fmla="*/ 0 h 21"/>
                <a:gd name="T16" fmla="*/ 64 w 121"/>
                <a:gd name="T17" fmla="*/ 0 h 21"/>
                <a:gd name="T18" fmla="*/ 10 w 121"/>
                <a:gd name="T1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21">
                  <a:moveTo>
                    <a:pt x="10" y="0"/>
                  </a:moveTo>
                  <a:cubicBezTo>
                    <a:pt x="10" y="0"/>
                    <a:pt x="0" y="0"/>
                    <a:pt x="0" y="10"/>
                  </a:cubicBezTo>
                  <a:cubicBezTo>
                    <a:pt x="0" y="12"/>
                    <a:pt x="0" y="12"/>
                    <a:pt x="0" y="12"/>
                  </a:cubicBezTo>
                  <a:cubicBezTo>
                    <a:pt x="0" y="12"/>
                    <a:pt x="0" y="21"/>
                    <a:pt x="10" y="21"/>
                  </a:cubicBezTo>
                  <a:cubicBezTo>
                    <a:pt x="111" y="21"/>
                    <a:pt x="111" y="21"/>
                    <a:pt x="111" y="21"/>
                  </a:cubicBezTo>
                  <a:cubicBezTo>
                    <a:pt x="111" y="21"/>
                    <a:pt x="121" y="21"/>
                    <a:pt x="121" y="12"/>
                  </a:cubicBezTo>
                  <a:cubicBezTo>
                    <a:pt x="121" y="10"/>
                    <a:pt x="121" y="10"/>
                    <a:pt x="121" y="10"/>
                  </a:cubicBezTo>
                  <a:cubicBezTo>
                    <a:pt x="121" y="10"/>
                    <a:pt x="121" y="0"/>
                    <a:pt x="111" y="0"/>
                  </a:cubicBezTo>
                  <a:cubicBezTo>
                    <a:pt x="64" y="0"/>
                    <a:pt x="64" y="0"/>
                    <a:pt x="64"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2" name="Oval 40"/>
            <p:cNvSpPr>
              <a:spLocks noChangeArrowheads="1"/>
            </p:cNvSpPr>
            <p:nvPr/>
          </p:nvSpPr>
          <p:spPr bwMode="auto">
            <a:xfrm>
              <a:off x="6065" y="3223"/>
              <a:ext cx="28" cy="2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3" name="Oval 41"/>
            <p:cNvSpPr>
              <a:spLocks noChangeArrowheads="1"/>
            </p:cNvSpPr>
            <p:nvPr/>
          </p:nvSpPr>
          <p:spPr bwMode="auto">
            <a:xfrm>
              <a:off x="6065" y="3313"/>
              <a:ext cx="28" cy="2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4" name="Oval 42"/>
            <p:cNvSpPr>
              <a:spLocks noChangeArrowheads="1"/>
            </p:cNvSpPr>
            <p:nvPr/>
          </p:nvSpPr>
          <p:spPr bwMode="auto">
            <a:xfrm>
              <a:off x="6065" y="3401"/>
              <a:ext cx="28" cy="2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5" name="Oval 43"/>
            <p:cNvSpPr>
              <a:spLocks noChangeArrowheads="1"/>
            </p:cNvSpPr>
            <p:nvPr/>
          </p:nvSpPr>
          <p:spPr bwMode="auto">
            <a:xfrm>
              <a:off x="6065" y="3492"/>
              <a:ext cx="28" cy="2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6" name="Oval 44"/>
            <p:cNvSpPr>
              <a:spLocks noChangeArrowheads="1"/>
            </p:cNvSpPr>
            <p:nvPr/>
          </p:nvSpPr>
          <p:spPr bwMode="auto">
            <a:xfrm>
              <a:off x="6065" y="3582"/>
              <a:ext cx="28" cy="2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7" name="Freeform 45"/>
            <p:cNvSpPr>
              <a:spLocks/>
            </p:cNvSpPr>
            <p:nvPr/>
          </p:nvSpPr>
          <p:spPr bwMode="auto">
            <a:xfrm>
              <a:off x="5632" y="3325"/>
              <a:ext cx="315" cy="542"/>
            </a:xfrm>
            <a:custGeom>
              <a:avLst/>
              <a:gdLst>
                <a:gd name="T0" fmla="*/ 133 w 133"/>
                <a:gd name="T1" fmla="*/ 219 h 228"/>
                <a:gd name="T2" fmla="*/ 124 w 133"/>
                <a:gd name="T3" fmla="*/ 228 h 228"/>
                <a:gd name="T4" fmla="*/ 8 w 133"/>
                <a:gd name="T5" fmla="*/ 228 h 228"/>
                <a:gd name="T6" fmla="*/ 0 w 133"/>
                <a:gd name="T7" fmla="*/ 219 h 228"/>
                <a:gd name="T8" fmla="*/ 0 w 133"/>
                <a:gd name="T9" fmla="*/ 9 h 228"/>
                <a:gd name="T10" fmla="*/ 8 w 133"/>
                <a:gd name="T11" fmla="*/ 0 h 228"/>
                <a:gd name="T12" fmla="*/ 124 w 133"/>
                <a:gd name="T13" fmla="*/ 0 h 228"/>
                <a:gd name="T14" fmla="*/ 133 w 133"/>
                <a:gd name="T15" fmla="*/ 9 h 228"/>
                <a:gd name="T16" fmla="*/ 133 w 133"/>
                <a:gd name="T17" fmla="*/ 219 h 228"/>
                <a:gd name="T18" fmla="*/ 133 w 133"/>
                <a:gd name="T19" fmla="*/ 21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 h="228">
                  <a:moveTo>
                    <a:pt x="133" y="219"/>
                  </a:moveTo>
                  <a:cubicBezTo>
                    <a:pt x="133" y="224"/>
                    <a:pt x="129" y="228"/>
                    <a:pt x="124" y="228"/>
                  </a:cubicBezTo>
                  <a:cubicBezTo>
                    <a:pt x="8" y="228"/>
                    <a:pt x="8" y="228"/>
                    <a:pt x="8" y="228"/>
                  </a:cubicBezTo>
                  <a:cubicBezTo>
                    <a:pt x="4" y="228"/>
                    <a:pt x="0" y="224"/>
                    <a:pt x="0" y="219"/>
                  </a:cubicBezTo>
                  <a:cubicBezTo>
                    <a:pt x="0" y="9"/>
                    <a:pt x="0" y="9"/>
                    <a:pt x="0" y="9"/>
                  </a:cubicBezTo>
                  <a:cubicBezTo>
                    <a:pt x="0" y="4"/>
                    <a:pt x="4" y="0"/>
                    <a:pt x="8" y="0"/>
                  </a:cubicBezTo>
                  <a:cubicBezTo>
                    <a:pt x="124" y="0"/>
                    <a:pt x="124" y="0"/>
                    <a:pt x="124" y="0"/>
                  </a:cubicBezTo>
                  <a:cubicBezTo>
                    <a:pt x="129" y="0"/>
                    <a:pt x="133" y="4"/>
                    <a:pt x="133" y="9"/>
                  </a:cubicBezTo>
                  <a:cubicBezTo>
                    <a:pt x="133" y="219"/>
                    <a:pt x="133" y="219"/>
                    <a:pt x="133" y="219"/>
                  </a:cubicBezTo>
                  <a:cubicBezTo>
                    <a:pt x="133" y="219"/>
                    <a:pt x="133" y="219"/>
                    <a:pt x="133" y="219"/>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8" name="Freeform 46"/>
            <p:cNvSpPr>
              <a:spLocks/>
            </p:cNvSpPr>
            <p:nvPr/>
          </p:nvSpPr>
          <p:spPr bwMode="auto">
            <a:xfrm>
              <a:off x="5660" y="3356"/>
              <a:ext cx="256" cy="425"/>
            </a:xfrm>
            <a:custGeom>
              <a:avLst/>
              <a:gdLst>
                <a:gd name="T0" fmla="*/ 0 w 256"/>
                <a:gd name="T1" fmla="*/ 0 h 425"/>
                <a:gd name="T2" fmla="*/ 256 w 256"/>
                <a:gd name="T3" fmla="*/ 0 h 425"/>
                <a:gd name="T4" fmla="*/ 256 w 256"/>
                <a:gd name="T5" fmla="*/ 425 h 425"/>
                <a:gd name="T6" fmla="*/ 0 w 256"/>
                <a:gd name="T7" fmla="*/ 425 h 425"/>
                <a:gd name="T8" fmla="*/ 0 w 256"/>
                <a:gd name="T9" fmla="*/ 0 h 425"/>
                <a:gd name="T10" fmla="*/ 0 w 256"/>
                <a:gd name="T11" fmla="*/ 0 h 425"/>
              </a:gdLst>
              <a:ahLst/>
              <a:cxnLst>
                <a:cxn ang="0">
                  <a:pos x="T0" y="T1"/>
                </a:cxn>
                <a:cxn ang="0">
                  <a:pos x="T2" y="T3"/>
                </a:cxn>
                <a:cxn ang="0">
                  <a:pos x="T4" y="T5"/>
                </a:cxn>
                <a:cxn ang="0">
                  <a:pos x="T6" y="T7"/>
                </a:cxn>
                <a:cxn ang="0">
                  <a:pos x="T8" y="T9"/>
                </a:cxn>
                <a:cxn ang="0">
                  <a:pos x="T10" y="T11"/>
                </a:cxn>
              </a:cxnLst>
              <a:rect l="0" t="0" r="r" b="b"/>
              <a:pathLst>
                <a:path w="256" h="425">
                  <a:moveTo>
                    <a:pt x="0" y="0"/>
                  </a:moveTo>
                  <a:lnTo>
                    <a:pt x="256" y="0"/>
                  </a:lnTo>
                  <a:lnTo>
                    <a:pt x="256" y="425"/>
                  </a:lnTo>
                  <a:lnTo>
                    <a:pt x="0" y="425"/>
                  </a:lnTo>
                  <a:lnTo>
                    <a:pt x="0" y="0"/>
                  </a:lnTo>
                  <a:lnTo>
                    <a:pt x="0"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09" name="Freeform 47"/>
            <p:cNvSpPr>
              <a:spLocks/>
            </p:cNvSpPr>
            <p:nvPr/>
          </p:nvSpPr>
          <p:spPr bwMode="auto">
            <a:xfrm>
              <a:off x="5102" y="3489"/>
              <a:ext cx="705" cy="461"/>
            </a:xfrm>
            <a:custGeom>
              <a:avLst/>
              <a:gdLst>
                <a:gd name="T0" fmla="*/ 48 w 298"/>
                <a:gd name="T1" fmla="*/ 85 h 194"/>
                <a:gd name="T2" fmla="*/ 48 w 298"/>
                <a:gd name="T3" fmla="*/ 81 h 194"/>
                <a:gd name="T4" fmla="*/ 130 w 298"/>
                <a:gd name="T5" fmla="*/ 0 h 194"/>
                <a:gd name="T6" fmla="*/ 198 w 298"/>
                <a:gd name="T7" fmla="*/ 36 h 194"/>
                <a:gd name="T8" fmla="*/ 220 w 298"/>
                <a:gd name="T9" fmla="*/ 30 h 194"/>
                <a:gd name="T10" fmla="*/ 247 w 298"/>
                <a:gd name="T11" fmla="*/ 38 h 194"/>
                <a:gd name="T12" fmla="*/ 268 w 298"/>
                <a:gd name="T13" fmla="*/ 76 h 194"/>
                <a:gd name="T14" fmla="*/ 298 w 298"/>
                <a:gd name="T15" fmla="*/ 130 h 194"/>
                <a:gd name="T16" fmla="*/ 240 w 298"/>
                <a:gd name="T17" fmla="*/ 194 h 194"/>
                <a:gd name="T18" fmla="*/ 233 w 298"/>
                <a:gd name="T19" fmla="*/ 194 h 194"/>
                <a:gd name="T20" fmla="*/ 226 w 298"/>
                <a:gd name="T21" fmla="*/ 194 h 194"/>
                <a:gd name="T22" fmla="*/ 92 w 298"/>
                <a:gd name="T23" fmla="*/ 194 h 194"/>
                <a:gd name="T24" fmla="*/ 90 w 298"/>
                <a:gd name="T25" fmla="*/ 194 h 194"/>
                <a:gd name="T26" fmla="*/ 86 w 298"/>
                <a:gd name="T27" fmla="*/ 194 h 194"/>
                <a:gd name="T28" fmla="*/ 77 w 298"/>
                <a:gd name="T29" fmla="*/ 194 h 194"/>
                <a:gd name="T30" fmla="*/ 55 w 298"/>
                <a:gd name="T31" fmla="*/ 194 h 194"/>
                <a:gd name="T32" fmla="*/ 0 w 298"/>
                <a:gd name="T33" fmla="*/ 139 h 194"/>
                <a:gd name="T34" fmla="*/ 48 w 298"/>
                <a:gd name="T35" fmla="*/ 8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8" h="194">
                  <a:moveTo>
                    <a:pt x="48" y="85"/>
                  </a:moveTo>
                  <a:cubicBezTo>
                    <a:pt x="48" y="84"/>
                    <a:pt x="48" y="82"/>
                    <a:pt x="48" y="81"/>
                  </a:cubicBezTo>
                  <a:cubicBezTo>
                    <a:pt x="48" y="36"/>
                    <a:pt x="84" y="0"/>
                    <a:pt x="130" y="0"/>
                  </a:cubicBezTo>
                  <a:cubicBezTo>
                    <a:pt x="158" y="0"/>
                    <a:pt x="183" y="14"/>
                    <a:pt x="198" y="36"/>
                  </a:cubicBezTo>
                  <a:cubicBezTo>
                    <a:pt x="205" y="32"/>
                    <a:pt x="212" y="30"/>
                    <a:pt x="220" y="30"/>
                  </a:cubicBezTo>
                  <a:cubicBezTo>
                    <a:pt x="230" y="30"/>
                    <a:pt x="239" y="33"/>
                    <a:pt x="247" y="38"/>
                  </a:cubicBezTo>
                  <a:cubicBezTo>
                    <a:pt x="259" y="46"/>
                    <a:pt x="268" y="60"/>
                    <a:pt x="268" y="76"/>
                  </a:cubicBezTo>
                  <a:cubicBezTo>
                    <a:pt x="286" y="88"/>
                    <a:pt x="298" y="108"/>
                    <a:pt x="298" y="130"/>
                  </a:cubicBezTo>
                  <a:cubicBezTo>
                    <a:pt x="298" y="163"/>
                    <a:pt x="272" y="191"/>
                    <a:pt x="240" y="194"/>
                  </a:cubicBezTo>
                  <a:cubicBezTo>
                    <a:pt x="238" y="194"/>
                    <a:pt x="235" y="194"/>
                    <a:pt x="233" y="194"/>
                  </a:cubicBezTo>
                  <a:cubicBezTo>
                    <a:pt x="231" y="194"/>
                    <a:pt x="229" y="194"/>
                    <a:pt x="226" y="194"/>
                  </a:cubicBezTo>
                  <a:cubicBezTo>
                    <a:pt x="196" y="194"/>
                    <a:pt x="126" y="194"/>
                    <a:pt x="92" y="194"/>
                  </a:cubicBezTo>
                  <a:cubicBezTo>
                    <a:pt x="91" y="194"/>
                    <a:pt x="91" y="194"/>
                    <a:pt x="90" y="194"/>
                  </a:cubicBezTo>
                  <a:cubicBezTo>
                    <a:pt x="86" y="194"/>
                    <a:pt x="86" y="194"/>
                    <a:pt x="86" y="194"/>
                  </a:cubicBezTo>
                  <a:cubicBezTo>
                    <a:pt x="85" y="194"/>
                    <a:pt x="80" y="194"/>
                    <a:pt x="77" y="194"/>
                  </a:cubicBezTo>
                  <a:cubicBezTo>
                    <a:pt x="55" y="194"/>
                    <a:pt x="55" y="194"/>
                    <a:pt x="55" y="194"/>
                  </a:cubicBezTo>
                  <a:cubicBezTo>
                    <a:pt x="25" y="194"/>
                    <a:pt x="0" y="169"/>
                    <a:pt x="0" y="139"/>
                  </a:cubicBezTo>
                  <a:cubicBezTo>
                    <a:pt x="0" y="112"/>
                    <a:pt x="21" y="89"/>
                    <a:pt x="48" y="85"/>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0" name="Freeform 48"/>
            <p:cNvSpPr>
              <a:spLocks/>
            </p:cNvSpPr>
            <p:nvPr/>
          </p:nvSpPr>
          <p:spPr bwMode="auto">
            <a:xfrm>
              <a:off x="5173" y="3406"/>
              <a:ext cx="293" cy="192"/>
            </a:xfrm>
            <a:custGeom>
              <a:avLst/>
              <a:gdLst>
                <a:gd name="T0" fmla="*/ 20 w 124"/>
                <a:gd name="T1" fmla="*/ 35 h 81"/>
                <a:gd name="T2" fmla="*/ 20 w 124"/>
                <a:gd name="T3" fmla="*/ 34 h 81"/>
                <a:gd name="T4" fmla="*/ 54 w 124"/>
                <a:gd name="T5" fmla="*/ 0 h 81"/>
                <a:gd name="T6" fmla="*/ 82 w 124"/>
                <a:gd name="T7" fmla="*/ 15 h 81"/>
                <a:gd name="T8" fmla="*/ 92 w 124"/>
                <a:gd name="T9" fmla="*/ 12 h 81"/>
                <a:gd name="T10" fmla="*/ 103 w 124"/>
                <a:gd name="T11" fmla="*/ 16 h 81"/>
                <a:gd name="T12" fmla="*/ 112 w 124"/>
                <a:gd name="T13" fmla="*/ 32 h 81"/>
                <a:gd name="T14" fmla="*/ 124 w 124"/>
                <a:gd name="T15" fmla="*/ 54 h 81"/>
                <a:gd name="T16" fmla="*/ 100 w 124"/>
                <a:gd name="T17" fmla="*/ 81 h 81"/>
                <a:gd name="T18" fmla="*/ 97 w 124"/>
                <a:gd name="T19" fmla="*/ 81 h 81"/>
                <a:gd name="T20" fmla="*/ 94 w 124"/>
                <a:gd name="T21" fmla="*/ 81 h 81"/>
                <a:gd name="T22" fmla="*/ 38 w 124"/>
                <a:gd name="T23" fmla="*/ 81 h 81"/>
                <a:gd name="T24" fmla="*/ 37 w 124"/>
                <a:gd name="T25" fmla="*/ 81 h 81"/>
                <a:gd name="T26" fmla="*/ 36 w 124"/>
                <a:gd name="T27" fmla="*/ 81 h 81"/>
                <a:gd name="T28" fmla="*/ 32 w 124"/>
                <a:gd name="T29" fmla="*/ 81 h 81"/>
                <a:gd name="T30" fmla="*/ 23 w 124"/>
                <a:gd name="T31" fmla="*/ 81 h 81"/>
                <a:gd name="T32" fmla="*/ 0 w 124"/>
                <a:gd name="T33" fmla="*/ 58 h 81"/>
                <a:gd name="T34" fmla="*/ 20 w 124"/>
                <a:gd name="T35" fmla="*/ 35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4" h="81">
                  <a:moveTo>
                    <a:pt x="20" y="35"/>
                  </a:moveTo>
                  <a:cubicBezTo>
                    <a:pt x="20" y="35"/>
                    <a:pt x="20" y="34"/>
                    <a:pt x="20" y="34"/>
                  </a:cubicBezTo>
                  <a:cubicBezTo>
                    <a:pt x="20" y="15"/>
                    <a:pt x="35" y="0"/>
                    <a:pt x="54" y="0"/>
                  </a:cubicBezTo>
                  <a:cubicBezTo>
                    <a:pt x="66" y="0"/>
                    <a:pt x="76" y="6"/>
                    <a:pt x="82" y="15"/>
                  </a:cubicBezTo>
                  <a:cubicBezTo>
                    <a:pt x="85" y="13"/>
                    <a:pt x="88" y="12"/>
                    <a:pt x="92" y="12"/>
                  </a:cubicBezTo>
                  <a:cubicBezTo>
                    <a:pt x="96" y="12"/>
                    <a:pt x="100" y="14"/>
                    <a:pt x="103" y="16"/>
                  </a:cubicBezTo>
                  <a:cubicBezTo>
                    <a:pt x="108" y="19"/>
                    <a:pt x="111" y="25"/>
                    <a:pt x="112" y="32"/>
                  </a:cubicBezTo>
                  <a:cubicBezTo>
                    <a:pt x="119" y="36"/>
                    <a:pt x="124" y="45"/>
                    <a:pt x="124" y="54"/>
                  </a:cubicBezTo>
                  <a:cubicBezTo>
                    <a:pt x="124" y="68"/>
                    <a:pt x="113" y="79"/>
                    <a:pt x="100" y="81"/>
                  </a:cubicBezTo>
                  <a:cubicBezTo>
                    <a:pt x="99" y="81"/>
                    <a:pt x="98" y="81"/>
                    <a:pt x="97" y="81"/>
                  </a:cubicBezTo>
                  <a:cubicBezTo>
                    <a:pt x="96" y="81"/>
                    <a:pt x="95" y="81"/>
                    <a:pt x="94" y="81"/>
                  </a:cubicBezTo>
                  <a:cubicBezTo>
                    <a:pt x="82" y="81"/>
                    <a:pt x="52" y="81"/>
                    <a:pt x="38" y="81"/>
                  </a:cubicBezTo>
                  <a:cubicBezTo>
                    <a:pt x="38" y="81"/>
                    <a:pt x="38" y="81"/>
                    <a:pt x="37" y="81"/>
                  </a:cubicBezTo>
                  <a:cubicBezTo>
                    <a:pt x="36" y="81"/>
                    <a:pt x="36" y="81"/>
                    <a:pt x="36" y="81"/>
                  </a:cubicBezTo>
                  <a:cubicBezTo>
                    <a:pt x="35" y="81"/>
                    <a:pt x="33" y="81"/>
                    <a:pt x="32" y="81"/>
                  </a:cubicBezTo>
                  <a:cubicBezTo>
                    <a:pt x="23" y="81"/>
                    <a:pt x="23" y="81"/>
                    <a:pt x="23" y="81"/>
                  </a:cubicBezTo>
                  <a:cubicBezTo>
                    <a:pt x="10" y="81"/>
                    <a:pt x="0" y="70"/>
                    <a:pt x="0" y="58"/>
                  </a:cubicBezTo>
                  <a:cubicBezTo>
                    <a:pt x="0" y="46"/>
                    <a:pt x="8" y="37"/>
                    <a:pt x="20" y="35"/>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1" name="Freeform 49"/>
            <p:cNvSpPr>
              <a:spLocks/>
            </p:cNvSpPr>
            <p:nvPr/>
          </p:nvSpPr>
          <p:spPr bwMode="auto">
            <a:xfrm>
              <a:off x="5589" y="4061"/>
              <a:ext cx="235" cy="195"/>
            </a:xfrm>
            <a:custGeom>
              <a:avLst/>
              <a:gdLst>
                <a:gd name="T0" fmla="*/ 0 w 235"/>
                <a:gd name="T1" fmla="*/ 195 h 195"/>
                <a:gd name="T2" fmla="*/ 235 w 235"/>
                <a:gd name="T3" fmla="*/ 0 h 195"/>
                <a:gd name="T4" fmla="*/ 0 w 235"/>
                <a:gd name="T5" fmla="*/ 0 h 195"/>
                <a:gd name="T6" fmla="*/ 0 w 235"/>
                <a:gd name="T7" fmla="*/ 195 h 195"/>
              </a:gdLst>
              <a:ahLst/>
              <a:cxnLst>
                <a:cxn ang="0">
                  <a:pos x="T0" y="T1"/>
                </a:cxn>
                <a:cxn ang="0">
                  <a:pos x="T2" y="T3"/>
                </a:cxn>
                <a:cxn ang="0">
                  <a:pos x="T4" y="T5"/>
                </a:cxn>
                <a:cxn ang="0">
                  <a:pos x="T6" y="T7"/>
                </a:cxn>
              </a:cxnLst>
              <a:rect l="0" t="0" r="r" b="b"/>
              <a:pathLst>
                <a:path w="235" h="195">
                  <a:moveTo>
                    <a:pt x="0" y="195"/>
                  </a:moveTo>
                  <a:lnTo>
                    <a:pt x="235" y="0"/>
                  </a:lnTo>
                  <a:lnTo>
                    <a:pt x="0" y="0"/>
                  </a:lnTo>
                  <a:lnTo>
                    <a:pt x="0" y="195"/>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2" name="Freeform 50"/>
            <p:cNvSpPr>
              <a:spLocks/>
            </p:cNvSpPr>
            <p:nvPr/>
          </p:nvSpPr>
          <p:spPr bwMode="auto">
            <a:xfrm>
              <a:off x="4917" y="3793"/>
              <a:ext cx="656" cy="411"/>
            </a:xfrm>
            <a:custGeom>
              <a:avLst/>
              <a:gdLst>
                <a:gd name="T0" fmla="*/ 0 w 656"/>
                <a:gd name="T1" fmla="*/ 0 h 411"/>
                <a:gd name="T2" fmla="*/ 656 w 656"/>
                <a:gd name="T3" fmla="*/ 0 h 411"/>
                <a:gd name="T4" fmla="*/ 656 w 656"/>
                <a:gd name="T5" fmla="*/ 411 h 411"/>
                <a:gd name="T6" fmla="*/ 0 w 656"/>
                <a:gd name="T7" fmla="*/ 411 h 411"/>
                <a:gd name="T8" fmla="*/ 0 w 656"/>
                <a:gd name="T9" fmla="*/ 0 h 411"/>
                <a:gd name="T10" fmla="*/ 0 w 656"/>
                <a:gd name="T11" fmla="*/ 0 h 411"/>
              </a:gdLst>
              <a:ahLst/>
              <a:cxnLst>
                <a:cxn ang="0">
                  <a:pos x="T0" y="T1"/>
                </a:cxn>
                <a:cxn ang="0">
                  <a:pos x="T2" y="T3"/>
                </a:cxn>
                <a:cxn ang="0">
                  <a:pos x="T4" y="T5"/>
                </a:cxn>
                <a:cxn ang="0">
                  <a:pos x="T6" y="T7"/>
                </a:cxn>
                <a:cxn ang="0">
                  <a:pos x="T8" y="T9"/>
                </a:cxn>
                <a:cxn ang="0">
                  <a:pos x="T10" y="T11"/>
                </a:cxn>
              </a:cxnLst>
              <a:rect l="0" t="0" r="r" b="b"/>
              <a:pathLst>
                <a:path w="656" h="411">
                  <a:moveTo>
                    <a:pt x="0" y="0"/>
                  </a:moveTo>
                  <a:lnTo>
                    <a:pt x="656" y="0"/>
                  </a:lnTo>
                  <a:lnTo>
                    <a:pt x="656" y="411"/>
                  </a:lnTo>
                  <a:lnTo>
                    <a:pt x="0" y="411"/>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3" name="Freeform 51"/>
            <p:cNvSpPr>
              <a:spLocks noEditPoints="1"/>
            </p:cNvSpPr>
            <p:nvPr/>
          </p:nvSpPr>
          <p:spPr bwMode="auto">
            <a:xfrm>
              <a:off x="4766" y="3772"/>
              <a:ext cx="953" cy="515"/>
            </a:xfrm>
            <a:custGeom>
              <a:avLst/>
              <a:gdLst>
                <a:gd name="T0" fmla="*/ 343 w 403"/>
                <a:gd name="T1" fmla="*/ 193 h 217"/>
                <a:gd name="T2" fmla="*/ 353 w 403"/>
                <a:gd name="T3" fmla="*/ 183 h 217"/>
                <a:gd name="T4" fmla="*/ 353 w 403"/>
                <a:gd name="T5" fmla="*/ 10 h 217"/>
                <a:gd name="T6" fmla="*/ 343 w 403"/>
                <a:gd name="T7" fmla="*/ 0 h 217"/>
                <a:gd name="T8" fmla="*/ 61 w 403"/>
                <a:gd name="T9" fmla="*/ 0 h 217"/>
                <a:gd name="T10" fmla="*/ 51 w 403"/>
                <a:gd name="T11" fmla="*/ 10 h 217"/>
                <a:gd name="T12" fmla="*/ 51 w 403"/>
                <a:gd name="T13" fmla="*/ 183 h 217"/>
                <a:gd name="T14" fmla="*/ 61 w 403"/>
                <a:gd name="T15" fmla="*/ 193 h 217"/>
                <a:gd name="T16" fmla="*/ 0 w 403"/>
                <a:gd name="T17" fmla="*/ 193 h 217"/>
                <a:gd name="T18" fmla="*/ 0 w 403"/>
                <a:gd name="T19" fmla="*/ 200 h 217"/>
                <a:gd name="T20" fmla="*/ 0 w 403"/>
                <a:gd name="T21" fmla="*/ 208 h 217"/>
                <a:gd name="T22" fmla="*/ 0 w 403"/>
                <a:gd name="T23" fmla="*/ 209 h 217"/>
                <a:gd name="T24" fmla="*/ 0 w 403"/>
                <a:gd name="T25" fmla="*/ 209 h 217"/>
                <a:gd name="T26" fmla="*/ 0 w 403"/>
                <a:gd name="T27" fmla="*/ 209 h 217"/>
                <a:gd name="T28" fmla="*/ 0 w 403"/>
                <a:gd name="T29" fmla="*/ 210 h 217"/>
                <a:gd name="T30" fmla="*/ 8 w 403"/>
                <a:gd name="T31" fmla="*/ 217 h 217"/>
                <a:gd name="T32" fmla="*/ 395 w 403"/>
                <a:gd name="T33" fmla="*/ 217 h 217"/>
                <a:gd name="T34" fmla="*/ 403 w 403"/>
                <a:gd name="T35" fmla="*/ 211 h 217"/>
                <a:gd name="T36" fmla="*/ 403 w 403"/>
                <a:gd name="T37" fmla="*/ 210 h 217"/>
                <a:gd name="T38" fmla="*/ 403 w 403"/>
                <a:gd name="T39" fmla="*/ 200 h 217"/>
                <a:gd name="T40" fmla="*/ 403 w 403"/>
                <a:gd name="T41" fmla="*/ 193 h 217"/>
                <a:gd name="T42" fmla="*/ 343 w 403"/>
                <a:gd name="T43" fmla="*/ 193 h 217"/>
                <a:gd name="T44" fmla="*/ 64 w 403"/>
                <a:gd name="T45" fmla="*/ 11 h 217"/>
                <a:gd name="T46" fmla="*/ 340 w 403"/>
                <a:gd name="T47" fmla="*/ 11 h 217"/>
                <a:gd name="T48" fmla="*/ 340 w 403"/>
                <a:gd name="T49" fmla="*/ 181 h 217"/>
                <a:gd name="T50" fmla="*/ 64 w 403"/>
                <a:gd name="T51" fmla="*/ 181 h 217"/>
                <a:gd name="T52" fmla="*/ 64 w 403"/>
                <a:gd name="T53" fmla="*/ 11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03" h="217">
                  <a:moveTo>
                    <a:pt x="343" y="193"/>
                  </a:moveTo>
                  <a:cubicBezTo>
                    <a:pt x="349" y="193"/>
                    <a:pt x="353" y="189"/>
                    <a:pt x="353" y="183"/>
                  </a:cubicBezTo>
                  <a:cubicBezTo>
                    <a:pt x="353" y="10"/>
                    <a:pt x="353" y="10"/>
                    <a:pt x="353" y="10"/>
                  </a:cubicBezTo>
                  <a:cubicBezTo>
                    <a:pt x="353" y="4"/>
                    <a:pt x="349" y="0"/>
                    <a:pt x="343" y="0"/>
                  </a:cubicBezTo>
                  <a:cubicBezTo>
                    <a:pt x="61" y="0"/>
                    <a:pt x="61" y="0"/>
                    <a:pt x="61" y="0"/>
                  </a:cubicBezTo>
                  <a:cubicBezTo>
                    <a:pt x="56" y="0"/>
                    <a:pt x="51" y="4"/>
                    <a:pt x="51" y="10"/>
                  </a:cubicBezTo>
                  <a:cubicBezTo>
                    <a:pt x="51" y="183"/>
                    <a:pt x="51" y="183"/>
                    <a:pt x="51" y="183"/>
                  </a:cubicBezTo>
                  <a:cubicBezTo>
                    <a:pt x="51" y="189"/>
                    <a:pt x="56" y="193"/>
                    <a:pt x="61" y="193"/>
                  </a:cubicBezTo>
                  <a:cubicBezTo>
                    <a:pt x="0" y="193"/>
                    <a:pt x="0" y="193"/>
                    <a:pt x="0" y="193"/>
                  </a:cubicBezTo>
                  <a:cubicBezTo>
                    <a:pt x="0" y="200"/>
                    <a:pt x="0" y="200"/>
                    <a:pt x="0" y="200"/>
                  </a:cubicBezTo>
                  <a:cubicBezTo>
                    <a:pt x="0" y="208"/>
                    <a:pt x="0" y="208"/>
                    <a:pt x="0" y="208"/>
                  </a:cubicBezTo>
                  <a:cubicBezTo>
                    <a:pt x="0" y="209"/>
                    <a:pt x="0" y="209"/>
                    <a:pt x="0" y="209"/>
                  </a:cubicBezTo>
                  <a:cubicBezTo>
                    <a:pt x="0" y="209"/>
                    <a:pt x="0" y="209"/>
                    <a:pt x="0" y="209"/>
                  </a:cubicBezTo>
                  <a:cubicBezTo>
                    <a:pt x="0" y="209"/>
                    <a:pt x="0" y="209"/>
                    <a:pt x="0" y="209"/>
                  </a:cubicBezTo>
                  <a:cubicBezTo>
                    <a:pt x="0" y="210"/>
                    <a:pt x="0" y="210"/>
                    <a:pt x="0" y="210"/>
                  </a:cubicBezTo>
                  <a:cubicBezTo>
                    <a:pt x="0" y="214"/>
                    <a:pt x="4" y="217"/>
                    <a:pt x="8" y="217"/>
                  </a:cubicBezTo>
                  <a:cubicBezTo>
                    <a:pt x="395" y="217"/>
                    <a:pt x="395" y="217"/>
                    <a:pt x="395" y="217"/>
                  </a:cubicBezTo>
                  <a:cubicBezTo>
                    <a:pt x="399" y="217"/>
                    <a:pt x="402" y="214"/>
                    <a:pt x="403" y="211"/>
                  </a:cubicBezTo>
                  <a:cubicBezTo>
                    <a:pt x="403" y="210"/>
                    <a:pt x="403" y="210"/>
                    <a:pt x="403" y="210"/>
                  </a:cubicBezTo>
                  <a:cubicBezTo>
                    <a:pt x="403" y="200"/>
                    <a:pt x="403" y="200"/>
                    <a:pt x="403" y="200"/>
                  </a:cubicBezTo>
                  <a:cubicBezTo>
                    <a:pt x="403" y="193"/>
                    <a:pt x="403" y="193"/>
                    <a:pt x="403" y="193"/>
                  </a:cubicBezTo>
                  <a:lnTo>
                    <a:pt x="343" y="193"/>
                  </a:lnTo>
                  <a:close/>
                  <a:moveTo>
                    <a:pt x="64" y="11"/>
                  </a:moveTo>
                  <a:cubicBezTo>
                    <a:pt x="340" y="11"/>
                    <a:pt x="340" y="11"/>
                    <a:pt x="340" y="11"/>
                  </a:cubicBezTo>
                  <a:cubicBezTo>
                    <a:pt x="340" y="181"/>
                    <a:pt x="340" y="181"/>
                    <a:pt x="340" y="181"/>
                  </a:cubicBezTo>
                  <a:cubicBezTo>
                    <a:pt x="64" y="181"/>
                    <a:pt x="64" y="181"/>
                    <a:pt x="64" y="181"/>
                  </a:cubicBezTo>
                  <a:cubicBezTo>
                    <a:pt x="64" y="11"/>
                    <a:pt x="64" y="11"/>
                    <a:pt x="64" y="11"/>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4" name="Rectangle 52"/>
            <p:cNvSpPr>
              <a:spLocks noChangeArrowheads="1"/>
            </p:cNvSpPr>
            <p:nvPr/>
          </p:nvSpPr>
          <p:spPr bwMode="auto">
            <a:xfrm>
              <a:off x="6779" y="2915"/>
              <a:ext cx="871" cy="3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
        <p:nvSpPr>
          <p:cNvPr id="3" name="TextBox 2"/>
          <p:cNvSpPr txBox="1"/>
          <p:nvPr/>
        </p:nvSpPr>
        <p:spPr>
          <a:xfrm>
            <a:off x="247905" y="4330030"/>
            <a:ext cx="12696625" cy="1975926"/>
          </a:xfrm>
          <a:prstGeom prst="rect">
            <a:avLst/>
          </a:prstGeom>
          <a:noFill/>
        </p:spPr>
        <p:txBody>
          <a:bodyPr wrap="square" rtlCol="0">
            <a:spAutoFit/>
          </a:bodyPr>
          <a:lstStyle/>
          <a:p>
            <a:pPr>
              <a:lnSpc>
                <a:spcPct val="85000"/>
              </a:lnSpc>
            </a:pPr>
            <a:r>
              <a:rPr lang="en-US" sz="7200" spc="-100" dirty="0" smtClean="0">
                <a:solidFill>
                  <a:schemeClr val="bg1"/>
                </a:solidFill>
                <a:latin typeface="Segoe UI Bold" panose="020B0802040204020203" pitchFamily="34" charset="0"/>
                <a:ea typeface="Segoe UI Bold" panose="020B0802040204020203" pitchFamily="34" charset="0"/>
                <a:cs typeface="Segoe UI Bold" panose="020B0802040204020203" pitchFamily="34" charset="0"/>
              </a:rPr>
              <a:t>Office when &amp; where</a:t>
            </a:r>
          </a:p>
          <a:p>
            <a:pPr>
              <a:lnSpc>
                <a:spcPct val="85000"/>
              </a:lnSpc>
            </a:pPr>
            <a:r>
              <a:rPr lang="en-US" sz="7200" spc="-100" dirty="0" smtClean="0">
                <a:solidFill>
                  <a:schemeClr val="bg1"/>
                </a:solidFill>
                <a:latin typeface="Segoe UI Bold" panose="020B0802040204020203" pitchFamily="34" charset="0"/>
                <a:ea typeface="Segoe UI Bold" panose="020B0802040204020203" pitchFamily="34" charset="0"/>
                <a:cs typeface="Segoe UI Bold" panose="020B0802040204020203" pitchFamily="34" charset="0"/>
              </a:rPr>
              <a:t> you need it</a:t>
            </a:r>
          </a:p>
        </p:txBody>
      </p:sp>
    </p:spTree>
    <p:extLst>
      <p:ext uri="{BB962C8B-B14F-4D97-AF65-F5344CB8AC3E}">
        <p14:creationId xmlns:p14="http://schemas.microsoft.com/office/powerpoint/2010/main" val="2710332838"/>
      </p:ext>
    </p:extLst>
  </p:cSld>
  <p:clrMapOvr>
    <a:masterClrMapping/>
  </p:clrMapOvr>
  <mc:AlternateContent xmlns:mc="http://schemas.openxmlformats.org/markup-compatibility/2006">
    <mc:Choice xmlns:p14="http://schemas.microsoft.com/office/powerpoint/2010/main" Requires="p14">
      <p:transition spd="slow" p14:dur="1250">
        <p14:switch dir="r"/>
      </p:transition>
    </mc:Choice>
    <mc:Fallback>
      <p:transition spd="slow">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idx="1"/>
          </p:nvPr>
        </p:nvSpPr>
        <p:spPr/>
        <p:txBody>
          <a:bodyPr/>
          <a:lstStyle/>
          <a:p>
            <a:r>
              <a:rPr lang="en-US" b="1" spc="-150" dirty="0" smtClean="0">
                <a:latin typeface="Segoe UI Semibold" panose="020B0702040204020203" pitchFamily="34" charset="0"/>
              </a:rPr>
              <a:t>Your Office apps anywhere</a:t>
            </a:r>
            <a:endParaRPr lang="en-US" b="1" spc="-150" dirty="0">
              <a:latin typeface="Segoe UI Semibold" panose="020B0702040204020203" pitchFamily="34" charset="0"/>
            </a:endParaRPr>
          </a:p>
        </p:txBody>
      </p:sp>
      <p:sp>
        <p:nvSpPr>
          <p:cNvPr id="6" name="Text Placeholder 5"/>
          <p:cNvSpPr>
            <a:spLocks noGrp="1"/>
          </p:cNvSpPr>
          <p:nvPr>
            <p:ph type="body" sz="quarter" idx="10"/>
          </p:nvPr>
        </p:nvSpPr>
        <p:spPr/>
        <p:txBody>
          <a:bodyPr/>
          <a:lstStyle/>
          <a:p>
            <a:pPr fontAlgn="ctr"/>
            <a:r>
              <a:rPr lang="en-US" sz="1800" dirty="0"/>
              <a:t>I</a:t>
            </a:r>
            <a:r>
              <a:rPr lang="en-US" sz="1800" dirty="0" smtClean="0"/>
              <a:t>nstall </a:t>
            </a:r>
            <a:r>
              <a:rPr lang="en-US" sz="1800" dirty="0"/>
              <a:t>the full Office desktop applications </a:t>
            </a:r>
            <a:r>
              <a:rPr lang="en-US" sz="1800" dirty="0" smtClean="0"/>
              <a:t>on </a:t>
            </a:r>
            <a:r>
              <a:rPr lang="en-US" sz="1800" dirty="0"/>
              <a:t>up to 5 PCs/Macs and 5 mobile devices or Windows tablets and iPads® </a:t>
            </a:r>
            <a:endParaRPr lang="en-US" sz="1800" dirty="0" smtClean="0"/>
          </a:p>
          <a:p>
            <a:pPr fontAlgn="ctr"/>
            <a:r>
              <a:rPr lang="en-US" sz="1800" dirty="0" smtClean="0"/>
              <a:t>Be </a:t>
            </a:r>
            <a:r>
              <a:rPr lang="en-US" sz="1800" dirty="0"/>
              <a:t>more productive with one consistent, device optimized experience</a:t>
            </a:r>
          </a:p>
          <a:p>
            <a:pPr fontAlgn="ctr"/>
            <a:r>
              <a:rPr lang="en-US" sz="1800" dirty="0" smtClean="0"/>
              <a:t>Meet </a:t>
            </a:r>
            <a:r>
              <a:rPr lang="en-US" sz="1800" dirty="0"/>
              <a:t>all working styles with an intuitive touch and mobile experience across smartphones and </a:t>
            </a:r>
            <a:r>
              <a:rPr lang="en-US" sz="1800" dirty="0" smtClean="0"/>
              <a:t>tablets</a:t>
            </a:r>
            <a:endParaRPr lang="en-US" sz="1800" dirty="0"/>
          </a:p>
          <a:p>
            <a:pPr fontAlgn="ctr"/>
            <a:endParaRPr lang="en-US" sz="1800" dirty="0"/>
          </a:p>
        </p:txBody>
      </p:sp>
      <p:sp>
        <p:nvSpPr>
          <p:cNvPr id="10" name="Freeform 21"/>
          <p:cNvSpPr>
            <a:spLocks/>
          </p:cNvSpPr>
          <p:nvPr/>
        </p:nvSpPr>
        <p:spPr bwMode="auto">
          <a:xfrm>
            <a:off x="11608020" y="4338504"/>
            <a:ext cx="1662427" cy="2617756"/>
          </a:xfrm>
          <a:custGeom>
            <a:avLst/>
            <a:gdLst>
              <a:gd name="T0" fmla="*/ 187 w 187"/>
              <a:gd name="T1" fmla="*/ 6 h 293"/>
              <a:gd name="T2" fmla="*/ 167 w 187"/>
              <a:gd name="T3" fmla="*/ 0 h 293"/>
              <a:gd name="T4" fmla="*/ 24 w 187"/>
              <a:gd name="T5" fmla="*/ 293 h 293"/>
              <a:gd name="T6" fmla="*/ 67 w 187"/>
              <a:gd name="T7" fmla="*/ 293 h 293"/>
              <a:gd name="T8" fmla="*/ 187 w 187"/>
              <a:gd name="T9" fmla="*/ 6 h 293"/>
            </a:gdLst>
            <a:ahLst/>
            <a:cxnLst>
              <a:cxn ang="0">
                <a:pos x="T0" y="T1"/>
              </a:cxn>
              <a:cxn ang="0">
                <a:pos x="T2" y="T3"/>
              </a:cxn>
              <a:cxn ang="0">
                <a:pos x="T4" y="T5"/>
              </a:cxn>
              <a:cxn ang="0">
                <a:pos x="T6" y="T7"/>
              </a:cxn>
              <a:cxn ang="0">
                <a:pos x="T8" y="T9"/>
              </a:cxn>
            </a:cxnLst>
            <a:rect l="0" t="0" r="r" b="b"/>
            <a:pathLst>
              <a:path w="187" h="293">
                <a:moveTo>
                  <a:pt x="187" y="6"/>
                </a:moveTo>
                <a:cubicBezTo>
                  <a:pt x="181" y="4"/>
                  <a:pt x="174" y="2"/>
                  <a:pt x="167" y="0"/>
                </a:cubicBezTo>
                <a:cubicBezTo>
                  <a:pt x="159" y="7"/>
                  <a:pt x="0" y="133"/>
                  <a:pt x="24" y="293"/>
                </a:cubicBezTo>
                <a:cubicBezTo>
                  <a:pt x="67" y="293"/>
                  <a:pt x="67" y="293"/>
                  <a:pt x="67" y="293"/>
                </a:cubicBezTo>
                <a:cubicBezTo>
                  <a:pt x="35" y="129"/>
                  <a:pt x="187" y="6"/>
                  <a:pt x="187" y="6"/>
                </a:cubicBezTo>
                <a:close/>
              </a:path>
            </a:pathLst>
          </a:custGeom>
          <a:solidFill>
            <a:srgbClr val="E8E8E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47" name="Rectangle 46"/>
          <p:cNvSpPr/>
          <p:nvPr/>
        </p:nvSpPr>
        <p:spPr>
          <a:xfrm>
            <a:off x="8278039" y="702621"/>
            <a:ext cx="3526928" cy="646331"/>
          </a:xfrm>
          <a:prstGeom prst="rect">
            <a:avLst/>
          </a:prstGeom>
        </p:spPr>
        <p:txBody>
          <a:bodyPr wrap="none">
            <a:spAutoFit/>
          </a:bodyPr>
          <a:lstStyle/>
          <a:p>
            <a:pPr lvl="0">
              <a:spcBef>
                <a:spcPts val="600"/>
              </a:spcBef>
              <a:spcAft>
                <a:spcPts val="1000"/>
              </a:spcAft>
            </a:pPr>
            <a:r>
              <a:rPr lang="en-US" sz="1800" dirty="0">
                <a:solidFill>
                  <a:srgbClr val="4B0045"/>
                </a:solidFill>
                <a:latin typeface="Segoe UI" panose="020B0502040204020203" pitchFamily="34" charset="0"/>
                <a:ea typeface="Segoe UI" panose="020B0502040204020203" pitchFamily="34" charset="0"/>
                <a:cs typeface="Segoe UI" panose="020B0502040204020203" pitchFamily="34" charset="0"/>
              </a:rPr>
              <a:t>Quickly access, manage, and </a:t>
            </a:r>
            <a:r>
              <a:rPr lang="en-US" sz="1800" dirty="0" smtClean="0">
                <a:solidFill>
                  <a:srgbClr val="4B0045"/>
                </a:solidFill>
                <a:latin typeface="Segoe UI" panose="020B0502040204020203" pitchFamily="34" charset="0"/>
                <a:ea typeface="Segoe UI" panose="020B0502040204020203" pitchFamily="34" charset="0"/>
                <a:cs typeface="Segoe UI" panose="020B0502040204020203" pitchFamily="34" charset="0"/>
              </a:rPr>
              <a:t>edit</a:t>
            </a:r>
            <a:br>
              <a:rPr lang="en-US" sz="1800" dirty="0" smtClean="0">
                <a:solidFill>
                  <a:srgbClr val="4B0045"/>
                </a:solidFill>
                <a:latin typeface="Segoe UI" panose="020B0502040204020203" pitchFamily="34" charset="0"/>
                <a:ea typeface="Segoe UI" panose="020B0502040204020203" pitchFamily="34" charset="0"/>
                <a:cs typeface="Segoe UI" panose="020B0502040204020203" pitchFamily="34" charset="0"/>
              </a:rPr>
            </a:br>
            <a:r>
              <a:rPr lang="en-US" sz="1800" dirty="0" smtClean="0">
                <a:solidFill>
                  <a:srgbClr val="4B0045"/>
                </a:solidFill>
                <a:latin typeface="Segoe UI" panose="020B0502040204020203" pitchFamily="34" charset="0"/>
                <a:ea typeface="Segoe UI" panose="020B0502040204020203" pitchFamily="34" charset="0"/>
                <a:cs typeface="Segoe UI" panose="020B0502040204020203" pitchFamily="34" charset="0"/>
              </a:rPr>
              <a:t>all </a:t>
            </a:r>
            <a:r>
              <a:rPr lang="en-US" sz="1800" dirty="0">
                <a:solidFill>
                  <a:srgbClr val="4B0045"/>
                </a:solidFill>
                <a:latin typeface="Segoe UI" panose="020B0502040204020203" pitchFamily="34" charset="0"/>
                <a:ea typeface="Segoe UI" panose="020B0502040204020203" pitchFamily="34" charset="0"/>
                <a:cs typeface="Segoe UI" panose="020B0502040204020203" pitchFamily="34" charset="0"/>
              </a:rPr>
              <a:t>your documents online </a:t>
            </a:r>
          </a:p>
        </p:txBody>
      </p:sp>
      <p:sp>
        <p:nvSpPr>
          <p:cNvPr id="2" name="Rectangle 1"/>
          <p:cNvSpPr/>
          <p:nvPr/>
        </p:nvSpPr>
        <p:spPr bwMode="auto">
          <a:xfrm>
            <a:off x="6623339" y="1345971"/>
            <a:ext cx="1004281" cy="1518739"/>
          </a:xfrm>
          <a:prstGeom prst="rect">
            <a:avLst/>
          </a:prstGeom>
          <a:solidFill>
            <a:srgbClr val="00723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3" name="Group 2"/>
          <p:cNvGrpSpPr/>
          <p:nvPr/>
        </p:nvGrpSpPr>
        <p:grpSpPr>
          <a:xfrm>
            <a:off x="4707618" y="324155"/>
            <a:ext cx="8386054" cy="6636394"/>
            <a:chOff x="4707618" y="324155"/>
            <a:chExt cx="8386054" cy="6636394"/>
          </a:xfrm>
        </p:grpSpPr>
        <p:pic>
          <p:nvPicPr>
            <p:cNvPr id="7" name="Picture 6"/>
            <p:cNvPicPr>
              <a:picLocks noChangeAspect="1"/>
            </p:cNvPicPr>
            <p:nvPr/>
          </p:nvPicPr>
          <p:blipFill rotWithShape="1">
            <a:blip r:embed="rId3"/>
            <a:srcRect l="24199" r="32159"/>
            <a:stretch/>
          </p:blipFill>
          <p:spPr>
            <a:xfrm>
              <a:off x="4707618" y="4003733"/>
              <a:ext cx="7455353" cy="2956816"/>
            </a:xfrm>
            <a:prstGeom prst="rect">
              <a:avLst/>
            </a:prstGeom>
          </p:spPr>
        </p:pic>
        <p:sp>
          <p:nvSpPr>
            <p:cNvPr id="9" name="Freeform 20"/>
            <p:cNvSpPr>
              <a:spLocks/>
            </p:cNvSpPr>
            <p:nvPr/>
          </p:nvSpPr>
          <p:spPr bwMode="auto">
            <a:xfrm>
              <a:off x="6045286" y="4011286"/>
              <a:ext cx="5062501" cy="2944977"/>
            </a:xfrm>
            <a:custGeom>
              <a:avLst/>
              <a:gdLst>
                <a:gd name="T0" fmla="*/ 569 w 569"/>
                <a:gd name="T1" fmla="*/ 1 h 330"/>
                <a:gd name="T2" fmla="*/ 559 w 569"/>
                <a:gd name="T3" fmla="*/ 0 h 330"/>
                <a:gd name="T4" fmla="*/ 0 w 569"/>
                <a:gd name="T5" fmla="*/ 330 h 330"/>
                <a:gd name="T6" fmla="*/ 106 w 569"/>
                <a:gd name="T7" fmla="*/ 330 h 330"/>
                <a:gd name="T8" fmla="*/ 569 w 569"/>
                <a:gd name="T9" fmla="*/ 1 h 330"/>
              </a:gdLst>
              <a:ahLst/>
              <a:cxnLst>
                <a:cxn ang="0">
                  <a:pos x="T0" y="T1"/>
                </a:cxn>
                <a:cxn ang="0">
                  <a:pos x="T2" y="T3"/>
                </a:cxn>
                <a:cxn ang="0">
                  <a:pos x="T4" y="T5"/>
                </a:cxn>
                <a:cxn ang="0">
                  <a:pos x="T6" y="T7"/>
                </a:cxn>
                <a:cxn ang="0">
                  <a:pos x="T8" y="T9"/>
                </a:cxn>
              </a:cxnLst>
              <a:rect l="0" t="0" r="r" b="b"/>
              <a:pathLst>
                <a:path w="569" h="330">
                  <a:moveTo>
                    <a:pt x="569" y="1"/>
                  </a:moveTo>
                  <a:cubicBezTo>
                    <a:pt x="565" y="1"/>
                    <a:pt x="562" y="0"/>
                    <a:pt x="559" y="0"/>
                  </a:cubicBezTo>
                  <a:cubicBezTo>
                    <a:pt x="221" y="64"/>
                    <a:pt x="0" y="330"/>
                    <a:pt x="0" y="330"/>
                  </a:cubicBezTo>
                  <a:cubicBezTo>
                    <a:pt x="106" y="330"/>
                    <a:pt x="106" y="330"/>
                    <a:pt x="106" y="330"/>
                  </a:cubicBezTo>
                  <a:cubicBezTo>
                    <a:pt x="106" y="330"/>
                    <a:pt x="315" y="75"/>
                    <a:pt x="569" y="1"/>
                  </a:cubicBezTo>
                  <a:close/>
                </a:path>
              </a:pathLst>
            </a:custGeom>
            <a:solidFill>
              <a:srgbClr val="E8E8E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1" name="Freeform 22"/>
            <p:cNvSpPr>
              <a:spLocks/>
            </p:cNvSpPr>
            <p:nvPr/>
          </p:nvSpPr>
          <p:spPr bwMode="auto">
            <a:xfrm>
              <a:off x="6989335" y="4018809"/>
              <a:ext cx="6104337" cy="2937454"/>
            </a:xfrm>
            <a:custGeom>
              <a:avLst/>
              <a:gdLst>
                <a:gd name="T0" fmla="*/ 686 w 686"/>
                <a:gd name="T1" fmla="*/ 36 h 329"/>
                <a:gd name="T2" fmla="*/ 463 w 686"/>
                <a:gd name="T3" fmla="*/ 0 h 329"/>
                <a:gd name="T4" fmla="*/ 0 w 686"/>
                <a:gd name="T5" fmla="*/ 329 h 329"/>
                <a:gd name="T6" fmla="*/ 543 w 686"/>
                <a:gd name="T7" fmla="*/ 329 h 329"/>
                <a:gd name="T8" fmla="*/ 686 w 686"/>
                <a:gd name="T9" fmla="*/ 36 h 329"/>
              </a:gdLst>
              <a:ahLst/>
              <a:cxnLst>
                <a:cxn ang="0">
                  <a:pos x="T0" y="T1"/>
                </a:cxn>
                <a:cxn ang="0">
                  <a:pos x="T2" y="T3"/>
                </a:cxn>
                <a:cxn ang="0">
                  <a:pos x="T4" y="T5"/>
                </a:cxn>
                <a:cxn ang="0">
                  <a:pos x="T6" y="T7"/>
                </a:cxn>
                <a:cxn ang="0">
                  <a:pos x="T8" y="T9"/>
                </a:cxn>
              </a:cxnLst>
              <a:rect l="0" t="0" r="r" b="b"/>
              <a:pathLst>
                <a:path w="686" h="329">
                  <a:moveTo>
                    <a:pt x="686" y="36"/>
                  </a:moveTo>
                  <a:cubicBezTo>
                    <a:pt x="613" y="17"/>
                    <a:pt x="538" y="5"/>
                    <a:pt x="463" y="0"/>
                  </a:cubicBezTo>
                  <a:cubicBezTo>
                    <a:pt x="209" y="74"/>
                    <a:pt x="0" y="329"/>
                    <a:pt x="0" y="329"/>
                  </a:cubicBezTo>
                  <a:cubicBezTo>
                    <a:pt x="543" y="329"/>
                    <a:pt x="543" y="329"/>
                    <a:pt x="543" y="329"/>
                  </a:cubicBezTo>
                  <a:cubicBezTo>
                    <a:pt x="519" y="169"/>
                    <a:pt x="678" y="43"/>
                    <a:pt x="686" y="36"/>
                  </a:cubicBezTo>
                  <a:close/>
                </a:path>
              </a:pathLst>
            </a:custGeom>
            <a:solidFill>
              <a:srgbClr val="D2D2D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3" name="Freeform 26"/>
            <p:cNvSpPr>
              <a:spLocks/>
            </p:cNvSpPr>
            <p:nvPr/>
          </p:nvSpPr>
          <p:spPr bwMode="auto">
            <a:xfrm>
              <a:off x="11804967" y="4118107"/>
              <a:ext cx="415607" cy="351455"/>
            </a:xfrm>
            <a:custGeom>
              <a:avLst/>
              <a:gdLst>
                <a:gd name="T0" fmla="*/ 0 w 149"/>
                <a:gd name="T1" fmla="*/ 126 h 126"/>
                <a:gd name="T2" fmla="*/ 149 w 149"/>
                <a:gd name="T3" fmla="*/ 0 h 126"/>
                <a:gd name="T4" fmla="*/ 0 w 149"/>
                <a:gd name="T5" fmla="*/ 0 h 126"/>
                <a:gd name="T6" fmla="*/ 0 w 149"/>
                <a:gd name="T7" fmla="*/ 126 h 126"/>
              </a:gdLst>
              <a:ahLst/>
              <a:cxnLst>
                <a:cxn ang="0">
                  <a:pos x="T0" y="T1"/>
                </a:cxn>
                <a:cxn ang="0">
                  <a:pos x="T2" y="T3"/>
                </a:cxn>
                <a:cxn ang="0">
                  <a:pos x="T4" y="T5"/>
                </a:cxn>
                <a:cxn ang="0">
                  <a:pos x="T6" y="T7"/>
                </a:cxn>
              </a:cxnLst>
              <a:rect l="0" t="0" r="r" b="b"/>
              <a:pathLst>
                <a:path w="149" h="126">
                  <a:moveTo>
                    <a:pt x="0" y="126"/>
                  </a:moveTo>
                  <a:lnTo>
                    <a:pt x="149" y="0"/>
                  </a:lnTo>
                  <a:lnTo>
                    <a:pt x="0" y="0"/>
                  </a:lnTo>
                  <a:lnTo>
                    <a:pt x="0" y="126"/>
                  </a:lnTo>
                  <a:close/>
                </a:path>
              </a:pathLst>
            </a:custGeom>
            <a:solidFill>
              <a:srgbClr val="96969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18" name="Freeform 26"/>
            <p:cNvSpPr>
              <a:spLocks/>
            </p:cNvSpPr>
            <p:nvPr/>
          </p:nvSpPr>
          <p:spPr bwMode="auto">
            <a:xfrm>
              <a:off x="10894463" y="4746555"/>
              <a:ext cx="560412" cy="473903"/>
            </a:xfrm>
            <a:custGeom>
              <a:avLst/>
              <a:gdLst>
                <a:gd name="T0" fmla="*/ 0 w 149"/>
                <a:gd name="T1" fmla="*/ 126 h 126"/>
                <a:gd name="T2" fmla="*/ 149 w 149"/>
                <a:gd name="T3" fmla="*/ 0 h 126"/>
                <a:gd name="T4" fmla="*/ 0 w 149"/>
                <a:gd name="T5" fmla="*/ 0 h 126"/>
                <a:gd name="T6" fmla="*/ 0 w 149"/>
                <a:gd name="T7" fmla="*/ 126 h 126"/>
              </a:gdLst>
              <a:ahLst/>
              <a:cxnLst>
                <a:cxn ang="0">
                  <a:pos x="T0" y="T1"/>
                </a:cxn>
                <a:cxn ang="0">
                  <a:pos x="T2" y="T3"/>
                </a:cxn>
                <a:cxn ang="0">
                  <a:pos x="T4" y="T5"/>
                </a:cxn>
                <a:cxn ang="0">
                  <a:pos x="T6" y="T7"/>
                </a:cxn>
              </a:cxnLst>
              <a:rect l="0" t="0" r="r" b="b"/>
              <a:pathLst>
                <a:path w="149" h="126">
                  <a:moveTo>
                    <a:pt x="0" y="126"/>
                  </a:moveTo>
                  <a:lnTo>
                    <a:pt x="149" y="0"/>
                  </a:lnTo>
                  <a:lnTo>
                    <a:pt x="0" y="0"/>
                  </a:lnTo>
                  <a:lnTo>
                    <a:pt x="0" y="126"/>
                  </a:lnTo>
                  <a:close/>
                </a:path>
              </a:pathLst>
            </a:custGeom>
            <a:solidFill>
              <a:srgbClr val="96969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sp>
          <p:nvSpPr>
            <p:cNvPr id="21" name="Rectangle 79"/>
            <p:cNvSpPr/>
            <p:nvPr/>
          </p:nvSpPr>
          <p:spPr>
            <a:xfrm rot="5400000">
              <a:off x="9565291" y="1253619"/>
              <a:ext cx="2120334" cy="3543085"/>
            </a:xfrm>
            <a:custGeom>
              <a:avLst/>
              <a:gdLst/>
              <a:ahLst/>
              <a:cxnLst/>
              <a:rect l="l" t="t" r="r" b="b"/>
              <a:pathLst>
                <a:path w="1407298" h="2385394">
                  <a:moveTo>
                    <a:pt x="703650" y="2179220"/>
                  </a:moveTo>
                  <a:cubicBezTo>
                    <a:pt x="660028" y="2179220"/>
                    <a:pt x="624666" y="2214582"/>
                    <a:pt x="624666" y="2258204"/>
                  </a:cubicBezTo>
                  <a:cubicBezTo>
                    <a:pt x="624666" y="2301826"/>
                    <a:pt x="660028" y="2337188"/>
                    <a:pt x="703650" y="2337188"/>
                  </a:cubicBezTo>
                  <a:cubicBezTo>
                    <a:pt x="747272" y="2337188"/>
                    <a:pt x="782634" y="2301826"/>
                    <a:pt x="782634" y="2258204"/>
                  </a:cubicBezTo>
                  <a:cubicBezTo>
                    <a:pt x="782634" y="2214582"/>
                    <a:pt x="747272" y="2179220"/>
                    <a:pt x="703650" y="2179220"/>
                  </a:cubicBezTo>
                  <a:close/>
                  <a:moveTo>
                    <a:pt x="177553" y="179867"/>
                  </a:moveTo>
                  <a:lnTo>
                    <a:pt x="172551" y="180877"/>
                  </a:lnTo>
                  <a:lnTo>
                    <a:pt x="165667" y="180877"/>
                  </a:lnTo>
                  <a:cubicBezTo>
                    <a:pt x="144630" y="180877"/>
                    <a:pt x="127577" y="197930"/>
                    <a:pt x="127577" y="218967"/>
                  </a:cubicBezTo>
                  <a:lnTo>
                    <a:pt x="127577" y="2097793"/>
                  </a:lnTo>
                  <a:cubicBezTo>
                    <a:pt x="127577" y="2118830"/>
                    <a:pt x="144630" y="2135883"/>
                    <a:pt x="165667" y="2135883"/>
                  </a:cubicBezTo>
                  <a:lnTo>
                    <a:pt x="1241631" y="2135883"/>
                  </a:lnTo>
                  <a:cubicBezTo>
                    <a:pt x="1262668" y="2135883"/>
                    <a:pt x="1279721" y="2118830"/>
                    <a:pt x="1279721" y="2097793"/>
                  </a:cubicBezTo>
                  <a:lnTo>
                    <a:pt x="1279721" y="218967"/>
                  </a:lnTo>
                  <a:cubicBezTo>
                    <a:pt x="1279721" y="197930"/>
                    <a:pt x="1262668" y="180877"/>
                    <a:pt x="1241631" y="180877"/>
                  </a:cubicBezTo>
                  <a:lnTo>
                    <a:pt x="1234749" y="180877"/>
                  </a:lnTo>
                  <a:cubicBezTo>
                    <a:pt x="1233161" y="179963"/>
                    <a:pt x="1231465" y="179867"/>
                    <a:pt x="1229746" y="179867"/>
                  </a:cubicBezTo>
                  <a:close/>
                  <a:moveTo>
                    <a:pt x="602415" y="56498"/>
                  </a:moveTo>
                  <a:cubicBezTo>
                    <a:pt x="588290" y="56498"/>
                    <a:pt x="576839" y="67949"/>
                    <a:pt x="576839" y="82074"/>
                  </a:cubicBezTo>
                  <a:cubicBezTo>
                    <a:pt x="576839" y="96199"/>
                    <a:pt x="588290" y="107650"/>
                    <a:pt x="602415" y="107650"/>
                  </a:cubicBezTo>
                  <a:lnTo>
                    <a:pt x="804884" y="107650"/>
                  </a:lnTo>
                  <a:cubicBezTo>
                    <a:pt x="819009" y="107650"/>
                    <a:pt x="830460" y="96199"/>
                    <a:pt x="830460" y="82074"/>
                  </a:cubicBezTo>
                  <a:cubicBezTo>
                    <a:pt x="830460" y="67949"/>
                    <a:pt x="819009" y="56498"/>
                    <a:pt x="804884" y="56498"/>
                  </a:cubicBezTo>
                  <a:close/>
                  <a:moveTo>
                    <a:pt x="76685" y="0"/>
                  </a:moveTo>
                  <a:lnTo>
                    <a:pt x="1330614" y="0"/>
                  </a:lnTo>
                  <a:cubicBezTo>
                    <a:pt x="1372966" y="0"/>
                    <a:pt x="1407298" y="34333"/>
                    <a:pt x="1407298" y="76684"/>
                  </a:cubicBezTo>
                  <a:lnTo>
                    <a:pt x="1407298" y="1757263"/>
                  </a:lnTo>
                  <a:lnTo>
                    <a:pt x="1407298" y="1766789"/>
                  </a:lnTo>
                  <a:lnTo>
                    <a:pt x="1407298" y="2308710"/>
                  </a:lnTo>
                  <a:cubicBezTo>
                    <a:pt x="1407298" y="2351061"/>
                    <a:pt x="1372966" y="2385394"/>
                    <a:pt x="1330614" y="2385394"/>
                  </a:cubicBezTo>
                  <a:lnTo>
                    <a:pt x="76685" y="2385394"/>
                  </a:lnTo>
                  <a:cubicBezTo>
                    <a:pt x="34333" y="2385394"/>
                    <a:pt x="0" y="2351061"/>
                    <a:pt x="0" y="2308710"/>
                  </a:cubicBezTo>
                  <a:lnTo>
                    <a:pt x="0" y="1766789"/>
                  </a:lnTo>
                  <a:lnTo>
                    <a:pt x="0" y="1757263"/>
                  </a:lnTo>
                  <a:lnTo>
                    <a:pt x="0" y="76684"/>
                  </a:lnTo>
                  <a:cubicBezTo>
                    <a:pt x="0" y="34333"/>
                    <a:pt x="34333" y="0"/>
                    <a:pt x="76685"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316"/>
              <a:endParaRPr lang="en-US" sz="1836" dirty="0">
                <a:solidFill>
                  <a:srgbClr val="FFFFFF"/>
                </a:solidFill>
              </a:endParaRPr>
            </a:p>
          </p:txBody>
        </p:sp>
        <p:sp>
          <p:nvSpPr>
            <p:cNvPr id="23" name="Freeform 49"/>
            <p:cNvSpPr>
              <a:spLocks/>
            </p:cNvSpPr>
            <p:nvPr/>
          </p:nvSpPr>
          <p:spPr bwMode="auto">
            <a:xfrm>
              <a:off x="9467220" y="5948263"/>
              <a:ext cx="883872" cy="729663"/>
            </a:xfrm>
            <a:custGeom>
              <a:avLst/>
              <a:gdLst>
                <a:gd name="T0" fmla="*/ 0 w 235"/>
                <a:gd name="T1" fmla="*/ 194 h 194"/>
                <a:gd name="T2" fmla="*/ 235 w 235"/>
                <a:gd name="T3" fmla="*/ 0 h 194"/>
                <a:gd name="T4" fmla="*/ 0 w 235"/>
                <a:gd name="T5" fmla="*/ 0 h 194"/>
                <a:gd name="T6" fmla="*/ 0 w 235"/>
                <a:gd name="T7" fmla="*/ 194 h 194"/>
              </a:gdLst>
              <a:ahLst/>
              <a:cxnLst>
                <a:cxn ang="0">
                  <a:pos x="T0" y="T1"/>
                </a:cxn>
                <a:cxn ang="0">
                  <a:pos x="T2" y="T3"/>
                </a:cxn>
                <a:cxn ang="0">
                  <a:pos x="T4" y="T5"/>
                </a:cxn>
                <a:cxn ang="0">
                  <a:pos x="T6" y="T7"/>
                </a:cxn>
              </a:cxnLst>
              <a:rect l="0" t="0" r="r" b="b"/>
              <a:pathLst>
                <a:path w="235" h="194">
                  <a:moveTo>
                    <a:pt x="0" y="194"/>
                  </a:moveTo>
                  <a:lnTo>
                    <a:pt x="235" y="0"/>
                  </a:lnTo>
                  <a:lnTo>
                    <a:pt x="0" y="0"/>
                  </a:lnTo>
                  <a:lnTo>
                    <a:pt x="0" y="194"/>
                  </a:lnTo>
                  <a:close/>
                </a:path>
              </a:pathLst>
            </a:custGeom>
            <a:solidFill>
              <a:srgbClr val="96969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grpSp>
          <p:nvGrpSpPr>
            <p:cNvPr id="28" name="Group 27"/>
            <p:cNvGrpSpPr/>
            <p:nvPr/>
          </p:nvGrpSpPr>
          <p:grpSpPr>
            <a:xfrm>
              <a:off x="5156139" y="324155"/>
              <a:ext cx="2616849" cy="5008743"/>
              <a:chOff x="1316880" y="963197"/>
              <a:chExt cx="2360452" cy="4517990"/>
            </a:xfrm>
          </p:grpSpPr>
          <p:grpSp>
            <p:nvGrpSpPr>
              <p:cNvPr id="29" name="Group 28"/>
              <p:cNvGrpSpPr/>
              <p:nvPr/>
            </p:nvGrpSpPr>
            <p:grpSpPr>
              <a:xfrm>
                <a:off x="1316880" y="963197"/>
                <a:ext cx="1518361" cy="4517990"/>
                <a:chOff x="7140575" y="303916"/>
                <a:chExt cx="825500" cy="2456332"/>
              </a:xfrm>
            </p:grpSpPr>
            <p:sp>
              <p:nvSpPr>
                <p:cNvPr id="34" name="Freeform 33"/>
                <p:cNvSpPr/>
                <p:nvPr/>
              </p:nvSpPr>
              <p:spPr bwMode="auto">
                <a:xfrm>
                  <a:off x="7410450" y="2059781"/>
                  <a:ext cx="140494" cy="676275"/>
                </a:xfrm>
                <a:custGeom>
                  <a:avLst/>
                  <a:gdLst>
                    <a:gd name="connsiteX0" fmla="*/ 0 w 140494"/>
                    <a:gd name="connsiteY0" fmla="*/ 14288 h 676275"/>
                    <a:gd name="connsiteX1" fmla="*/ 19050 w 140494"/>
                    <a:gd name="connsiteY1" fmla="*/ 676275 h 676275"/>
                    <a:gd name="connsiteX2" fmla="*/ 133350 w 140494"/>
                    <a:gd name="connsiteY2" fmla="*/ 664369 h 676275"/>
                    <a:gd name="connsiteX3" fmla="*/ 140494 w 140494"/>
                    <a:gd name="connsiteY3" fmla="*/ 0 h 676275"/>
                    <a:gd name="connsiteX4" fmla="*/ 0 w 140494"/>
                    <a:gd name="connsiteY4" fmla="*/ 14288 h 676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494" h="676275">
                      <a:moveTo>
                        <a:pt x="0" y="14288"/>
                      </a:moveTo>
                      <a:lnTo>
                        <a:pt x="19050" y="676275"/>
                      </a:lnTo>
                      <a:lnTo>
                        <a:pt x="133350" y="664369"/>
                      </a:lnTo>
                      <a:cubicBezTo>
                        <a:pt x="135731" y="442913"/>
                        <a:pt x="138113" y="221456"/>
                        <a:pt x="140494" y="0"/>
                      </a:cubicBezTo>
                      <a:lnTo>
                        <a:pt x="0" y="14288"/>
                      </a:lnTo>
                      <a:close/>
                    </a:path>
                  </a:pathLst>
                </a:cu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5" name="Freeform 34"/>
                <p:cNvSpPr/>
                <p:nvPr/>
              </p:nvSpPr>
              <p:spPr bwMode="auto">
                <a:xfrm>
                  <a:off x="7574756" y="2059781"/>
                  <a:ext cx="140494" cy="676275"/>
                </a:xfrm>
                <a:custGeom>
                  <a:avLst/>
                  <a:gdLst>
                    <a:gd name="connsiteX0" fmla="*/ 0 w 140494"/>
                    <a:gd name="connsiteY0" fmla="*/ 14288 h 676275"/>
                    <a:gd name="connsiteX1" fmla="*/ 19050 w 140494"/>
                    <a:gd name="connsiteY1" fmla="*/ 676275 h 676275"/>
                    <a:gd name="connsiteX2" fmla="*/ 133350 w 140494"/>
                    <a:gd name="connsiteY2" fmla="*/ 664369 h 676275"/>
                    <a:gd name="connsiteX3" fmla="*/ 140494 w 140494"/>
                    <a:gd name="connsiteY3" fmla="*/ 0 h 676275"/>
                    <a:gd name="connsiteX4" fmla="*/ 0 w 140494"/>
                    <a:gd name="connsiteY4" fmla="*/ 14288 h 676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494" h="676275">
                      <a:moveTo>
                        <a:pt x="0" y="14288"/>
                      </a:moveTo>
                      <a:lnTo>
                        <a:pt x="19050" y="676275"/>
                      </a:lnTo>
                      <a:lnTo>
                        <a:pt x="133350" y="664369"/>
                      </a:lnTo>
                      <a:cubicBezTo>
                        <a:pt x="135731" y="442913"/>
                        <a:pt x="138113" y="221456"/>
                        <a:pt x="140494" y="0"/>
                      </a:cubicBezTo>
                      <a:lnTo>
                        <a:pt x="0" y="14288"/>
                      </a:lnTo>
                      <a:close/>
                    </a:path>
                  </a:pathLst>
                </a:cu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6" name="Freeform 35"/>
                <p:cNvSpPr/>
                <p:nvPr/>
              </p:nvSpPr>
              <p:spPr bwMode="auto">
                <a:xfrm>
                  <a:off x="7336631" y="1576388"/>
                  <a:ext cx="435769" cy="511968"/>
                </a:xfrm>
                <a:custGeom>
                  <a:avLst/>
                  <a:gdLst>
                    <a:gd name="connsiteX0" fmla="*/ 0 w 435769"/>
                    <a:gd name="connsiteY0" fmla="*/ 14287 h 511968"/>
                    <a:gd name="connsiteX1" fmla="*/ 23813 w 435769"/>
                    <a:gd name="connsiteY1" fmla="*/ 511968 h 511968"/>
                    <a:gd name="connsiteX2" fmla="*/ 421482 w 435769"/>
                    <a:gd name="connsiteY2" fmla="*/ 511968 h 511968"/>
                    <a:gd name="connsiteX3" fmla="*/ 435769 w 435769"/>
                    <a:gd name="connsiteY3" fmla="*/ 0 h 511968"/>
                    <a:gd name="connsiteX4" fmla="*/ 0 w 435769"/>
                    <a:gd name="connsiteY4" fmla="*/ 14287 h 5119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5769" h="511968">
                      <a:moveTo>
                        <a:pt x="0" y="14287"/>
                      </a:moveTo>
                      <a:lnTo>
                        <a:pt x="23813" y="511968"/>
                      </a:lnTo>
                      <a:lnTo>
                        <a:pt x="421482" y="511968"/>
                      </a:lnTo>
                      <a:lnTo>
                        <a:pt x="435769" y="0"/>
                      </a:lnTo>
                      <a:lnTo>
                        <a:pt x="0" y="14287"/>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7" name="Freeform 36"/>
                <p:cNvSpPr/>
                <p:nvPr/>
              </p:nvSpPr>
              <p:spPr bwMode="auto">
                <a:xfrm>
                  <a:off x="7366613" y="638175"/>
                  <a:ext cx="142262" cy="131258"/>
                </a:xfrm>
                <a:custGeom>
                  <a:avLst/>
                  <a:gdLst>
                    <a:gd name="connsiteX0" fmla="*/ 41275 w 123825"/>
                    <a:gd name="connsiteY0" fmla="*/ 0 h 127000"/>
                    <a:gd name="connsiteX1" fmla="*/ 0 w 123825"/>
                    <a:gd name="connsiteY1" fmla="*/ 34925 h 127000"/>
                    <a:gd name="connsiteX2" fmla="*/ 104775 w 123825"/>
                    <a:gd name="connsiteY2" fmla="*/ 127000 h 127000"/>
                    <a:gd name="connsiteX3" fmla="*/ 123825 w 123825"/>
                    <a:gd name="connsiteY3" fmla="*/ 15875 h 127000"/>
                    <a:gd name="connsiteX4" fmla="*/ 41275 w 123825"/>
                    <a:gd name="connsiteY4" fmla="*/ 0 h 127000"/>
                    <a:gd name="connsiteX0" fmla="*/ 57150 w 139700"/>
                    <a:gd name="connsiteY0" fmla="*/ 0 h 127000"/>
                    <a:gd name="connsiteX1" fmla="*/ 0 w 139700"/>
                    <a:gd name="connsiteY1" fmla="*/ 34925 h 127000"/>
                    <a:gd name="connsiteX2" fmla="*/ 120650 w 139700"/>
                    <a:gd name="connsiteY2" fmla="*/ 127000 h 127000"/>
                    <a:gd name="connsiteX3" fmla="*/ 139700 w 139700"/>
                    <a:gd name="connsiteY3" fmla="*/ 15875 h 127000"/>
                    <a:gd name="connsiteX4" fmla="*/ 57150 w 139700"/>
                    <a:gd name="connsiteY4" fmla="*/ 0 h 127000"/>
                    <a:gd name="connsiteX0" fmla="*/ 57150 w 139700"/>
                    <a:gd name="connsiteY0" fmla="*/ 0 h 127000"/>
                    <a:gd name="connsiteX1" fmla="*/ 0 w 139700"/>
                    <a:gd name="connsiteY1" fmla="*/ 34925 h 127000"/>
                    <a:gd name="connsiteX2" fmla="*/ 120650 w 139700"/>
                    <a:gd name="connsiteY2" fmla="*/ 127000 h 127000"/>
                    <a:gd name="connsiteX3" fmla="*/ 139700 w 139700"/>
                    <a:gd name="connsiteY3" fmla="*/ 15875 h 127000"/>
                    <a:gd name="connsiteX4" fmla="*/ 57150 w 139700"/>
                    <a:gd name="connsiteY4" fmla="*/ 0 h 127000"/>
                    <a:gd name="connsiteX0" fmla="*/ 59779 w 142329"/>
                    <a:gd name="connsiteY0" fmla="*/ 0 h 127000"/>
                    <a:gd name="connsiteX1" fmla="*/ 2629 w 142329"/>
                    <a:gd name="connsiteY1" fmla="*/ 34925 h 127000"/>
                    <a:gd name="connsiteX2" fmla="*/ 123279 w 142329"/>
                    <a:gd name="connsiteY2" fmla="*/ 127000 h 127000"/>
                    <a:gd name="connsiteX3" fmla="*/ 142329 w 142329"/>
                    <a:gd name="connsiteY3" fmla="*/ 15875 h 127000"/>
                    <a:gd name="connsiteX4" fmla="*/ 59779 w 142329"/>
                    <a:gd name="connsiteY4" fmla="*/ 0 h 127000"/>
                    <a:gd name="connsiteX0" fmla="*/ 59712 w 142262"/>
                    <a:gd name="connsiteY0" fmla="*/ 0 h 131258"/>
                    <a:gd name="connsiteX1" fmla="*/ 2562 w 142262"/>
                    <a:gd name="connsiteY1" fmla="*/ 34925 h 131258"/>
                    <a:gd name="connsiteX2" fmla="*/ 123212 w 142262"/>
                    <a:gd name="connsiteY2" fmla="*/ 127000 h 131258"/>
                    <a:gd name="connsiteX3" fmla="*/ 142262 w 142262"/>
                    <a:gd name="connsiteY3" fmla="*/ 15875 h 131258"/>
                    <a:gd name="connsiteX4" fmla="*/ 59712 w 142262"/>
                    <a:gd name="connsiteY4" fmla="*/ 0 h 1312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262" h="131258">
                      <a:moveTo>
                        <a:pt x="59712" y="0"/>
                      </a:moveTo>
                      <a:cubicBezTo>
                        <a:pt x="78762" y="94192"/>
                        <a:pt x="21612" y="23283"/>
                        <a:pt x="2562" y="34925"/>
                      </a:cubicBezTo>
                      <a:cubicBezTo>
                        <a:pt x="-17546" y="144992"/>
                        <a:pt x="86170" y="134408"/>
                        <a:pt x="123212" y="127000"/>
                      </a:cubicBezTo>
                      <a:lnTo>
                        <a:pt x="142262" y="15875"/>
                      </a:lnTo>
                      <a:lnTo>
                        <a:pt x="59712" y="0"/>
                      </a:lnTo>
                      <a:close/>
                    </a:path>
                  </a:pathLst>
                </a:custGeom>
                <a:solidFill>
                  <a:schemeClr val="tx1">
                    <a:lumMod val="95000"/>
                    <a:lumOff val="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8" name="Freeform 37"/>
                <p:cNvSpPr/>
                <p:nvPr/>
              </p:nvSpPr>
              <p:spPr bwMode="auto">
                <a:xfrm flipH="1">
                  <a:off x="7623788" y="638175"/>
                  <a:ext cx="142262" cy="131258"/>
                </a:xfrm>
                <a:custGeom>
                  <a:avLst/>
                  <a:gdLst>
                    <a:gd name="connsiteX0" fmla="*/ 41275 w 123825"/>
                    <a:gd name="connsiteY0" fmla="*/ 0 h 127000"/>
                    <a:gd name="connsiteX1" fmla="*/ 0 w 123825"/>
                    <a:gd name="connsiteY1" fmla="*/ 34925 h 127000"/>
                    <a:gd name="connsiteX2" fmla="*/ 104775 w 123825"/>
                    <a:gd name="connsiteY2" fmla="*/ 127000 h 127000"/>
                    <a:gd name="connsiteX3" fmla="*/ 123825 w 123825"/>
                    <a:gd name="connsiteY3" fmla="*/ 15875 h 127000"/>
                    <a:gd name="connsiteX4" fmla="*/ 41275 w 123825"/>
                    <a:gd name="connsiteY4" fmla="*/ 0 h 127000"/>
                    <a:gd name="connsiteX0" fmla="*/ 57150 w 139700"/>
                    <a:gd name="connsiteY0" fmla="*/ 0 h 127000"/>
                    <a:gd name="connsiteX1" fmla="*/ 0 w 139700"/>
                    <a:gd name="connsiteY1" fmla="*/ 34925 h 127000"/>
                    <a:gd name="connsiteX2" fmla="*/ 120650 w 139700"/>
                    <a:gd name="connsiteY2" fmla="*/ 127000 h 127000"/>
                    <a:gd name="connsiteX3" fmla="*/ 139700 w 139700"/>
                    <a:gd name="connsiteY3" fmla="*/ 15875 h 127000"/>
                    <a:gd name="connsiteX4" fmla="*/ 57150 w 139700"/>
                    <a:gd name="connsiteY4" fmla="*/ 0 h 127000"/>
                    <a:gd name="connsiteX0" fmla="*/ 57150 w 139700"/>
                    <a:gd name="connsiteY0" fmla="*/ 0 h 127000"/>
                    <a:gd name="connsiteX1" fmla="*/ 0 w 139700"/>
                    <a:gd name="connsiteY1" fmla="*/ 34925 h 127000"/>
                    <a:gd name="connsiteX2" fmla="*/ 120650 w 139700"/>
                    <a:gd name="connsiteY2" fmla="*/ 127000 h 127000"/>
                    <a:gd name="connsiteX3" fmla="*/ 139700 w 139700"/>
                    <a:gd name="connsiteY3" fmla="*/ 15875 h 127000"/>
                    <a:gd name="connsiteX4" fmla="*/ 57150 w 139700"/>
                    <a:gd name="connsiteY4" fmla="*/ 0 h 127000"/>
                    <a:gd name="connsiteX0" fmla="*/ 59779 w 142329"/>
                    <a:gd name="connsiteY0" fmla="*/ 0 h 127000"/>
                    <a:gd name="connsiteX1" fmla="*/ 2629 w 142329"/>
                    <a:gd name="connsiteY1" fmla="*/ 34925 h 127000"/>
                    <a:gd name="connsiteX2" fmla="*/ 123279 w 142329"/>
                    <a:gd name="connsiteY2" fmla="*/ 127000 h 127000"/>
                    <a:gd name="connsiteX3" fmla="*/ 142329 w 142329"/>
                    <a:gd name="connsiteY3" fmla="*/ 15875 h 127000"/>
                    <a:gd name="connsiteX4" fmla="*/ 59779 w 142329"/>
                    <a:gd name="connsiteY4" fmla="*/ 0 h 127000"/>
                    <a:gd name="connsiteX0" fmla="*/ 59712 w 142262"/>
                    <a:gd name="connsiteY0" fmla="*/ 0 h 131258"/>
                    <a:gd name="connsiteX1" fmla="*/ 2562 w 142262"/>
                    <a:gd name="connsiteY1" fmla="*/ 34925 h 131258"/>
                    <a:gd name="connsiteX2" fmla="*/ 123212 w 142262"/>
                    <a:gd name="connsiteY2" fmla="*/ 127000 h 131258"/>
                    <a:gd name="connsiteX3" fmla="*/ 142262 w 142262"/>
                    <a:gd name="connsiteY3" fmla="*/ 15875 h 131258"/>
                    <a:gd name="connsiteX4" fmla="*/ 59712 w 142262"/>
                    <a:gd name="connsiteY4" fmla="*/ 0 h 1312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262" h="131258">
                      <a:moveTo>
                        <a:pt x="59712" y="0"/>
                      </a:moveTo>
                      <a:cubicBezTo>
                        <a:pt x="78762" y="94192"/>
                        <a:pt x="21612" y="23283"/>
                        <a:pt x="2562" y="34925"/>
                      </a:cubicBezTo>
                      <a:cubicBezTo>
                        <a:pt x="-17546" y="144992"/>
                        <a:pt x="86170" y="134408"/>
                        <a:pt x="123212" y="127000"/>
                      </a:cubicBezTo>
                      <a:lnTo>
                        <a:pt x="142262" y="15875"/>
                      </a:lnTo>
                      <a:lnTo>
                        <a:pt x="59712" y="0"/>
                      </a:lnTo>
                      <a:close/>
                    </a:path>
                  </a:pathLst>
                </a:custGeom>
                <a:solidFill>
                  <a:schemeClr val="tx1">
                    <a:lumMod val="95000"/>
                    <a:lumOff val="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9" name="Rectangle 38"/>
                <p:cNvSpPr/>
                <p:nvPr/>
              </p:nvSpPr>
              <p:spPr bwMode="auto">
                <a:xfrm>
                  <a:off x="7477125" y="784225"/>
                  <a:ext cx="164306" cy="40798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0" name="Rounded Rectangle 39"/>
                <p:cNvSpPr/>
                <p:nvPr/>
              </p:nvSpPr>
              <p:spPr bwMode="auto">
                <a:xfrm>
                  <a:off x="7877175" y="1395413"/>
                  <a:ext cx="76200" cy="123825"/>
                </a:xfrm>
                <a:prstGeom prst="roundRect">
                  <a:avLst>
                    <a:gd name="adj" fmla="val 50000"/>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1" name="Rounded Rectangle 40"/>
                <p:cNvSpPr/>
                <p:nvPr/>
              </p:nvSpPr>
              <p:spPr bwMode="auto">
                <a:xfrm>
                  <a:off x="7159572" y="1395413"/>
                  <a:ext cx="76200" cy="123825"/>
                </a:xfrm>
                <a:prstGeom prst="roundRect">
                  <a:avLst>
                    <a:gd name="adj" fmla="val 50000"/>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2" name="Freeform 41"/>
                <p:cNvSpPr/>
                <p:nvPr/>
              </p:nvSpPr>
              <p:spPr bwMode="auto">
                <a:xfrm>
                  <a:off x="7140575" y="784225"/>
                  <a:ext cx="825500" cy="815975"/>
                </a:xfrm>
                <a:custGeom>
                  <a:avLst/>
                  <a:gdLst>
                    <a:gd name="connsiteX0" fmla="*/ 336550 w 825500"/>
                    <a:gd name="connsiteY0" fmla="*/ 0 h 815975"/>
                    <a:gd name="connsiteX1" fmla="*/ 415925 w 825500"/>
                    <a:gd name="connsiteY1" fmla="*/ 574675 h 815975"/>
                    <a:gd name="connsiteX2" fmla="*/ 492125 w 825500"/>
                    <a:gd name="connsiteY2" fmla="*/ 3175 h 815975"/>
                    <a:gd name="connsiteX3" fmla="*/ 676275 w 825500"/>
                    <a:gd name="connsiteY3" fmla="*/ 19050 h 815975"/>
                    <a:gd name="connsiteX4" fmla="*/ 825500 w 825500"/>
                    <a:gd name="connsiteY4" fmla="*/ 654050 h 815975"/>
                    <a:gd name="connsiteX5" fmla="*/ 717550 w 825500"/>
                    <a:gd name="connsiteY5" fmla="*/ 657225 h 815975"/>
                    <a:gd name="connsiteX6" fmla="*/ 676275 w 825500"/>
                    <a:gd name="connsiteY6" fmla="*/ 285750 h 815975"/>
                    <a:gd name="connsiteX7" fmla="*/ 638175 w 825500"/>
                    <a:gd name="connsiteY7" fmla="*/ 815975 h 815975"/>
                    <a:gd name="connsiteX8" fmla="*/ 187325 w 825500"/>
                    <a:gd name="connsiteY8" fmla="*/ 815975 h 815975"/>
                    <a:gd name="connsiteX9" fmla="*/ 171450 w 825500"/>
                    <a:gd name="connsiteY9" fmla="*/ 285750 h 815975"/>
                    <a:gd name="connsiteX10" fmla="*/ 98425 w 825500"/>
                    <a:gd name="connsiteY10" fmla="*/ 657225 h 815975"/>
                    <a:gd name="connsiteX11" fmla="*/ 0 w 825500"/>
                    <a:gd name="connsiteY11" fmla="*/ 657225 h 815975"/>
                    <a:gd name="connsiteX12" fmla="*/ 149225 w 825500"/>
                    <a:gd name="connsiteY12" fmla="*/ 28575 h 815975"/>
                    <a:gd name="connsiteX13" fmla="*/ 336550 w 825500"/>
                    <a:gd name="connsiteY13" fmla="*/ 0 h 815975"/>
                    <a:gd name="connsiteX0" fmla="*/ 336550 w 825500"/>
                    <a:gd name="connsiteY0" fmla="*/ 0 h 815975"/>
                    <a:gd name="connsiteX1" fmla="*/ 415925 w 825500"/>
                    <a:gd name="connsiteY1" fmla="*/ 574675 h 815975"/>
                    <a:gd name="connsiteX2" fmla="*/ 492125 w 825500"/>
                    <a:gd name="connsiteY2" fmla="*/ 3175 h 815975"/>
                    <a:gd name="connsiteX3" fmla="*/ 676275 w 825500"/>
                    <a:gd name="connsiteY3" fmla="*/ 19050 h 815975"/>
                    <a:gd name="connsiteX4" fmla="*/ 825500 w 825500"/>
                    <a:gd name="connsiteY4" fmla="*/ 654050 h 815975"/>
                    <a:gd name="connsiteX5" fmla="*/ 717550 w 825500"/>
                    <a:gd name="connsiteY5" fmla="*/ 657225 h 815975"/>
                    <a:gd name="connsiteX6" fmla="*/ 676275 w 825500"/>
                    <a:gd name="connsiteY6" fmla="*/ 285750 h 815975"/>
                    <a:gd name="connsiteX7" fmla="*/ 638175 w 825500"/>
                    <a:gd name="connsiteY7" fmla="*/ 815975 h 815975"/>
                    <a:gd name="connsiteX8" fmla="*/ 187325 w 825500"/>
                    <a:gd name="connsiteY8" fmla="*/ 815975 h 815975"/>
                    <a:gd name="connsiteX9" fmla="*/ 171450 w 825500"/>
                    <a:gd name="connsiteY9" fmla="*/ 285750 h 815975"/>
                    <a:gd name="connsiteX10" fmla="*/ 98425 w 825500"/>
                    <a:gd name="connsiteY10" fmla="*/ 657225 h 815975"/>
                    <a:gd name="connsiteX11" fmla="*/ 0 w 825500"/>
                    <a:gd name="connsiteY11" fmla="*/ 657225 h 815975"/>
                    <a:gd name="connsiteX12" fmla="*/ 149225 w 825500"/>
                    <a:gd name="connsiteY12" fmla="*/ 28575 h 815975"/>
                    <a:gd name="connsiteX13" fmla="*/ 336550 w 825500"/>
                    <a:gd name="connsiteY13" fmla="*/ 0 h 815975"/>
                    <a:gd name="connsiteX0" fmla="*/ 336550 w 825500"/>
                    <a:gd name="connsiteY0" fmla="*/ 0 h 815975"/>
                    <a:gd name="connsiteX1" fmla="*/ 415925 w 825500"/>
                    <a:gd name="connsiteY1" fmla="*/ 574675 h 815975"/>
                    <a:gd name="connsiteX2" fmla="*/ 492125 w 825500"/>
                    <a:gd name="connsiteY2" fmla="*/ 3175 h 815975"/>
                    <a:gd name="connsiteX3" fmla="*/ 676275 w 825500"/>
                    <a:gd name="connsiteY3" fmla="*/ 19050 h 815975"/>
                    <a:gd name="connsiteX4" fmla="*/ 825500 w 825500"/>
                    <a:gd name="connsiteY4" fmla="*/ 654050 h 815975"/>
                    <a:gd name="connsiteX5" fmla="*/ 717550 w 825500"/>
                    <a:gd name="connsiteY5" fmla="*/ 657225 h 815975"/>
                    <a:gd name="connsiteX6" fmla="*/ 676275 w 825500"/>
                    <a:gd name="connsiteY6" fmla="*/ 285750 h 815975"/>
                    <a:gd name="connsiteX7" fmla="*/ 638175 w 825500"/>
                    <a:gd name="connsiteY7" fmla="*/ 815975 h 815975"/>
                    <a:gd name="connsiteX8" fmla="*/ 187325 w 825500"/>
                    <a:gd name="connsiteY8" fmla="*/ 815975 h 815975"/>
                    <a:gd name="connsiteX9" fmla="*/ 171450 w 825500"/>
                    <a:gd name="connsiteY9" fmla="*/ 285750 h 815975"/>
                    <a:gd name="connsiteX10" fmla="*/ 98425 w 825500"/>
                    <a:gd name="connsiteY10" fmla="*/ 657225 h 815975"/>
                    <a:gd name="connsiteX11" fmla="*/ 0 w 825500"/>
                    <a:gd name="connsiteY11" fmla="*/ 657225 h 815975"/>
                    <a:gd name="connsiteX12" fmla="*/ 149225 w 825500"/>
                    <a:gd name="connsiteY12" fmla="*/ 28575 h 815975"/>
                    <a:gd name="connsiteX13" fmla="*/ 336550 w 825500"/>
                    <a:gd name="connsiteY13" fmla="*/ 0 h 815975"/>
                    <a:gd name="connsiteX0" fmla="*/ 336550 w 825500"/>
                    <a:gd name="connsiteY0" fmla="*/ 0 h 815975"/>
                    <a:gd name="connsiteX1" fmla="*/ 415925 w 825500"/>
                    <a:gd name="connsiteY1" fmla="*/ 574675 h 815975"/>
                    <a:gd name="connsiteX2" fmla="*/ 492125 w 825500"/>
                    <a:gd name="connsiteY2" fmla="*/ 3175 h 815975"/>
                    <a:gd name="connsiteX3" fmla="*/ 676275 w 825500"/>
                    <a:gd name="connsiteY3" fmla="*/ 19050 h 815975"/>
                    <a:gd name="connsiteX4" fmla="*/ 825500 w 825500"/>
                    <a:gd name="connsiteY4" fmla="*/ 654050 h 815975"/>
                    <a:gd name="connsiteX5" fmla="*/ 717550 w 825500"/>
                    <a:gd name="connsiteY5" fmla="*/ 657225 h 815975"/>
                    <a:gd name="connsiteX6" fmla="*/ 676275 w 825500"/>
                    <a:gd name="connsiteY6" fmla="*/ 285750 h 815975"/>
                    <a:gd name="connsiteX7" fmla="*/ 638175 w 825500"/>
                    <a:gd name="connsiteY7" fmla="*/ 815975 h 815975"/>
                    <a:gd name="connsiteX8" fmla="*/ 187325 w 825500"/>
                    <a:gd name="connsiteY8" fmla="*/ 815975 h 815975"/>
                    <a:gd name="connsiteX9" fmla="*/ 171450 w 825500"/>
                    <a:gd name="connsiteY9" fmla="*/ 285750 h 815975"/>
                    <a:gd name="connsiteX10" fmla="*/ 98425 w 825500"/>
                    <a:gd name="connsiteY10" fmla="*/ 657225 h 815975"/>
                    <a:gd name="connsiteX11" fmla="*/ 0 w 825500"/>
                    <a:gd name="connsiteY11" fmla="*/ 657225 h 815975"/>
                    <a:gd name="connsiteX12" fmla="*/ 149225 w 825500"/>
                    <a:gd name="connsiteY12" fmla="*/ 28575 h 815975"/>
                    <a:gd name="connsiteX13" fmla="*/ 336550 w 825500"/>
                    <a:gd name="connsiteY13" fmla="*/ 0 h 815975"/>
                    <a:gd name="connsiteX0" fmla="*/ 336550 w 825500"/>
                    <a:gd name="connsiteY0" fmla="*/ 0 h 815975"/>
                    <a:gd name="connsiteX1" fmla="*/ 415925 w 825500"/>
                    <a:gd name="connsiteY1" fmla="*/ 574675 h 815975"/>
                    <a:gd name="connsiteX2" fmla="*/ 492125 w 825500"/>
                    <a:gd name="connsiteY2" fmla="*/ 3175 h 815975"/>
                    <a:gd name="connsiteX3" fmla="*/ 676275 w 825500"/>
                    <a:gd name="connsiteY3" fmla="*/ 19050 h 815975"/>
                    <a:gd name="connsiteX4" fmla="*/ 825500 w 825500"/>
                    <a:gd name="connsiteY4" fmla="*/ 654050 h 815975"/>
                    <a:gd name="connsiteX5" fmla="*/ 717550 w 825500"/>
                    <a:gd name="connsiteY5" fmla="*/ 657225 h 815975"/>
                    <a:gd name="connsiteX6" fmla="*/ 676275 w 825500"/>
                    <a:gd name="connsiteY6" fmla="*/ 285750 h 815975"/>
                    <a:gd name="connsiteX7" fmla="*/ 638175 w 825500"/>
                    <a:gd name="connsiteY7" fmla="*/ 815975 h 815975"/>
                    <a:gd name="connsiteX8" fmla="*/ 187325 w 825500"/>
                    <a:gd name="connsiteY8" fmla="*/ 815975 h 815975"/>
                    <a:gd name="connsiteX9" fmla="*/ 171450 w 825500"/>
                    <a:gd name="connsiteY9" fmla="*/ 285750 h 815975"/>
                    <a:gd name="connsiteX10" fmla="*/ 98425 w 825500"/>
                    <a:gd name="connsiteY10" fmla="*/ 657225 h 815975"/>
                    <a:gd name="connsiteX11" fmla="*/ 0 w 825500"/>
                    <a:gd name="connsiteY11" fmla="*/ 657225 h 815975"/>
                    <a:gd name="connsiteX12" fmla="*/ 149225 w 825500"/>
                    <a:gd name="connsiteY12" fmla="*/ 28575 h 815975"/>
                    <a:gd name="connsiteX13" fmla="*/ 336550 w 825500"/>
                    <a:gd name="connsiteY13" fmla="*/ 0 h 815975"/>
                    <a:gd name="connsiteX0" fmla="*/ 336550 w 825500"/>
                    <a:gd name="connsiteY0" fmla="*/ 0 h 815975"/>
                    <a:gd name="connsiteX1" fmla="*/ 415925 w 825500"/>
                    <a:gd name="connsiteY1" fmla="*/ 574675 h 815975"/>
                    <a:gd name="connsiteX2" fmla="*/ 492125 w 825500"/>
                    <a:gd name="connsiteY2" fmla="*/ 3175 h 815975"/>
                    <a:gd name="connsiteX3" fmla="*/ 676275 w 825500"/>
                    <a:gd name="connsiteY3" fmla="*/ 19050 h 815975"/>
                    <a:gd name="connsiteX4" fmla="*/ 825500 w 825500"/>
                    <a:gd name="connsiteY4" fmla="*/ 654050 h 815975"/>
                    <a:gd name="connsiteX5" fmla="*/ 717550 w 825500"/>
                    <a:gd name="connsiteY5" fmla="*/ 657225 h 815975"/>
                    <a:gd name="connsiteX6" fmla="*/ 666750 w 825500"/>
                    <a:gd name="connsiteY6" fmla="*/ 285750 h 815975"/>
                    <a:gd name="connsiteX7" fmla="*/ 638175 w 825500"/>
                    <a:gd name="connsiteY7" fmla="*/ 815975 h 815975"/>
                    <a:gd name="connsiteX8" fmla="*/ 187325 w 825500"/>
                    <a:gd name="connsiteY8" fmla="*/ 815975 h 815975"/>
                    <a:gd name="connsiteX9" fmla="*/ 171450 w 825500"/>
                    <a:gd name="connsiteY9" fmla="*/ 285750 h 815975"/>
                    <a:gd name="connsiteX10" fmla="*/ 98425 w 825500"/>
                    <a:gd name="connsiteY10" fmla="*/ 657225 h 815975"/>
                    <a:gd name="connsiteX11" fmla="*/ 0 w 825500"/>
                    <a:gd name="connsiteY11" fmla="*/ 657225 h 815975"/>
                    <a:gd name="connsiteX12" fmla="*/ 149225 w 825500"/>
                    <a:gd name="connsiteY12" fmla="*/ 28575 h 815975"/>
                    <a:gd name="connsiteX13" fmla="*/ 336550 w 825500"/>
                    <a:gd name="connsiteY13" fmla="*/ 0 h 815975"/>
                    <a:gd name="connsiteX0" fmla="*/ 336550 w 825500"/>
                    <a:gd name="connsiteY0" fmla="*/ 0 h 815975"/>
                    <a:gd name="connsiteX1" fmla="*/ 415925 w 825500"/>
                    <a:gd name="connsiteY1" fmla="*/ 574675 h 815975"/>
                    <a:gd name="connsiteX2" fmla="*/ 492125 w 825500"/>
                    <a:gd name="connsiteY2" fmla="*/ 3175 h 815975"/>
                    <a:gd name="connsiteX3" fmla="*/ 676275 w 825500"/>
                    <a:gd name="connsiteY3" fmla="*/ 19050 h 815975"/>
                    <a:gd name="connsiteX4" fmla="*/ 825500 w 825500"/>
                    <a:gd name="connsiteY4" fmla="*/ 654050 h 815975"/>
                    <a:gd name="connsiteX5" fmla="*/ 717550 w 825500"/>
                    <a:gd name="connsiteY5" fmla="*/ 657225 h 815975"/>
                    <a:gd name="connsiteX6" fmla="*/ 666750 w 825500"/>
                    <a:gd name="connsiteY6" fmla="*/ 285750 h 815975"/>
                    <a:gd name="connsiteX7" fmla="*/ 638175 w 825500"/>
                    <a:gd name="connsiteY7" fmla="*/ 815975 h 815975"/>
                    <a:gd name="connsiteX8" fmla="*/ 187325 w 825500"/>
                    <a:gd name="connsiteY8" fmla="*/ 815975 h 815975"/>
                    <a:gd name="connsiteX9" fmla="*/ 171450 w 825500"/>
                    <a:gd name="connsiteY9" fmla="*/ 285750 h 815975"/>
                    <a:gd name="connsiteX10" fmla="*/ 98425 w 825500"/>
                    <a:gd name="connsiteY10" fmla="*/ 657225 h 815975"/>
                    <a:gd name="connsiteX11" fmla="*/ 0 w 825500"/>
                    <a:gd name="connsiteY11" fmla="*/ 657225 h 815975"/>
                    <a:gd name="connsiteX12" fmla="*/ 149225 w 825500"/>
                    <a:gd name="connsiteY12" fmla="*/ 28575 h 815975"/>
                    <a:gd name="connsiteX13" fmla="*/ 336550 w 825500"/>
                    <a:gd name="connsiteY13" fmla="*/ 0 h 815975"/>
                    <a:gd name="connsiteX0" fmla="*/ 336550 w 825500"/>
                    <a:gd name="connsiteY0" fmla="*/ 0 h 815975"/>
                    <a:gd name="connsiteX1" fmla="*/ 415925 w 825500"/>
                    <a:gd name="connsiteY1" fmla="*/ 574675 h 815975"/>
                    <a:gd name="connsiteX2" fmla="*/ 492125 w 825500"/>
                    <a:gd name="connsiteY2" fmla="*/ 3175 h 815975"/>
                    <a:gd name="connsiteX3" fmla="*/ 676275 w 825500"/>
                    <a:gd name="connsiteY3" fmla="*/ 19050 h 815975"/>
                    <a:gd name="connsiteX4" fmla="*/ 825500 w 825500"/>
                    <a:gd name="connsiteY4" fmla="*/ 654050 h 815975"/>
                    <a:gd name="connsiteX5" fmla="*/ 717550 w 825500"/>
                    <a:gd name="connsiteY5" fmla="*/ 657225 h 815975"/>
                    <a:gd name="connsiteX6" fmla="*/ 666750 w 825500"/>
                    <a:gd name="connsiteY6" fmla="*/ 285750 h 815975"/>
                    <a:gd name="connsiteX7" fmla="*/ 638175 w 825500"/>
                    <a:gd name="connsiteY7" fmla="*/ 815975 h 815975"/>
                    <a:gd name="connsiteX8" fmla="*/ 187325 w 825500"/>
                    <a:gd name="connsiteY8" fmla="*/ 815975 h 815975"/>
                    <a:gd name="connsiteX9" fmla="*/ 171450 w 825500"/>
                    <a:gd name="connsiteY9" fmla="*/ 285750 h 815975"/>
                    <a:gd name="connsiteX10" fmla="*/ 98425 w 825500"/>
                    <a:gd name="connsiteY10" fmla="*/ 657225 h 815975"/>
                    <a:gd name="connsiteX11" fmla="*/ 0 w 825500"/>
                    <a:gd name="connsiteY11" fmla="*/ 657225 h 815975"/>
                    <a:gd name="connsiteX12" fmla="*/ 149225 w 825500"/>
                    <a:gd name="connsiteY12" fmla="*/ 28575 h 815975"/>
                    <a:gd name="connsiteX13" fmla="*/ 336550 w 825500"/>
                    <a:gd name="connsiteY13" fmla="*/ 0 h 815975"/>
                    <a:gd name="connsiteX0" fmla="*/ 336550 w 825500"/>
                    <a:gd name="connsiteY0" fmla="*/ 0 h 815975"/>
                    <a:gd name="connsiteX1" fmla="*/ 415925 w 825500"/>
                    <a:gd name="connsiteY1" fmla="*/ 574675 h 815975"/>
                    <a:gd name="connsiteX2" fmla="*/ 492125 w 825500"/>
                    <a:gd name="connsiteY2" fmla="*/ 3175 h 815975"/>
                    <a:gd name="connsiteX3" fmla="*/ 676275 w 825500"/>
                    <a:gd name="connsiteY3" fmla="*/ 19050 h 815975"/>
                    <a:gd name="connsiteX4" fmla="*/ 825500 w 825500"/>
                    <a:gd name="connsiteY4" fmla="*/ 654050 h 815975"/>
                    <a:gd name="connsiteX5" fmla="*/ 717550 w 825500"/>
                    <a:gd name="connsiteY5" fmla="*/ 657225 h 815975"/>
                    <a:gd name="connsiteX6" fmla="*/ 666750 w 825500"/>
                    <a:gd name="connsiteY6" fmla="*/ 285750 h 815975"/>
                    <a:gd name="connsiteX7" fmla="*/ 638175 w 825500"/>
                    <a:gd name="connsiteY7" fmla="*/ 815975 h 815975"/>
                    <a:gd name="connsiteX8" fmla="*/ 187325 w 825500"/>
                    <a:gd name="connsiteY8" fmla="*/ 815975 h 815975"/>
                    <a:gd name="connsiteX9" fmla="*/ 171450 w 825500"/>
                    <a:gd name="connsiteY9" fmla="*/ 285750 h 815975"/>
                    <a:gd name="connsiteX10" fmla="*/ 98425 w 825500"/>
                    <a:gd name="connsiteY10" fmla="*/ 657225 h 815975"/>
                    <a:gd name="connsiteX11" fmla="*/ 0 w 825500"/>
                    <a:gd name="connsiteY11" fmla="*/ 657225 h 815975"/>
                    <a:gd name="connsiteX12" fmla="*/ 149225 w 825500"/>
                    <a:gd name="connsiteY12" fmla="*/ 28575 h 815975"/>
                    <a:gd name="connsiteX13" fmla="*/ 336550 w 825500"/>
                    <a:gd name="connsiteY13" fmla="*/ 0 h 815975"/>
                    <a:gd name="connsiteX0" fmla="*/ 336550 w 825500"/>
                    <a:gd name="connsiteY0" fmla="*/ 0 h 815975"/>
                    <a:gd name="connsiteX1" fmla="*/ 415925 w 825500"/>
                    <a:gd name="connsiteY1" fmla="*/ 574675 h 815975"/>
                    <a:gd name="connsiteX2" fmla="*/ 492125 w 825500"/>
                    <a:gd name="connsiteY2" fmla="*/ 3175 h 815975"/>
                    <a:gd name="connsiteX3" fmla="*/ 676275 w 825500"/>
                    <a:gd name="connsiteY3" fmla="*/ 19050 h 815975"/>
                    <a:gd name="connsiteX4" fmla="*/ 825500 w 825500"/>
                    <a:gd name="connsiteY4" fmla="*/ 654050 h 815975"/>
                    <a:gd name="connsiteX5" fmla="*/ 717550 w 825500"/>
                    <a:gd name="connsiteY5" fmla="*/ 657225 h 815975"/>
                    <a:gd name="connsiteX6" fmla="*/ 666750 w 825500"/>
                    <a:gd name="connsiteY6" fmla="*/ 285750 h 815975"/>
                    <a:gd name="connsiteX7" fmla="*/ 638175 w 825500"/>
                    <a:gd name="connsiteY7" fmla="*/ 815975 h 815975"/>
                    <a:gd name="connsiteX8" fmla="*/ 187325 w 825500"/>
                    <a:gd name="connsiteY8" fmla="*/ 815975 h 815975"/>
                    <a:gd name="connsiteX9" fmla="*/ 171450 w 825500"/>
                    <a:gd name="connsiteY9" fmla="*/ 285750 h 815975"/>
                    <a:gd name="connsiteX10" fmla="*/ 98425 w 825500"/>
                    <a:gd name="connsiteY10" fmla="*/ 657225 h 815975"/>
                    <a:gd name="connsiteX11" fmla="*/ 0 w 825500"/>
                    <a:gd name="connsiteY11" fmla="*/ 657225 h 815975"/>
                    <a:gd name="connsiteX12" fmla="*/ 149225 w 825500"/>
                    <a:gd name="connsiteY12" fmla="*/ 28575 h 815975"/>
                    <a:gd name="connsiteX13" fmla="*/ 336550 w 825500"/>
                    <a:gd name="connsiteY13" fmla="*/ 0 h 815975"/>
                    <a:gd name="connsiteX0" fmla="*/ 336550 w 825500"/>
                    <a:gd name="connsiteY0" fmla="*/ 0 h 815975"/>
                    <a:gd name="connsiteX1" fmla="*/ 415925 w 825500"/>
                    <a:gd name="connsiteY1" fmla="*/ 574675 h 815975"/>
                    <a:gd name="connsiteX2" fmla="*/ 492125 w 825500"/>
                    <a:gd name="connsiteY2" fmla="*/ 3175 h 815975"/>
                    <a:gd name="connsiteX3" fmla="*/ 676275 w 825500"/>
                    <a:gd name="connsiteY3" fmla="*/ 19050 h 815975"/>
                    <a:gd name="connsiteX4" fmla="*/ 825500 w 825500"/>
                    <a:gd name="connsiteY4" fmla="*/ 654050 h 815975"/>
                    <a:gd name="connsiteX5" fmla="*/ 717550 w 825500"/>
                    <a:gd name="connsiteY5" fmla="*/ 657225 h 815975"/>
                    <a:gd name="connsiteX6" fmla="*/ 666750 w 825500"/>
                    <a:gd name="connsiteY6" fmla="*/ 285750 h 815975"/>
                    <a:gd name="connsiteX7" fmla="*/ 638175 w 825500"/>
                    <a:gd name="connsiteY7" fmla="*/ 815975 h 815975"/>
                    <a:gd name="connsiteX8" fmla="*/ 187325 w 825500"/>
                    <a:gd name="connsiteY8" fmla="*/ 815975 h 815975"/>
                    <a:gd name="connsiteX9" fmla="*/ 171450 w 825500"/>
                    <a:gd name="connsiteY9" fmla="*/ 285750 h 815975"/>
                    <a:gd name="connsiteX10" fmla="*/ 98425 w 825500"/>
                    <a:gd name="connsiteY10" fmla="*/ 657225 h 815975"/>
                    <a:gd name="connsiteX11" fmla="*/ 0 w 825500"/>
                    <a:gd name="connsiteY11" fmla="*/ 657225 h 815975"/>
                    <a:gd name="connsiteX12" fmla="*/ 149225 w 825500"/>
                    <a:gd name="connsiteY12" fmla="*/ 28575 h 815975"/>
                    <a:gd name="connsiteX13" fmla="*/ 336550 w 825500"/>
                    <a:gd name="connsiteY13" fmla="*/ 0 h 815975"/>
                    <a:gd name="connsiteX0" fmla="*/ 336550 w 825500"/>
                    <a:gd name="connsiteY0" fmla="*/ 0 h 815975"/>
                    <a:gd name="connsiteX1" fmla="*/ 415925 w 825500"/>
                    <a:gd name="connsiteY1" fmla="*/ 574675 h 815975"/>
                    <a:gd name="connsiteX2" fmla="*/ 492125 w 825500"/>
                    <a:gd name="connsiteY2" fmla="*/ 3175 h 815975"/>
                    <a:gd name="connsiteX3" fmla="*/ 676275 w 825500"/>
                    <a:gd name="connsiteY3" fmla="*/ 19050 h 815975"/>
                    <a:gd name="connsiteX4" fmla="*/ 825500 w 825500"/>
                    <a:gd name="connsiteY4" fmla="*/ 654050 h 815975"/>
                    <a:gd name="connsiteX5" fmla="*/ 717550 w 825500"/>
                    <a:gd name="connsiteY5" fmla="*/ 657225 h 815975"/>
                    <a:gd name="connsiteX6" fmla="*/ 666750 w 825500"/>
                    <a:gd name="connsiteY6" fmla="*/ 285750 h 815975"/>
                    <a:gd name="connsiteX7" fmla="*/ 638175 w 825500"/>
                    <a:gd name="connsiteY7" fmla="*/ 815975 h 815975"/>
                    <a:gd name="connsiteX8" fmla="*/ 187325 w 825500"/>
                    <a:gd name="connsiteY8" fmla="*/ 815975 h 815975"/>
                    <a:gd name="connsiteX9" fmla="*/ 171450 w 825500"/>
                    <a:gd name="connsiteY9" fmla="*/ 285750 h 815975"/>
                    <a:gd name="connsiteX10" fmla="*/ 104775 w 825500"/>
                    <a:gd name="connsiteY10" fmla="*/ 660400 h 815975"/>
                    <a:gd name="connsiteX11" fmla="*/ 0 w 825500"/>
                    <a:gd name="connsiteY11" fmla="*/ 657225 h 815975"/>
                    <a:gd name="connsiteX12" fmla="*/ 149225 w 825500"/>
                    <a:gd name="connsiteY12" fmla="*/ 28575 h 815975"/>
                    <a:gd name="connsiteX13" fmla="*/ 336550 w 825500"/>
                    <a:gd name="connsiteY13" fmla="*/ 0 h 815975"/>
                    <a:gd name="connsiteX0" fmla="*/ 336550 w 825500"/>
                    <a:gd name="connsiteY0" fmla="*/ 0 h 815975"/>
                    <a:gd name="connsiteX1" fmla="*/ 415925 w 825500"/>
                    <a:gd name="connsiteY1" fmla="*/ 574675 h 815975"/>
                    <a:gd name="connsiteX2" fmla="*/ 492125 w 825500"/>
                    <a:gd name="connsiteY2" fmla="*/ 3175 h 815975"/>
                    <a:gd name="connsiteX3" fmla="*/ 676275 w 825500"/>
                    <a:gd name="connsiteY3" fmla="*/ 19050 h 815975"/>
                    <a:gd name="connsiteX4" fmla="*/ 825500 w 825500"/>
                    <a:gd name="connsiteY4" fmla="*/ 654050 h 815975"/>
                    <a:gd name="connsiteX5" fmla="*/ 717550 w 825500"/>
                    <a:gd name="connsiteY5" fmla="*/ 657225 h 815975"/>
                    <a:gd name="connsiteX6" fmla="*/ 666750 w 825500"/>
                    <a:gd name="connsiteY6" fmla="*/ 285750 h 815975"/>
                    <a:gd name="connsiteX7" fmla="*/ 638175 w 825500"/>
                    <a:gd name="connsiteY7" fmla="*/ 815975 h 815975"/>
                    <a:gd name="connsiteX8" fmla="*/ 187325 w 825500"/>
                    <a:gd name="connsiteY8" fmla="*/ 815975 h 815975"/>
                    <a:gd name="connsiteX9" fmla="*/ 171450 w 825500"/>
                    <a:gd name="connsiteY9" fmla="*/ 285750 h 815975"/>
                    <a:gd name="connsiteX10" fmla="*/ 104775 w 825500"/>
                    <a:gd name="connsiteY10" fmla="*/ 660400 h 815975"/>
                    <a:gd name="connsiteX11" fmla="*/ 0 w 825500"/>
                    <a:gd name="connsiteY11" fmla="*/ 657225 h 815975"/>
                    <a:gd name="connsiteX12" fmla="*/ 149225 w 825500"/>
                    <a:gd name="connsiteY12" fmla="*/ 28575 h 815975"/>
                    <a:gd name="connsiteX13" fmla="*/ 336550 w 825500"/>
                    <a:gd name="connsiteY13" fmla="*/ 0 h 815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25500" h="815975">
                      <a:moveTo>
                        <a:pt x="336550" y="0"/>
                      </a:moveTo>
                      <a:lnTo>
                        <a:pt x="415925" y="574675"/>
                      </a:lnTo>
                      <a:lnTo>
                        <a:pt x="492125" y="3175"/>
                      </a:lnTo>
                      <a:lnTo>
                        <a:pt x="676275" y="19050"/>
                      </a:lnTo>
                      <a:cubicBezTo>
                        <a:pt x="799042" y="262467"/>
                        <a:pt x="817033" y="531283"/>
                        <a:pt x="825500" y="654050"/>
                      </a:cubicBezTo>
                      <a:lnTo>
                        <a:pt x="717550" y="657225"/>
                      </a:lnTo>
                      <a:cubicBezTo>
                        <a:pt x="729192" y="536575"/>
                        <a:pt x="693208" y="393700"/>
                        <a:pt x="666750" y="285750"/>
                      </a:cubicBezTo>
                      <a:lnTo>
                        <a:pt x="638175" y="815975"/>
                      </a:lnTo>
                      <a:lnTo>
                        <a:pt x="187325" y="815975"/>
                      </a:lnTo>
                      <a:lnTo>
                        <a:pt x="171450" y="285750"/>
                      </a:lnTo>
                      <a:cubicBezTo>
                        <a:pt x="134408" y="384175"/>
                        <a:pt x="110067" y="530225"/>
                        <a:pt x="104775" y="660400"/>
                      </a:cubicBezTo>
                      <a:lnTo>
                        <a:pt x="0" y="657225"/>
                      </a:lnTo>
                      <a:cubicBezTo>
                        <a:pt x="21167" y="508000"/>
                        <a:pt x="35983" y="276225"/>
                        <a:pt x="149225" y="28575"/>
                      </a:cubicBezTo>
                      <a:lnTo>
                        <a:pt x="336550" y="0"/>
                      </a:ln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3" name="Freeform 42"/>
                <p:cNvSpPr/>
                <p:nvPr/>
              </p:nvSpPr>
              <p:spPr bwMode="auto">
                <a:xfrm>
                  <a:off x="7414243" y="2691300"/>
                  <a:ext cx="139082" cy="68948"/>
                </a:xfrm>
                <a:custGeom>
                  <a:avLst/>
                  <a:gdLst>
                    <a:gd name="connsiteX0" fmla="*/ 93857 w 187714"/>
                    <a:gd name="connsiteY0" fmla="*/ 0 h 93056"/>
                    <a:gd name="connsiteX1" fmla="*/ 180525 w 187714"/>
                    <a:gd name="connsiteY1" fmla="*/ 57448 h 93056"/>
                    <a:gd name="connsiteX2" fmla="*/ 187714 w 187714"/>
                    <a:gd name="connsiteY2" fmla="*/ 93056 h 93056"/>
                    <a:gd name="connsiteX3" fmla="*/ 0 w 187714"/>
                    <a:gd name="connsiteY3" fmla="*/ 93056 h 93056"/>
                    <a:gd name="connsiteX4" fmla="*/ 7189 w 187714"/>
                    <a:gd name="connsiteY4" fmla="*/ 57448 h 93056"/>
                    <a:gd name="connsiteX5" fmla="*/ 93857 w 187714"/>
                    <a:gd name="connsiteY5" fmla="*/ 0 h 93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7714" h="93056">
                      <a:moveTo>
                        <a:pt x="93857" y="0"/>
                      </a:moveTo>
                      <a:cubicBezTo>
                        <a:pt x="132818" y="0"/>
                        <a:pt x="166246" y="23688"/>
                        <a:pt x="180525" y="57448"/>
                      </a:cubicBezTo>
                      <a:lnTo>
                        <a:pt x="187714" y="93056"/>
                      </a:lnTo>
                      <a:lnTo>
                        <a:pt x="0" y="93056"/>
                      </a:lnTo>
                      <a:lnTo>
                        <a:pt x="7189" y="57448"/>
                      </a:lnTo>
                      <a:cubicBezTo>
                        <a:pt x="21468" y="23688"/>
                        <a:pt x="54896" y="0"/>
                        <a:pt x="93857" y="0"/>
                      </a:cubicBezTo>
                      <a:close/>
                    </a:path>
                  </a:pathLst>
                </a:cu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836" dirty="0">
                    <a:solidFill>
                      <a:srgbClr val="FFFFFF"/>
                    </a:solidFill>
                  </a:endParaRPr>
                </a:p>
              </p:txBody>
            </p:sp>
            <p:sp>
              <p:nvSpPr>
                <p:cNvPr id="44" name="Freeform 43"/>
                <p:cNvSpPr/>
                <p:nvPr/>
              </p:nvSpPr>
              <p:spPr bwMode="auto">
                <a:xfrm>
                  <a:off x="7578549" y="2691300"/>
                  <a:ext cx="139082" cy="68948"/>
                </a:xfrm>
                <a:custGeom>
                  <a:avLst/>
                  <a:gdLst>
                    <a:gd name="connsiteX0" fmla="*/ 93857 w 187714"/>
                    <a:gd name="connsiteY0" fmla="*/ 0 h 93056"/>
                    <a:gd name="connsiteX1" fmla="*/ 180525 w 187714"/>
                    <a:gd name="connsiteY1" fmla="*/ 57448 h 93056"/>
                    <a:gd name="connsiteX2" fmla="*/ 187714 w 187714"/>
                    <a:gd name="connsiteY2" fmla="*/ 93056 h 93056"/>
                    <a:gd name="connsiteX3" fmla="*/ 0 w 187714"/>
                    <a:gd name="connsiteY3" fmla="*/ 93056 h 93056"/>
                    <a:gd name="connsiteX4" fmla="*/ 7189 w 187714"/>
                    <a:gd name="connsiteY4" fmla="*/ 57448 h 93056"/>
                    <a:gd name="connsiteX5" fmla="*/ 93857 w 187714"/>
                    <a:gd name="connsiteY5" fmla="*/ 0 h 93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7714" h="93056">
                      <a:moveTo>
                        <a:pt x="93857" y="0"/>
                      </a:moveTo>
                      <a:cubicBezTo>
                        <a:pt x="132818" y="0"/>
                        <a:pt x="166246" y="23688"/>
                        <a:pt x="180525" y="57448"/>
                      </a:cubicBezTo>
                      <a:lnTo>
                        <a:pt x="187714" y="93056"/>
                      </a:lnTo>
                      <a:lnTo>
                        <a:pt x="0" y="93056"/>
                      </a:lnTo>
                      <a:lnTo>
                        <a:pt x="7189" y="57448"/>
                      </a:lnTo>
                      <a:cubicBezTo>
                        <a:pt x="21468" y="23688"/>
                        <a:pt x="54896" y="0"/>
                        <a:pt x="93857" y="0"/>
                      </a:cubicBezTo>
                      <a:close/>
                    </a:path>
                  </a:pathLst>
                </a:cu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1836" dirty="0">
                    <a:solidFill>
                      <a:srgbClr val="FFFFFF"/>
                    </a:solidFill>
                  </a:endParaRPr>
                </a:p>
              </p:txBody>
            </p:sp>
            <p:sp>
              <p:nvSpPr>
                <p:cNvPr id="45" name="Freeform 44"/>
                <p:cNvSpPr/>
                <p:nvPr/>
              </p:nvSpPr>
              <p:spPr bwMode="auto">
                <a:xfrm rot="5400000">
                  <a:off x="7369932" y="462960"/>
                  <a:ext cx="392904" cy="309562"/>
                </a:xfrm>
                <a:custGeom>
                  <a:avLst/>
                  <a:gdLst>
                    <a:gd name="connsiteX0" fmla="*/ 0 w 392904"/>
                    <a:gd name="connsiteY0" fmla="*/ 184191 h 309562"/>
                    <a:gd name="connsiteX1" fmla="*/ 0 w 392904"/>
                    <a:gd name="connsiteY1" fmla="*/ 125371 h 309562"/>
                    <a:gd name="connsiteX2" fmla="*/ 95323 w 392904"/>
                    <a:gd name="connsiteY2" fmla="*/ 30048 h 309562"/>
                    <a:gd name="connsiteX3" fmla="*/ 107911 w 392904"/>
                    <a:gd name="connsiteY3" fmla="*/ 30048 h 309562"/>
                    <a:gd name="connsiteX4" fmla="*/ 116458 w 392904"/>
                    <a:gd name="connsiteY4" fmla="*/ 9416 h 309562"/>
                    <a:gd name="connsiteX5" fmla="*/ 139189 w 392904"/>
                    <a:gd name="connsiteY5" fmla="*/ 0 h 309562"/>
                    <a:gd name="connsiteX6" fmla="*/ 182279 w 392904"/>
                    <a:gd name="connsiteY6" fmla="*/ 0 h 309562"/>
                    <a:gd name="connsiteX7" fmla="*/ 205010 w 392904"/>
                    <a:gd name="connsiteY7" fmla="*/ 9416 h 309562"/>
                    <a:gd name="connsiteX8" fmla="*/ 213557 w 392904"/>
                    <a:gd name="connsiteY8" fmla="*/ 30048 h 309562"/>
                    <a:gd name="connsiteX9" fmla="*/ 252339 w 392904"/>
                    <a:gd name="connsiteY9" fmla="*/ 30048 h 309562"/>
                    <a:gd name="connsiteX10" fmla="*/ 319742 w 392904"/>
                    <a:gd name="connsiteY10" fmla="*/ 57968 h 309562"/>
                    <a:gd name="connsiteX11" fmla="*/ 336441 w 392904"/>
                    <a:gd name="connsiteY11" fmla="*/ 82735 h 309562"/>
                    <a:gd name="connsiteX12" fmla="*/ 357186 w 392904"/>
                    <a:gd name="connsiteY12" fmla="*/ 80848 h 309562"/>
                    <a:gd name="connsiteX13" fmla="*/ 392904 w 392904"/>
                    <a:gd name="connsiteY13" fmla="*/ 152286 h 309562"/>
                    <a:gd name="connsiteX14" fmla="*/ 357186 w 392904"/>
                    <a:gd name="connsiteY14" fmla="*/ 235629 h 309562"/>
                    <a:gd name="connsiteX15" fmla="*/ 330992 w 392904"/>
                    <a:gd name="connsiteY15" fmla="*/ 235629 h 309562"/>
                    <a:gd name="connsiteX16" fmla="*/ 330992 w 392904"/>
                    <a:gd name="connsiteY16" fmla="*/ 234909 h 309562"/>
                    <a:gd name="connsiteX17" fmla="*/ 319742 w 392904"/>
                    <a:gd name="connsiteY17" fmla="*/ 251594 h 309562"/>
                    <a:gd name="connsiteX18" fmla="*/ 252339 w 392904"/>
                    <a:gd name="connsiteY18" fmla="*/ 279514 h 309562"/>
                    <a:gd name="connsiteX19" fmla="*/ 213557 w 392904"/>
                    <a:gd name="connsiteY19" fmla="*/ 279514 h 309562"/>
                    <a:gd name="connsiteX20" fmla="*/ 205010 w 392904"/>
                    <a:gd name="connsiteY20" fmla="*/ 300146 h 309562"/>
                    <a:gd name="connsiteX21" fmla="*/ 182279 w 392904"/>
                    <a:gd name="connsiteY21" fmla="*/ 309562 h 309562"/>
                    <a:gd name="connsiteX22" fmla="*/ 139189 w 392904"/>
                    <a:gd name="connsiteY22" fmla="*/ 309562 h 309562"/>
                    <a:gd name="connsiteX23" fmla="*/ 116458 w 392904"/>
                    <a:gd name="connsiteY23" fmla="*/ 300146 h 309562"/>
                    <a:gd name="connsiteX24" fmla="*/ 107911 w 392904"/>
                    <a:gd name="connsiteY24" fmla="*/ 279514 h 309562"/>
                    <a:gd name="connsiteX25" fmla="*/ 95323 w 392904"/>
                    <a:gd name="connsiteY25" fmla="*/ 279514 h 309562"/>
                    <a:gd name="connsiteX26" fmla="*/ 0 w 392904"/>
                    <a:gd name="connsiteY26" fmla="*/ 184191 h 309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92904" h="309562">
                      <a:moveTo>
                        <a:pt x="0" y="184191"/>
                      </a:moveTo>
                      <a:lnTo>
                        <a:pt x="0" y="125371"/>
                      </a:lnTo>
                      <a:cubicBezTo>
                        <a:pt x="0" y="72726"/>
                        <a:pt x="42678" y="30048"/>
                        <a:pt x="95323" y="30048"/>
                      </a:cubicBezTo>
                      <a:lnTo>
                        <a:pt x="107911" y="30048"/>
                      </a:lnTo>
                      <a:lnTo>
                        <a:pt x="116458" y="9416"/>
                      </a:lnTo>
                      <a:cubicBezTo>
                        <a:pt x="122275" y="3598"/>
                        <a:pt x="130312" y="0"/>
                        <a:pt x="139189" y="0"/>
                      </a:cubicBezTo>
                      <a:lnTo>
                        <a:pt x="182279" y="0"/>
                      </a:lnTo>
                      <a:cubicBezTo>
                        <a:pt x="191156" y="0"/>
                        <a:pt x="199193" y="3598"/>
                        <a:pt x="205010" y="9416"/>
                      </a:cubicBezTo>
                      <a:lnTo>
                        <a:pt x="213557" y="30048"/>
                      </a:lnTo>
                      <a:lnTo>
                        <a:pt x="252339" y="30048"/>
                      </a:lnTo>
                      <a:cubicBezTo>
                        <a:pt x="278662" y="30048"/>
                        <a:pt x="302492" y="40718"/>
                        <a:pt x="319742" y="57968"/>
                      </a:cubicBezTo>
                      <a:lnTo>
                        <a:pt x="336441" y="82735"/>
                      </a:lnTo>
                      <a:lnTo>
                        <a:pt x="357186" y="80848"/>
                      </a:lnTo>
                      <a:lnTo>
                        <a:pt x="392904" y="152286"/>
                      </a:lnTo>
                      <a:lnTo>
                        <a:pt x="357186" y="235629"/>
                      </a:lnTo>
                      <a:lnTo>
                        <a:pt x="330992" y="235629"/>
                      </a:lnTo>
                      <a:lnTo>
                        <a:pt x="330992" y="234909"/>
                      </a:lnTo>
                      <a:lnTo>
                        <a:pt x="319742" y="251594"/>
                      </a:lnTo>
                      <a:cubicBezTo>
                        <a:pt x="302492" y="268845"/>
                        <a:pt x="278662" y="279514"/>
                        <a:pt x="252339" y="279514"/>
                      </a:cubicBezTo>
                      <a:lnTo>
                        <a:pt x="213557" y="279514"/>
                      </a:lnTo>
                      <a:lnTo>
                        <a:pt x="205010" y="300146"/>
                      </a:lnTo>
                      <a:cubicBezTo>
                        <a:pt x="199193" y="305964"/>
                        <a:pt x="191156" y="309562"/>
                        <a:pt x="182279" y="309562"/>
                      </a:cubicBezTo>
                      <a:lnTo>
                        <a:pt x="139189" y="309562"/>
                      </a:lnTo>
                      <a:cubicBezTo>
                        <a:pt x="130312" y="309562"/>
                        <a:pt x="122275" y="305964"/>
                        <a:pt x="116458" y="300146"/>
                      </a:cubicBezTo>
                      <a:lnTo>
                        <a:pt x="107911" y="279514"/>
                      </a:lnTo>
                      <a:lnTo>
                        <a:pt x="95323" y="279514"/>
                      </a:lnTo>
                      <a:cubicBezTo>
                        <a:pt x="42678" y="279514"/>
                        <a:pt x="0" y="236836"/>
                        <a:pt x="0" y="184191"/>
                      </a:cubicBezTo>
                      <a:close/>
                    </a:path>
                  </a:pathLst>
                </a:cu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6" name="Freeform 45"/>
                <p:cNvSpPr/>
                <p:nvPr/>
              </p:nvSpPr>
              <p:spPr bwMode="auto">
                <a:xfrm>
                  <a:off x="7375560" y="303916"/>
                  <a:ext cx="364778" cy="283264"/>
                </a:xfrm>
                <a:custGeom>
                  <a:avLst/>
                  <a:gdLst>
                    <a:gd name="connsiteX0" fmla="*/ 300038 w 300038"/>
                    <a:gd name="connsiteY0" fmla="*/ 190500 h 190500"/>
                    <a:gd name="connsiteX1" fmla="*/ 271463 w 300038"/>
                    <a:gd name="connsiteY1" fmla="*/ 116681 h 190500"/>
                    <a:gd name="connsiteX2" fmla="*/ 195263 w 300038"/>
                    <a:gd name="connsiteY2" fmla="*/ 107156 h 190500"/>
                    <a:gd name="connsiteX3" fmla="*/ 52388 w 300038"/>
                    <a:gd name="connsiteY3" fmla="*/ 100012 h 190500"/>
                    <a:gd name="connsiteX4" fmla="*/ 21431 w 300038"/>
                    <a:gd name="connsiteY4" fmla="*/ 119062 h 190500"/>
                    <a:gd name="connsiteX5" fmla="*/ 23813 w 300038"/>
                    <a:gd name="connsiteY5" fmla="*/ 164306 h 190500"/>
                    <a:gd name="connsiteX6" fmla="*/ 0 w 300038"/>
                    <a:gd name="connsiteY6" fmla="*/ 171450 h 190500"/>
                    <a:gd name="connsiteX7" fmla="*/ 97631 w 300038"/>
                    <a:gd name="connsiteY7" fmla="*/ 0 h 190500"/>
                    <a:gd name="connsiteX8" fmla="*/ 214313 w 300038"/>
                    <a:gd name="connsiteY8" fmla="*/ 40481 h 190500"/>
                    <a:gd name="connsiteX9" fmla="*/ 300038 w 300038"/>
                    <a:gd name="connsiteY9" fmla="*/ 190500 h 190500"/>
                    <a:gd name="connsiteX0" fmla="*/ 300038 w 300038"/>
                    <a:gd name="connsiteY0" fmla="*/ 190500 h 190500"/>
                    <a:gd name="connsiteX1" fmla="*/ 271463 w 300038"/>
                    <a:gd name="connsiteY1" fmla="*/ 116681 h 190500"/>
                    <a:gd name="connsiteX2" fmla="*/ 195263 w 300038"/>
                    <a:gd name="connsiteY2" fmla="*/ 107156 h 190500"/>
                    <a:gd name="connsiteX3" fmla="*/ 52388 w 300038"/>
                    <a:gd name="connsiteY3" fmla="*/ 100012 h 190500"/>
                    <a:gd name="connsiteX4" fmla="*/ 21431 w 300038"/>
                    <a:gd name="connsiteY4" fmla="*/ 119062 h 190500"/>
                    <a:gd name="connsiteX5" fmla="*/ 23813 w 300038"/>
                    <a:gd name="connsiteY5" fmla="*/ 164306 h 190500"/>
                    <a:gd name="connsiteX6" fmla="*/ 0 w 300038"/>
                    <a:gd name="connsiteY6" fmla="*/ 171450 h 190500"/>
                    <a:gd name="connsiteX7" fmla="*/ 97631 w 300038"/>
                    <a:gd name="connsiteY7" fmla="*/ 0 h 190500"/>
                    <a:gd name="connsiteX8" fmla="*/ 214313 w 300038"/>
                    <a:gd name="connsiteY8" fmla="*/ 40481 h 190500"/>
                    <a:gd name="connsiteX9" fmla="*/ 300038 w 300038"/>
                    <a:gd name="connsiteY9" fmla="*/ 190500 h 190500"/>
                    <a:gd name="connsiteX0" fmla="*/ 300038 w 300038"/>
                    <a:gd name="connsiteY0" fmla="*/ 190500 h 190500"/>
                    <a:gd name="connsiteX1" fmla="*/ 271463 w 300038"/>
                    <a:gd name="connsiteY1" fmla="*/ 116681 h 190500"/>
                    <a:gd name="connsiteX2" fmla="*/ 195263 w 300038"/>
                    <a:gd name="connsiteY2" fmla="*/ 107156 h 190500"/>
                    <a:gd name="connsiteX3" fmla="*/ 52388 w 300038"/>
                    <a:gd name="connsiteY3" fmla="*/ 100012 h 190500"/>
                    <a:gd name="connsiteX4" fmla="*/ 21431 w 300038"/>
                    <a:gd name="connsiteY4" fmla="*/ 119062 h 190500"/>
                    <a:gd name="connsiteX5" fmla="*/ 23813 w 300038"/>
                    <a:gd name="connsiteY5" fmla="*/ 164306 h 190500"/>
                    <a:gd name="connsiteX6" fmla="*/ 0 w 300038"/>
                    <a:gd name="connsiteY6" fmla="*/ 171450 h 190500"/>
                    <a:gd name="connsiteX7" fmla="*/ 97631 w 300038"/>
                    <a:gd name="connsiteY7" fmla="*/ 0 h 190500"/>
                    <a:gd name="connsiteX8" fmla="*/ 214313 w 300038"/>
                    <a:gd name="connsiteY8" fmla="*/ 40481 h 190500"/>
                    <a:gd name="connsiteX9" fmla="*/ 300038 w 300038"/>
                    <a:gd name="connsiteY9" fmla="*/ 190500 h 190500"/>
                    <a:gd name="connsiteX0" fmla="*/ 300038 w 301649"/>
                    <a:gd name="connsiteY0" fmla="*/ 190500 h 190500"/>
                    <a:gd name="connsiteX1" fmla="*/ 271463 w 301649"/>
                    <a:gd name="connsiteY1" fmla="*/ 116681 h 190500"/>
                    <a:gd name="connsiteX2" fmla="*/ 195263 w 301649"/>
                    <a:gd name="connsiteY2" fmla="*/ 107156 h 190500"/>
                    <a:gd name="connsiteX3" fmla="*/ 52388 w 301649"/>
                    <a:gd name="connsiteY3" fmla="*/ 100012 h 190500"/>
                    <a:gd name="connsiteX4" fmla="*/ 21431 w 301649"/>
                    <a:gd name="connsiteY4" fmla="*/ 119062 h 190500"/>
                    <a:gd name="connsiteX5" fmla="*/ 23813 w 301649"/>
                    <a:gd name="connsiteY5" fmla="*/ 164306 h 190500"/>
                    <a:gd name="connsiteX6" fmla="*/ 0 w 301649"/>
                    <a:gd name="connsiteY6" fmla="*/ 171450 h 190500"/>
                    <a:gd name="connsiteX7" fmla="*/ 97631 w 301649"/>
                    <a:gd name="connsiteY7" fmla="*/ 0 h 190500"/>
                    <a:gd name="connsiteX8" fmla="*/ 214313 w 301649"/>
                    <a:gd name="connsiteY8" fmla="*/ 40481 h 190500"/>
                    <a:gd name="connsiteX9" fmla="*/ 300038 w 301649"/>
                    <a:gd name="connsiteY9" fmla="*/ 190500 h 190500"/>
                    <a:gd name="connsiteX0" fmla="*/ 300038 w 301649"/>
                    <a:gd name="connsiteY0" fmla="*/ 194507 h 194507"/>
                    <a:gd name="connsiteX1" fmla="*/ 271463 w 301649"/>
                    <a:gd name="connsiteY1" fmla="*/ 120688 h 194507"/>
                    <a:gd name="connsiteX2" fmla="*/ 195263 w 301649"/>
                    <a:gd name="connsiteY2" fmla="*/ 111163 h 194507"/>
                    <a:gd name="connsiteX3" fmla="*/ 52388 w 301649"/>
                    <a:gd name="connsiteY3" fmla="*/ 104019 h 194507"/>
                    <a:gd name="connsiteX4" fmla="*/ 21431 w 301649"/>
                    <a:gd name="connsiteY4" fmla="*/ 123069 h 194507"/>
                    <a:gd name="connsiteX5" fmla="*/ 23813 w 301649"/>
                    <a:gd name="connsiteY5" fmla="*/ 168313 h 194507"/>
                    <a:gd name="connsiteX6" fmla="*/ 0 w 301649"/>
                    <a:gd name="connsiteY6" fmla="*/ 175457 h 194507"/>
                    <a:gd name="connsiteX7" fmla="*/ 97631 w 301649"/>
                    <a:gd name="connsiteY7" fmla="*/ 4007 h 194507"/>
                    <a:gd name="connsiteX8" fmla="*/ 214313 w 301649"/>
                    <a:gd name="connsiteY8" fmla="*/ 44488 h 194507"/>
                    <a:gd name="connsiteX9" fmla="*/ 300038 w 301649"/>
                    <a:gd name="connsiteY9" fmla="*/ 194507 h 194507"/>
                    <a:gd name="connsiteX0" fmla="*/ 300038 w 301649"/>
                    <a:gd name="connsiteY0" fmla="*/ 195665 h 195665"/>
                    <a:gd name="connsiteX1" fmla="*/ 271463 w 301649"/>
                    <a:gd name="connsiteY1" fmla="*/ 121846 h 195665"/>
                    <a:gd name="connsiteX2" fmla="*/ 195263 w 301649"/>
                    <a:gd name="connsiteY2" fmla="*/ 112321 h 195665"/>
                    <a:gd name="connsiteX3" fmla="*/ 52388 w 301649"/>
                    <a:gd name="connsiteY3" fmla="*/ 105177 h 195665"/>
                    <a:gd name="connsiteX4" fmla="*/ 21431 w 301649"/>
                    <a:gd name="connsiteY4" fmla="*/ 124227 h 195665"/>
                    <a:gd name="connsiteX5" fmla="*/ 23813 w 301649"/>
                    <a:gd name="connsiteY5" fmla="*/ 169471 h 195665"/>
                    <a:gd name="connsiteX6" fmla="*/ 0 w 301649"/>
                    <a:gd name="connsiteY6" fmla="*/ 176615 h 195665"/>
                    <a:gd name="connsiteX7" fmla="*/ 97631 w 301649"/>
                    <a:gd name="connsiteY7" fmla="*/ 5165 h 195665"/>
                    <a:gd name="connsiteX8" fmla="*/ 214313 w 301649"/>
                    <a:gd name="connsiteY8" fmla="*/ 45646 h 195665"/>
                    <a:gd name="connsiteX9" fmla="*/ 300038 w 301649"/>
                    <a:gd name="connsiteY9" fmla="*/ 195665 h 195665"/>
                    <a:gd name="connsiteX0" fmla="*/ 300038 w 301649"/>
                    <a:gd name="connsiteY0" fmla="*/ 195665 h 195665"/>
                    <a:gd name="connsiteX1" fmla="*/ 271463 w 301649"/>
                    <a:gd name="connsiteY1" fmla="*/ 121846 h 195665"/>
                    <a:gd name="connsiteX2" fmla="*/ 195263 w 301649"/>
                    <a:gd name="connsiteY2" fmla="*/ 112321 h 195665"/>
                    <a:gd name="connsiteX3" fmla="*/ 52388 w 301649"/>
                    <a:gd name="connsiteY3" fmla="*/ 105177 h 195665"/>
                    <a:gd name="connsiteX4" fmla="*/ 45243 w 301649"/>
                    <a:gd name="connsiteY4" fmla="*/ 150420 h 195665"/>
                    <a:gd name="connsiteX5" fmla="*/ 23813 w 301649"/>
                    <a:gd name="connsiteY5" fmla="*/ 169471 h 195665"/>
                    <a:gd name="connsiteX6" fmla="*/ 0 w 301649"/>
                    <a:gd name="connsiteY6" fmla="*/ 176615 h 195665"/>
                    <a:gd name="connsiteX7" fmla="*/ 97631 w 301649"/>
                    <a:gd name="connsiteY7" fmla="*/ 5165 h 195665"/>
                    <a:gd name="connsiteX8" fmla="*/ 214313 w 301649"/>
                    <a:gd name="connsiteY8" fmla="*/ 45646 h 195665"/>
                    <a:gd name="connsiteX9" fmla="*/ 300038 w 301649"/>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5688 w 302094"/>
                    <a:gd name="connsiteY4" fmla="*/ 150420 h 195665"/>
                    <a:gd name="connsiteX5" fmla="*/ 24258 w 302094"/>
                    <a:gd name="connsiteY5" fmla="*/ 169471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5688 w 302094"/>
                    <a:gd name="connsiteY4" fmla="*/ 150420 h 195665"/>
                    <a:gd name="connsiteX5" fmla="*/ 21877 w 302094"/>
                    <a:gd name="connsiteY5" fmla="*/ 131371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3307 w 302094"/>
                    <a:gd name="connsiteY4" fmla="*/ 126608 h 195665"/>
                    <a:gd name="connsiteX5" fmla="*/ 21877 w 302094"/>
                    <a:gd name="connsiteY5" fmla="*/ 131371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3307 w 302094"/>
                    <a:gd name="connsiteY4" fmla="*/ 126608 h 195665"/>
                    <a:gd name="connsiteX5" fmla="*/ 12352 w 302094"/>
                    <a:gd name="connsiteY5" fmla="*/ 171852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3307 w 302094"/>
                    <a:gd name="connsiteY4" fmla="*/ 126608 h 195665"/>
                    <a:gd name="connsiteX5" fmla="*/ 12352 w 302094"/>
                    <a:gd name="connsiteY5" fmla="*/ 171852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3307 w 302094"/>
                    <a:gd name="connsiteY4" fmla="*/ 126608 h 195665"/>
                    <a:gd name="connsiteX5" fmla="*/ 12352 w 302094"/>
                    <a:gd name="connsiteY5" fmla="*/ 171852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3307 w 302094"/>
                    <a:gd name="connsiteY4" fmla="*/ 126608 h 195665"/>
                    <a:gd name="connsiteX5" fmla="*/ 12352 w 302094"/>
                    <a:gd name="connsiteY5" fmla="*/ 171852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2094"/>
                    <a:gd name="connsiteY0" fmla="*/ 195665 h 195665"/>
                    <a:gd name="connsiteX1" fmla="*/ 271908 w 302094"/>
                    <a:gd name="connsiteY1" fmla="*/ 121846 h 195665"/>
                    <a:gd name="connsiteX2" fmla="*/ 195708 w 302094"/>
                    <a:gd name="connsiteY2" fmla="*/ 112321 h 195665"/>
                    <a:gd name="connsiteX3" fmla="*/ 52833 w 302094"/>
                    <a:gd name="connsiteY3" fmla="*/ 105177 h 195665"/>
                    <a:gd name="connsiteX4" fmla="*/ 43307 w 302094"/>
                    <a:gd name="connsiteY4" fmla="*/ 126608 h 195665"/>
                    <a:gd name="connsiteX5" fmla="*/ 12352 w 302094"/>
                    <a:gd name="connsiteY5" fmla="*/ 171852 h 195665"/>
                    <a:gd name="connsiteX6" fmla="*/ 445 w 302094"/>
                    <a:gd name="connsiteY6" fmla="*/ 176615 h 195665"/>
                    <a:gd name="connsiteX7" fmla="*/ 98076 w 302094"/>
                    <a:gd name="connsiteY7" fmla="*/ 5165 h 195665"/>
                    <a:gd name="connsiteX8" fmla="*/ 214758 w 302094"/>
                    <a:gd name="connsiteY8" fmla="*/ 45646 h 195665"/>
                    <a:gd name="connsiteX9" fmla="*/ 300483 w 302094"/>
                    <a:gd name="connsiteY9" fmla="*/ 195665 h 195665"/>
                    <a:gd name="connsiteX0" fmla="*/ 300483 w 301906"/>
                    <a:gd name="connsiteY0" fmla="*/ 195665 h 195665"/>
                    <a:gd name="connsiteX1" fmla="*/ 271908 w 301906"/>
                    <a:gd name="connsiteY1" fmla="*/ 121846 h 195665"/>
                    <a:gd name="connsiteX2" fmla="*/ 195708 w 301906"/>
                    <a:gd name="connsiteY2" fmla="*/ 112321 h 195665"/>
                    <a:gd name="connsiteX3" fmla="*/ 52833 w 301906"/>
                    <a:gd name="connsiteY3" fmla="*/ 105177 h 195665"/>
                    <a:gd name="connsiteX4" fmla="*/ 43307 w 301906"/>
                    <a:gd name="connsiteY4" fmla="*/ 126608 h 195665"/>
                    <a:gd name="connsiteX5" fmla="*/ 12352 w 301906"/>
                    <a:gd name="connsiteY5" fmla="*/ 171852 h 195665"/>
                    <a:gd name="connsiteX6" fmla="*/ 445 w 301906"/>
                    <a:gd name="connsiteY6" fmla="*/ 176615 h 195665"/>
                    <a:gd name="connsiteX7" fmla="*/ 98076 w 301906"/>
                    <a:gd name="connsiteY7" fmla="*/ 5165 h 195665"/>
                    <a:gd name="connsiteX8" fmla="*/ 214758 w 301906"/>
                    <a:gd name="connsiteY8" fmla="*/ 45646 h 195665"/>
                    <a:gd name="connsiteX9" fmla="*/ 300483 w 301906"/>
                    <a:gd name="connsiteY9" fmla="*/ 195665 h 195665"/>
                    <a:gd name="connsiteX0" fmla="*/ 300483 w 301906"/>
                    <a:gd name="connsiteY0" fmla="*/ 195665 h 195665"/>
                    <a:gd name="connsiteX1" fmla="*/ 271908 w 301906"/>
                    <a:gd name="connsiteY1" fmla="*/ 121846 h 195665"/>
                    <a:gd name="connsiteX2" fmla="*/ 195708 w 301906"/>
                    <a:gd name="connsiteY2" fmla="*/ 112321 h 195665"/>
                    <a:gd name="connsiteX3" fmla="*/ 52833 w 301906"/>
                    <a:gd name="connsiteY3" fmla="*/ 105177 h 195665"/>
                    <a:gd name="connsiteX4" fmla="*/ 43307 w 301906"/>
                    <a:gd name="connsiteY4" fmla="*/ 126608 h 195665"/>
                    <a:gd name="connsiteX5" fmla="*/ 12352 w 301906"/>
                    <a:gd name="connsiteY5" fmla="*/ 171852 h 195665"/>
                    <a:gd name="connsiteX6" fmla="*/ 445 w 301906"/>
                    <a:gd name="connsiteY6" fmla="*/ 176615 h 195665"/>
                    <a:gd name="connsiteX7" fmla="*/ 98076 w 301906"/>
                    <a:gd name="connsiteY7" fmla="*/ 5165 h 195665"/>
                    <a:gd name="connsiteX8" fmla="*/ 214758 w 301906"/>
                    <a:gd name="connsiteY8" fmla="*/ 45646 h 195665"/>
                    <a:gd name="connsiteX9" fmla="*/ 300483 w 301906"/>
                    <a:gd name="connsiteY9" fmla="*/ 195665 h 195665"/>
                    <a:gd name="connsiteX0" fmla="*/ 300157 w 305426"/>
                    <a:gd name="connsiteY0" fmla="*/ 207197 h 207197"/>
                    <a:gd name="connsiteX1" fmla="*/ 271582 w 305426"/>
                    <a:gd name="connsiteY1" fmla="*/ 133378 h 207197"/>
                    <a:gd name="connsiteX2" fmla="*/ 195382 w 305426"/>
                    <a:gd name="connsiteY2" fmla="*/ 123853 h 207197"/>
                    <a:gd name="connsiteX3" fmla="*/ 52507 w 305426"/>
                    <a:gd name="connsiteY3" fmla="*/ 116709 h 207197"/>
                    <a:gd name="connsiteX4" fmla="*/ 42981 w 305426"/>
                    <a:gd name="connsiteY4" fmla="*/ 138140 h 207197"/>
                    <a:gd name="connsiteX5" fmla="*/ 12026 w 305426"/>
                    <a:gd name="connsiteY5" fmla="*/ 183384 h 207197"/>
                    <a:gd name="connsiteX6" fmla="*/ 119 w 305426"/>
                    <a:gd name="connsiteY6" fmla="*/ 188147 h 207197"/>
                    <a:gd name="connsiteX7" fmla="*/ 97750 w 305426"/>
                    <a:gd name="connsiteY7" fmla="*/ 16697 h 207197"/>
                    <a:gd name="connsiteX8" fmla="*/ 236657 w 305426"/>
                    <a:gd name="connsiteY8" fmla="*/ 25428 h 207197"/>
                    <a:gd name="connsiteX9" fmla="*/ 300157 w 305426"/>
                    <a:gd name="connsiteY9" fmla="*/ 207197 h 207197"/>
                    <a:gd name="connsiteX0" fmla="*/ 301589 w 306858"/>
                    <a:gd name="connsiteY0" fmla="*/ 228594 h 228594"/>
                    <a:gd name="connsiteX1" fmla="*/ 273014 w 306858"/>
                    <a:gd name="connsiteY1" fmla="*/ 154775 h 228594"/>
                    <a:gd name="connsiteX2" fmla="*/ 196814 w 306858"/>
                    <a:gd name="connsiteY2" fmla="*/ 145250 h 228594"/>
                    <a:gd name="connsiteX3" fmla="*/ 53939 w 306858"/>
                    <a:gd name="connsiteY3" fmla="*/ 138106 h 228594"/>
                    <a:gd name="connsiteX4" fmla="*/ 44413 w 306858"/>
                    <a:gd name="connsiteY4" fmla="*/ 159537 h 228594"/>
                    <a:gd name="connsiteX5" fmla="*/ 13458 w 306858"/>
                    <a:gd name="connsiteY5" fmla="*/ 204781 h 228594"/>
                    <a:gd name="connsiteX6" fmla="*/ 1551 w 306858"/>
                    <a:gd name="connsiteY6" fmla="*/ 209544 h 228594"/>
                    <a:gd name="connsiteX7" fmla="*/ 35682 w 306858"/>
                    <a:gd name="connsiteY7" fmla="*/ 9519 h 228594"/>
                    <a:gd name="connsiteX8" fmla="*/ 238089 w 306858"/>
                    <a:gd name="connsiteY8" fmla="*/ 46825 h 228594"/>
                    <a:gd name="connsiteX9" fmla="*/ 301589 w 306858"/>
                    <a:gd name="connsiteY9" fmla="*/ 228594 h 228594"/>
                    <a:gd name="connsiteX0" fmla="*/ 309678 w 314947"/>
                    <a:gd name="connsiteY0" fmla="*/ 254831 h 254831"/>
                    <a:gd name="connsiteX1" fmla="*/ 281103 w 314947"/>
                    <a:gd name="connsiteY1" fmla="*/ 181012 h 254831"/>
                    <a:gd name="connsiteX2" fmla="*/ 204903 w 314947"/>
                    <a:gd name="connsiteY2" fmla="*/ 171487 h 254831"/>
                    <a:gd name="connsiteX3" fmla="*/ 62028 w 314947"/>
                    <a:gd name="connsiteY3" fmla="*/ 164343 h 254831"/>
                    <a:gd name="connsiteX4" fmla="*/ 52502 w 314947"/>
                    <a:gd name="connsiteY4" fmla="*/ 185774 h 254831"/>
                    <a:gd name="connsiteX5" fmla="*/ 21547 w 314947"/>
                    <a:gd name="connsiteY5" fmla="*/ 231018 h 254831"/>
                    <a:gd name="connsiteX6" fmla="*/ 9640 w 314947"/>
                    <a:gd name="connsiteY6" fmla="*/ 235781 h 254831"/>
                    <a:gd name="connsiteX7" fmla="*/ 43771 w 314947"/>
                    <a:gd name="connsiteY7" fmla="*/ 35756 h 254831"/>
                    <a:gd name="connsiteX8" fmla="*/ 246178 w 314947"/>
                    <a:gd name="connsiteY8" fmla="*/ 73062 h 254831"/>
                    <a:gd name="connsiteX9" fmla="*/ 309678 w 314947"/>
                    <a:gd name="connsiteY9" fmla="*/ 254831 h 254831"/>
                    <a:gd name="connsiteX0" fmla="*/ 322378 w 324871"/>
                    <a:gd name="connsiteY0" fmla="*/ 280231 h 280231"/>
                    <a:gd name="connsiteX1" fmla="*/ 281103 w 324871"/>
                    <a:gd name="connsiteY1" fmla="*/ 181012 h 280231"/>
                    <a:gd name="connsiteX2" fmla="*/ 204903 w 324871"/>
                    <a:gd name="connsiteY2" fmla="*/ 171487 h 280231"/>
                    <a:gd name="connsiteX3" fmla="*/ 62028 w 324871"/>
                    <a:gd name="connsiteY3" fmla="*/ 164343 h 280231"/>
                    <a:gd name="connsiteX4" fmla="*/ 52502 w 324871"/>
                    <a:gd name="connsiteY4" fmla="*/ 185774 h 280231"/>
                    <a:gd name="connsiteX5" fmla="*/ 21547 w 324871"/>
                    <a:gd name="connsiteY5" fmla="*/ 231018 h 280231"/>
                    <a:gd name="connsiteX6" fmla="*/ 9640 w 324871"/>
                    <a:gd name="connsiteY6" fmla="*/ 235781 h 280231"/>
                    <a:gd name="connsiteX7" fmla="*/ 43771 w 324871"/>
                    <a:gd name="connsiteY7" fmla="*/ 35756 h 280231"/>
                    <a:gd name="connsiteX8" fmla="*/ 246178 w 324871"/>
                    <a:gd name="connsiteY8" fmla="*/ 73062 h 280231"/>
                    <a:gd name="connsiteX9" fmla="*/ 322378 w 324871"/>
                    <a:gd name="connsiteY9" fmla="*/ 280231 h 280231"/>
                    <a:gd name="connsiteX0" fmla="*/ 322378 w 335881"/>
                    <a:gd name="connsiteY0" fmla="*/ 280231 h 280231"/>
                    <a:gd name="connsiteX1" fmla="*/ 281103 w 335881"/>
                    <a:gd name="connsiteY1" fmla="*/ 181012 h 280231"/>
                    <a:gd name="connsiteX2" fmla="*/ 204903 w 335881"/>
                    <a:gd name="connsiteY2" fmla="*/ 171487 h 280231"/>
                    <a:gd name="connsiteX3" fmla="*/ 62028 w 335881"/>
                    <a:gd name="connsiteY3" fmla="*/ 164343 h 280231"/>
                    <a:gd name="connsiteX4" fmla="*/ 52502 w 335881"/>
                    <a:gd name="connsiteY4" fmla="*/ 185774 h 280231"/>
                    <a:gd name="connsiteX5" fmla="*/ 21547 w 335881"/>
                    <a:gd name="connsiteY5" fmla="*/ 231018 h 280231"/>
                    <a:gd name="connsiteX6" fmla="*/ 9640 w 335881"/>
                    <a:gd name="connsiteY6" fmla="*/ 235781 h 280231"/>
                    <a:gd name="connsiteX7" fmla="*/ 43771 w 335881"/>
                    <a:gd name="connsiteY7" fmla="*/ 35756 h 280231"/>
                    <a:gd name="connsiteX8" fmla="*/ 246178 w 335881"/>
                    <a:gd name="connsiteY8" fmla="*/ 73062 h 280231"/>
                    <a:gd name="connsiteX9" fmla="*/ 322378 w 335881"/>
                    <a:gd name="connsiteY9" fmla="*/ 280231 h 280231"/>
                    <a:gd name="connsiteX0" fmla="*/ 320006 w 333509"/>
                    <a:gd name="connsiteY0" fmla="*/ 256912 h 256912"/>
                    <a:gd name="connsiteX1" fmla="*/ 278731 w 333509"/>
                    <a:gd name="connsiteY1" fmla="*/ 157693 h 256912"/>
                    <a:gd name="connsiteX2" fmla="*/ 202531 w 333509"/>
                    <a:gd name="connsiteY2" fmla="*/ 148168 h 256912"/>
                    <a:gd name="connsiteX3" fmla="*/ 59656 w 333509"/>
                    <a:gd name="connsiteY3" fmla="*/ 141024 h 256912"/>
                    <a:gd name="connsiteX4" fmla="*/ 50130 w 333509"/>
                    <a:gd name="connsiteY4" fmla="*/ 162455 h 256912"/>
                    <a:gd name="connsiteX5" fmla="*/ 19175 w 333509"/>
                    <a:gd name="connsiteY5" fmla="*/ 207699 h 256912"/>
                    <a:gd name="connsiteX6" fmla="*/ 918 w 333509"/>
                    <a:gd name="connsiteY6" fmla="*/ 253737 h 256912"/>
                    <a:gd name="connsiteX7" fmla="*/ 41399 w 333509"/>
                    <a:gd name="connsiteY7" fmla="*/ 12437 h 256912"/>
                    <a:gd name="connsiteX8" fmla="*/ 243806 w 333509"/>
                    <a:gd name="connsiteY8" fmla="*/ 49743 h 256912"/>
                    <a:gd name="connsiteX9" fmla="*/ 320006 w 333509"/>
                    <a:gd name="connsiteY9" fmla="*/ 256912 h 256912"/>
                    <a:gd name="connsiteX0" fmla="*/ 340397 w 353900"/>
                    <a:gd name="connsiteY0" fmla="*/ 256912 h 256912"/>
                    <a:gd name="connsiteX1" fmla="*/ 299122 w 353900"/>
                    <a:gd name="connsiteY1" fmla="*/ 157693 h 256912"/>
                    <a:gd name="connsiteX2" fmla="*/ 222922 w 353900"/>
                    <a:gd name="connsiteY2" fmla="*/ 148168 h 256912"/>
                    <a:gd name="connsiteX3" fmla="*/ 80047 w 353900"/>
                    <a:gd name="connsiteY3" fmla="*/ 141024 h 256912"/>
                    <a:gd name="connsiteX4" fmla="*/ 70521 w 353900"/>
                    <a:gd name="connsiteY4" fmla="*/ 162455 h 256912"/>
                    <a:gd name="connsiteX5" fmla="*/ 39566 w 353900"/>
                    <a:gd name="connsiteY5" fmla="*/ 207699 h 256912"/>
                    <a:gd name="connsiteX6" fmla="*/ 21309 w 353900"/>
                    <a:gd name="connsiteY6" fmla="*/ 253737 h 256912"/>
                    <a:gd name="connsiteX7" fmla="*/ 61790 w 353900"/>
                    <a:gd name="connsiteY7" fmla="*/ 12437 h 256912"/>
                    <a:gd name="connsiteX8" fmla="*/ 264197 w 353900"/>
                    <a:gd name="connsiteY8" fmla="*/ 49743 h 256912"/>
                    <a:gd name="connsiteX9" fmla="*/ 340397 w 353900"/>
                    <a:gd name="connsiteY9" fmla="*/ 256912 h 256912"/>
                    <a:gd name="connsiteX0" fmla="*/ 351275 w 364778"/>
                    <a:gd name="connsiteY0" fmla="*/ 283264 h 283264"/>
                    <a:gd name="connsiteX1" fmla="*/ 310000 w 364778"/>
                    <a:gd name="connsiteY1" fmla="*/ 184045 h 283264"/>
                    <a:gd name="connsiteX2" fmla="*/ 233800 w 364778"/>
                    <a:gd name="connsiteY2" fmla="*/ 174520 h 283264"/>
                    <a:gd name="connsiteX3" fmla="*/ 90925 w 364778"/>
                    <a:gd name="connsiteY3" fmla="*/ 167376 h 283264"/>
                    <a:gd name="connsiteX4" fmla="*/ 81399 w 364778"/>
                    <a:gd name="connsiteY4" fmla="*/ 188807 h 283264"/>
                    <a:gd name="connsiteX5" fmla="*/ 50444 w 364778"/>
                    <a:gd name="connsiteY5" fmla="*/ 234051 h 283264"/>
                    <a:gd name="connsiteX6" fmla="*/ 32187 w 364778"/>
                    <a:gd name="connsiteY6" fmla="*/ 280089 h 283264"/>
                    <a:gd name="connsiteX7" fmla="*/ 72668 w 364778"/>
                    <a:gd name="connsiteY7" fmla="*/ 38789 h 283264"/>
                    <a:gd name="connsiteX8" fmla="*/ 275075 w 364778"/>
                    <a:gd name="connsiteY8" fmla="*/ 76095 h 283264"/>
                    <a:gd name="connsiteX9" fmla="*/ 351275 w 364778"/>
                    <a:gd name="connsiteY9" fmla="*/ 283264 h 283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4778" h="283264">
                      <a:moveTo>
                        <a:pt x="351275" y="283264"/>
                      </a:moveTo>
                      <a:cubicBezTo>
                        <a:pt x="282218" y="246752"/>
                        <a:pt x="319525" y="208651"/>
                        <a:pt x="310000" y="184045"/>
                      </a:cubicBezTo>
                      <a:cubicBezTo>
                        <a:pt x="284600" y="192777"/>
                        <a:pt x="259200" y="177695"/>
                        <a:pt x="233800" y="174520"/>
                      </a:cubicBezTo>
                      <a:cubicBezTo>
                        <a:pt x="155219" y="200714"/>
                        <a:pt x="124262" y="186426"/>
                        <a:pt x="90925" y="167376"/>
                      </a:cubicBezTo>
                      <a:lnTo>
                        <a:pt x="81399" y="188807"/>
                      </a:lnTo>
                      <a:cubicBezTo>
                        <a:pt x="71081" y="203888"/>
                        <a:pt x="70287" y="240402"/>
                        <a:pt x="50444" y="234051"/>
                      </a:cubicBezTo>
                      <a:lnTo>
                        <a:pt x="32187" y="280089"/>
                      </a:lnTo>
                      <a:cubicBezTo>
                        <a:pt x="-18613" y="186426"/>
                        <a:pt x="-12263" y="133113"/>
                        <a:pt x="72668" y="38789"/>
                      </a:cubicBezTo>
                      <a:cubicBezTo>
                        <a:pt x="157599" y="-55535"/>
                        <a:pt x="264756" y="48313"/>
                        <a:pt x="275075" y="76095"/>
                      </a:cubicBezTo>
                      <a:cubicBezTo>
                        <a:pt x="363181" y="61807"/>
                        <a:pt x="381438" y="253102"/>
                        <a:pt x="351275" y="283264"/>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grpSp>
            <p:nvGrpSpPr>
              <p:cNvPr id="30" name="Group 29"/>
              <p:cNvGrpSpPr/>
              <p:nvPr/>
            </p:nvGrpSpPr>
            <p:grpSpPr>
              <a:xfrm>
                <a:off x="2522859" y="1359643"/>
                <a:ext cx="1154473" cy="2326170"/>
                <a:chOff x="9257400" y="3524477"/>
                <a:chExt cx="514544" cy="1036762"/>
              </a:xfrm>
            </p:grpSpPr>
            <p:sp>
              <p:nvSpPr>
                <p:cNvPr id="31" name="Rounded Rectangle 30"/>
                <p:cNvSpPr/>
                <p:nvPr/>
              </p:nvSpPr>
              <p:spPr bwMode="auto">
                <a:xfrm>
                  <a:off x="9382183" y="3524477"/>
                  <a:ext cx="375766" cy="818329"/>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2" name="Rounded Rectangle 68"/>
                <p:cNvSpPr/>
                <p:nvPr/>
              </p:nvSpPr>
              <p:spPr>
                <a:xfrm>
                  <a:off x="9257400" y="3688839"/>
                  <a:ext cx="514544" cy="872400"/>
                </a:xfrm>
                <a:custGeom>
                  <a:avLst/>
                  <a:gdLst/>
                  <a:ahLst/>
                  <a:cxnLst/>
                  <a:rect l="l" t="t" r="r" b="b"/>
                  <a:pathLst>
                    <a:path w="736663" h="1468542">
                      <a:moveTo>
                        <a:pt x="127441" y="1331784"/>
                      </a:moveTo>
                      <a:lnTo>
                        <a:pt x="127441" y="1333372"/>
                      </a:lnTo>
                      <a:lnTo>
                        <a:pt x="126399" y="1332578"/>
                      </a:lnTo>
                      <a:close/>
                      <a:moveTo>
                        <a:pt x="369735" y="1314798"/>
                      </a:moveTo>
                      <a:lnTo>
                        <a:pt x="357710" y="1354631"/>
                      </a:lnTo>
                      <a:cubicBezTo>
                        <a:pt x="363388" y="1358973"/>
                        <a:pt x="380090" y="1370330"/>
                        <a:pt x="405310" y="1358639"/>
                      </a:cubicBezTo>
                      <a:lnTo>
                        <a:pt x="417335" y="1317052"/>
                      </a:lnTo>
                      <a:cubicBezTo>
                        <a:pt x="391197" y="1326823"/>
                        <a:pt x="381844" y="1320309"/>
                        <a:pt x="369735" y="1314798"/>
                      </a:cubicBezTo>
                      <a:close/>
                      <a:moveTo>
                        <a:pt x="140687" y="1309718"/>
                      </a:moveTo>
                      <a:lnTo>
                        <a:pt x="110683" y="1332578"/>
                      </a:lnTo>
                      <a:lnTo>
                        <a:pt x="140687" y="1355438"/>
                      </a:lnTo>
                      <a:lnTo>
                        <a:pt x="156403" y="1355438"/>
                      </a:lnTo>
                      <a:lnTo>
                        <a:pt x="133275" y="1337817"/>
                      </a:lnTo>
                      <a:lnTo>
                        <a:pt x="218881" y="1337817"/>
                      </a:lnTo>
                      <a:lnTo>
                        <a:pt x="218881" y="1328673"/>
                      </a:lnTo>
                      <a:lnTo>
                        <a:pt x="131524" y="1328673"/>
                      </a:lnTo>
                      <a:lnTo>
                        <a:pt x="156403" y="1309718"/>
                      </a:lnTo>
                      <a:close/>
                      <a:moveTo>
                        <a:pt x="341326" y="1303311"/>
                      </a:moveTo>
                      <a:cubicBezTo>
                        <a:pt x="330365" y="1302817"/>
                        <a:pt x="321446" y="1307351"/>
                        <a:pt x="317323" y="1308656"/>
                      </a:cubicBezTo>
                      <a:lnTo>
                        <a:pt x="305799" y="1349742"/>
                      </a:lnTo>
                      <a:cubicBezTo>
                        <a:pt x="332438" y="1338385"/>
                        <a:pt x="344297" y="1348072"/>
                        <a:pt x="350393" y="1351996"/>
                      </a:cubicBezTo>
                      <a:lnTo>
                        <a:pt x="362668" y="1311412"/>
                      </a:lnTo>
                      <a:cubicBezTo>
                        <a:pt x="355215" y="1305713"/>
                        <a:pt x="347903" y="1303607"/>
                        <a:pt x="341326" y="1303311"/>
                      </a:cubicBezTo>
                      <a:close/>
                      <a:moveTo>
                        <a:pt x="609845" y="1293468"/>
                      </a:moveTo>
                      <a:cubicBezTo>
                        <a:pt x="615874" y="1293468"/>
                        <a:pt x="620761" y="1298355"/>
                        <a:pt x="620761" y="1304384"/>
                      </a:cubicBezTo>
                      <a:cubicBezTo>
                        <a:pt x="620761" y="1310412"/>
                        <a:pt x="615874" y="1315299"/>
                        <a:pt x="609845" y="1315299"/>
                      </a:cubicBezTo>
                      <a:cubicBezTo>
                        <a:pt x="603816" y="1315299"/>
                        <a:pt x="598929" y="1310412"/>
                        <a:pt x="598929" y="1304384"/>
                      </a:cubicBezTo>
                      <a:cubicBezTo>
                        <a:pt x="598929" y="1298355"/>
                        <a:pt x="603816" y="1293468"/>
                        <a:pt x="609845" y="1293468"/>
                      </a:cubicBezTo>
                      <a:close/>
                      <a:moveTo>
                        <a:pt x="609845" y="1272471"/>
                      </a:moveTo>
                      <a:cubicBezTo>
                        <a:pt x="592965" y="1272471"/>
                        <a:pt x="579282" y="1286759"/>
                        <a:pt x="579282" y="1304384"/>
                      </a:cubicBezTo>
                      <a:cubicBezTo>
                        <a:pt x="579282" y="1307127"/>
                        <a:pt x="579613" y="1309790"/>
                        <a:pt x="580345" y="1312304"/>
                      </a:cubicBezTo>
                      <a:lnTo>
                        <a:pt x="545743" y="1335166"/>
                      </a:lnTo>
                      <a:cubicBezTo>
                        <a:pt x="543087" y="1336921"/>
                        <a:pt x="542356" y="1340498"/>
                        <a:pt x="544112" y="1343154"/>
                      </a:cubicBezTo>
                      <a:lnTo>
                        <a:pt x="547808" y="1348749"/>
                      </a:lnTo>
                      <a:cubicBezTo>
                        <a:pt x="549564" y="1351406"/>
                        <a:pt x="553140" y="1352136"/>
                        <a:pt x="555796" y="1350381"/>
                      </a:cubicBezTo>
                      <a:lnTo>
                        <a:pt x="589546" y="1328081"/>
                      </a:lnTo>
                      <a:cubicBezTo>
                        <a:pt x="594873" y="1333223"/>
                        <a:pt x="602015" y="1336297"/>
                        <a:pt x="609845" y="1336297"/>
                      </a:cubicBezTo>
                      <a:cubicBezTo>
                        <a:pt x="626724" y="1336297"/>
                        <a:pt x="640408" y="1322009"/>
                        <a:pt x="640408" y="1304384"/>
                      </a:cubicBezTo>
                      <a:cubicBezTo>
                        <a:pt x="640408" y="1286759"/>
                        <a:pt x="626724" y="1272471"/>
                        <a:pt x="609845" y="1272471"/>
                      </a:cubicBezTo>
                      <a:close/>
                      <a:moveTo>
                        <a:pt x="383263" y="1263939"/>
                      </a:moveTo>
                      <a:lnTo>
                        <a:pt x="371238" y="1303772"/>
                      </a:lnTo>
                      <a:cubicBezTo>
                        <a:pt x="376917" y="1308115"/>
                        <a:pt x="393618" y="1319472"/>
                        <a:pt x="418838" y="1307781"/>
                      </a:cubicBezTo>
                      <a:lnTo>
                        <a:pt x="430863" y="1266194"/>
                      </a:lnTo>
                      <a:cubicBezTo>
                        <a:pt x="404725" y="1275964"/>
                        <a:pt x="395372" y="1269451"/>
                        <a:pt x="383263" y="1263939"/>
                      </a:cubicBezTo>
                      <a:close/>
                      <a:moveTo>
                        <a:pt x="354354" y="1252330"/>
                      </a:moveTo>
                      <a:cubicBezTo>
                        <a:pt x="343392" y="1251837"/>
                        <a:pt x="334474" y="1256371"/>
                        <a:pt x="330351" y="1257676"/>
                      </a:cubicBezTo>
                      <a:lnTo>
                        <a:pt x="318826" y="1298762"/>
                      </a:lnTo>
                      <a:cubicBezTo>
                        <a:pt x="345466" y="1287405"/>
                        <a:pt x="357324" y="1297092"/>
                        <a:pt x="363420" y="1301016"/>
                      </a:cubicBezTo>
                      <a:lnTo>
                        <a:pt x="375696" y="1260432"/>
                      </a:lnTo>
                      <a:cubicBezTo>
                        <a:pt x="368242" y="1254732"/>
                        <a:pt x="360930" y="1252626"/>
                        <a:pt x="354354" y="1252330"/>
                      </a:cubicBezTo>
                      <a:close/>
                      <a:moveTo>
                        <a:pt x="91262" y="129693"/>
                      </a:moveTo>
                      <a:lnTo>
                        <a:pt x="91262" y="1125642"/>
                      </a:lnTo>
                      <a:lnTo>
                        <a:pt x="645400" y="1125642"/>
                      </a:lnTo>
                      <a:lnTo>
                        <a:pt x="645400" y="129693"/>
                      </a:lnTo>
                      <a:close/>
                      <a:moveTo>
                        <a:pt x="46579" y="0"/>
                      </a:moveTo>
                      <a:lnTo>
                        <a:pt x="690084" y="0"/>
                      </a:lnTo>
                      <a:cubicBezTo>
                        <a:pt x="715809" y="0"/>
                        <a:pt x="736663" y="20854"/>
                        <a:pt x="736663" y="46579"/>
                      </a:cubicBezTo>
                      <a:lnTo>
                        <a:pt x="736663" y="1421963"/>
                      </a:lnTo>
                      <a:cubicBezTo>
                        <a:pt x="736663" y="1447688"/>
                        <a:pt x="715809" y="1468542"/>
                        <a:pt x="690084" y="1468542"/>
                      </a:cubicBezTo>
                      <a:lnTo>
                        <a:pt x="46579" y="1468542"/>
                      </a:lnTo>
                      <a:cubicBezTo>
                        <a:pt x="20854" y="1468542"/>
                        <a:pt x="0" y="1447688"/>
                        <a:pt x="0" y="1421963"/>
                      </a:cubicBezTo>
                      <a:lnTo>
                        <a:pt x="0" y="46579"/>
                      </a:lnTo>
                      <a:cubicBezTo>
                        <a:pt x="0" y="20854"/>
                        <a:pt x="20854" y="0"/>
                        <a:pt x="46579" y="0"/>
                      </a:cubicBezTo>
                      <a:close/>
                    </a:path>
                  </a:pathLst>
                </a:custGeom>
                <a:solidFill>
                  <a:srgbClr val="0085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316"/>
                  <a:endParaRPr lang="en-US" sz="1836" dirty="0">
                    <a:solidFill>
                      <a:srgbClr val="FFFFFF"/>
                    </a:solidFill>
                  </a:endParaRPr>
                </a:p>
              </p:txBody>
            </p:sp>
          </p:grpSp>
        </p:grpSp>
        <p:pic>
          <p:nvPicPr>
            <p:cNvPr id="51" name="Picture 50"/>
            <p:cNvPicPr>
              <a:picLocks noChangeAspect="1"/>
            </p:cNvPicPr>
            <p:nvPr/>
          </p:nvPicPr>
          <p:blipFill rotWithShape="1">
            <a:blip r:embed="rId4" cstate="screen">
              <a:extLst>
                <a:ext uri="{28A0092B-C50C-407E-A947-70E740481C1C}">
                  <a14:useLocalDpi xmlns:a14="http://schemas.microsoft.com/office/drawing/2010/main" val="0"/>
                </a:ext>
              </a:extLst>
            </a:blip>
            <a:srcRect/>
            <a:stretch/>
          </p:blipFill>
          <p:spPr>
            <a:xfrm>
              <a:off x="9186777" y="2111543"/>
              <a:ext cx="2970684" cy="1797981"/>
            </a:xfrm>
            <a:prstGeom prst="rect">
              <a:avLst/>
            </a:prstGeom>
          </p:spPr>
        </p:pic>
        <p:pic>
          <p:nvPicPr>
            <p:cNvPr id="50" name="Picture 49"/>
            <p:cNvPicPr>
              <a:picLocks noChangeAspect="1"/>
            </p:cNvPicPr>
            <p:nvPr/>
          </p:nvPicPr>
          <p:blipFill rotWithShape="1">
            <a:blip r:embed="rId5" cstate="screen">
              <a:extLst>
                <a:ext uri="{28A0092B-C50C-407E-A947-70E740481C1C}">
                  <a14:useLocalDpi xmlns:a14="http://schemas.microsoft.com/office/drawing/2010/main" val="0"/>
                </a:ext>
              </a:extLst>
            </a:blip>
            <a:srcRect/>
            <a:stretch/>
          </p:blipFill>
          <p:spPr>
            <a:xfrm>
              <a:off x="7938005" y="3751341"/>
              <a:ext cx="2694886" cy="1700892"/>
            </a:xfrm>
            <a:prstGeom prst="rect">
              <a:avLst/>
            </a:prstGeom>
            <a:effectLst>
              <a:outerShdw blurRad="76200" dist="38100" dir="2700000" algn="tl" rotWithShape="0">
                <a:prstClr val="black">
                  <a:alpha val="25000"/>
                </a:prstClr>
              </a:outerShdw>
            </a:effectLst>
          </p:spPr>
        </p:pic>
        <p:sp>
          <p:nvSpPr>
            <p:cNvPr id="27" name="Freeform 51"/>
            <p:cNvSpPr>
              <a:spLocks noEditPoints="1"/>
            </p:cNvSpPr>
            <p:nvPr/>
          </p:nvSpPr>
          <p:spPr bwMode="auto">
            <a:xfrm>
              <a:off x="7365756" y="3665747"/>
              <a:ext cx="3875795" cy="2129725"/>
            </a:xfrm>
            <a:custGeom>
              <a:avLst/>
              <a:gdLst>
                <a:gd name="T0" fmla="*/ 343 w 403"/>
                <a:gd name="T1" fmla="*/ 193 h 217"/>
                <a:gd name="T2" fmla="*/ 353 w 403"/>
                <a:gd name="T3" fmla="*/ 183 h 217"/>
                <a:gd name="T4" fmla="*/ 353 w 403"/>
                <a:gd name="T5" fmla="*/ 10 h 217"/>
                <a:gd name="T6" fmla="*/ 343 w 403"/>
                <a:gd name="T7" fmla="*/ 0 h 217"/>
                <a:gd name="T8" fmla="*/ 61 w 403"/>
                <a:gd name="T9" fmla="*/ 0 h 217"/>
                <a:gd name="T10" fmla="*/ 51 w 403"/>
                <a:gd name="T11" fmla="*/ 10 h 217"/>
                <a:gd name="T12" fmla="*/ 51 w 403"/>
                <a:gd name="T13" fmla="*/ 183 h 217"/>
                <a:gd name="T14" fmla="*/ 61 w 403"/>
                <a:gd name="T15" fmla="*/ 193 h 217"/>
                <a:gd name="T16" fmla="*/ 0 w 403"/>
                <a:gd name="T17" fmla="*/ 193 h 217"/>
                <a:gd name="T18" fmla="*/ 0 w 403"/>
                <a:gd name="T19" fmla="*/ 200 h 217"/>
                <a:gd name="T20" fmla="*/ 0 w 403"/>
                <a:gd name="T21" fmla="*/ 208 h 217"/>
                <a:gd name="T22" fmla="*/ 0 w 403"/>
                <a:gd name="T23" fmla="*/ 209 h 217"/>
                <a:gd name="T24" fmla="*/ 0 w 403"/>
                <a:gd name="T25" fmla="*/ 209 h 217"/>
                <a:gd name="T26" fmla="*/ 0 w 403"/>
                <a:gd name="T27" fmla="*/ 209 h 217"/>
                <a:gd name="T28" fmla="*/ 0 w 403"/>
                <a:gd name="T29" fmla="*/ 210 h 217"/>
                <a:gd name="T30" fmla="*/ 8 w 403"/>
                <a:gd name="T31" fmla="*/ 217 h 217"/>
                <a:gd name="T32" fmla="*/ 395 w 403"/>
                <a:gd name="T33" fmla="*/ 217 h 217"/>
                <a:gd name="T34" fmla="*/ 403 w 403"/>
                <a:gd name="T35" fmla="*/ 211 h 217"/>
                <a:gd name="T36" fmla="*/ 403 w 403"/>
                <a:gd name="T37" fmla="*/ 210 h 217"/>
                <a:gd name="T38" fmla="*/ 403 w 403"/>
                <a:gd name="T39" fmla="*/ 200 h 217"/>
                <a:gd name="T40" fmla="*/ 403 w 403"/>
                <a:gd name="T41" fmla="*/ 193 h 217"/>
                <a:gd name="T42" fmla="*/ 343 w 403"/>
                <a:gd name="T43" fmla="*/ 193 h 217"/>
                <a:gd name="T44" fmla="*/ 64 w 403"/>
                <a:gd name="T45" fmla="*/ 11 h 217"/>
                <a:gd name="T46" fmla="*/ 340 w 403"/>
                <a:gd name="T47" fmla="*/ 11 h 217"/>
                <a:gd name="T48" fmla="*/ 340 w 403"/>
                <a:gd name="T49" fmla="*/ 181 h 217"/>
                <a:gd name="T50" fmla="*/ 64 w 403"/>
                <a:gd name="T51" fmla="*/ 181 h 217"/>
                <a:gd name="T52" fmla="*/ 64 w 403"/>
                <a:gd name="T53" fmla="*/ 11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03" h="217">
                  <a:moveTo>
                    <a:pt x="343" y="193"/>
                  </a:moveTo>
                  <a:cubicBezTo>
                    <a:pt x="349" y="193"/>
                    <a:pt x="353" y="189"/>
                    <a:pt x="353" y="183"/>
                  </a:cubicBezTo>
                  <a:cubicBezTo>
                    <a:pt x="353" y="10"/>
                    <a:pt x="353" y="10"/>
                    <a:pt x="353" y="10"/>
                  </a:cubicBezTo>
                  <a:cubicBezTo>
                    <a:pt x="353" y="4"/>
                    <a:pt x="349" y="0"/>
                    <a:pt x="343" y="0"/>
                  </a:cubicBezTo>
                  <a:cubicBezTo>
                    <a:pt x="61" y="0"/>
                    <a:pt x="61" y="0"/>
                    <a:pt x="61" y="0"/>
                  </a:cubicBezTo>
                  <a:cubicBezTo>
                    <a:pt x="56" y="0"/>
                    <a:pt x="51" y="4"/>
                    <a:pt x="51" y="10"/>
                  </a:cubicBezTo>
                  <a:cubicBezTo>
                    <a:pt x="51" y="183"/>
                    <a:pt x="51" y="183"/>
                    <a:pt x="51" y="183"/>
                  </a:cubicBezTo>
                  <a:cubicBezTo>
                    <a:pt x="51" y="189"/>
                    <a:pt x="56" y="193"/>
                    <a:pt x="61" y="193"/>
                  </a:cubicBezTo>
                  <a:cubicBezTo>
                    <a:pt x="0" y="193"/>
                    <a:pt x="0" y="193"/>
                    <a:pt x="0" y="193"/>
                  </a:cubicBezTo>
                  <a:cubicBezTo>
                    <a:pt x="0" y="200"/>
                    <a:pt x="0" y="200"/>
                    <a:pt x="0" y="200"/>
                  </a:cubicBezTo>
                  <a:cubicBezTo>
                    <a:pt x="0" y="208"/>
                    <a:pt x="0" y="208"/>
                    <a:pt x="0" y="208"/>
                  </a:cubicBezTo>
                  <a:cubicBezTo>
                    <a:pt x="0" y="209"/>
                    <a:pt x="0" y="209"/>
                    <a:pt x="0" y="209"/>
                  </a:cubicBezTo>
                  <a:cubicBezTo>
                    <a:pt x="0" y="209"/>
                    <a:pt x="0" y="209"/>
                    <a:pt x="0" y="209"/>
                  </a:cubicBezTo>
                  <a:cubicBezTo>
                    <a:pt x="0" y="209"/>
                    <a:pt x="0" y="209"/>
                    <a:pt x="0" y="209"/>
                  </a:cubicBezTo>
                  <a:cubicBezTo>
                    <a:pt x="0" y="210"/>
                    <a:pt x="0" y="210"/>
                    <a:pt x="0" y="210"/>
                  </a:cubicBezTo>
                  <a:cubicBezTo>
                    <a:pt x="0" y="214"/>
                    <a:pt x="4" y="217"/>
                    <a:pt x="8" y="217"/>
                  </a:cubicBezTo>
                  <a:cubicBezTo>
                    <a:pt x="395" y="217"/>
                    <a:pt x="395" y="217"/>
                    <a:pt x="395" y="217"/>
                  </a:cubicBezTo>
                  <a:cubicBezTo>
                    <a:pt x="399" y="217"/>
                    <a:pt x="402" y="214"/>
                    <a:pt x="403" y="211"/>
                  </a:cubicBezTo>
                  <a:cubicBezTo>
                    <a:pt x="403" y="210"/>
                    <a:pt x="403" y="210"/>
                    <a:pt x="403" y="210"/>
                  </a:cubicBezTo>
                  <a:cubicBezTo>
                    <a:pt x="403" y="200"/>
                    <a:pt x="403" y="200"/>
                    <a:pt x="403" y="200"/>
                  </a:cubicBezTo>
                  <a:cubicBezTo>
                    <a:pt x="403" y="193"/>
                    <a:pt x="403" y="193"/>
                    <a:pt x="403" y="193"/>
                  </a:cubicBezTo>
                  <a:lnTo>
                    <a:pt x="343" y="193"/>
                  </a:lnTo>
                  <a:close/>
                  <a:moveTo>
                    <a:pt x="64" y="11"/>
                  </a:moveTo>
                  <a:cubicBezTo>
                    <a:pt x="340" y="11"/>
                    <a:pt x="340" y="11"/>
                    <a:pt x="340" y="11"/>
                  </a:cubicBezTo>
                  <a:cubicBezTo>
                    <a:pt x="340" y="181"/>
                    <a:pt x="340" y="181"/>
                    <a:pt x="340" y="181"/>
                  </a:cubicBezTo>
                  <a:cubicBezTo>
                    <a:pt x="64" y="181"/>
                    <a:pt x="64" y="181"/>
                    <a:pt x="64" y="181"/>
                  </a:cubicBezTo>
                  <a:cubicBezTo>
                    <a:pt x="64" y="11"/>
                    <a:pt x="64" y="11"/>
                    <a:pt x="64" y="11"/>
                  </a:cubicBezTo>
                  <a:close/>
                </a:path>
              </a:pathLst>
            </a:custGeom>
            <a:solidFill>
              <a:srgbClr val="4B004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16"/>
              <a:endParaRPr lang="en-US" sz="1836" dirty="0">
                <a:solidFill>
                  <a:srgbClr val="000000"/>
                </a:solidFill>
              </a:endParaRPr>
            </a:p>
          </p:txBody>
        </p:sp>
        <p:pic>
          <p:nvPicPr>
            <p:cNvPr id="52" name="Picture 51"/>
            <p:cNvPicPr>
              <a:picLocks noChangeAspect="1"/>
            </p:cNvPicPr>
            <p:nvPr/>
          </p:nvPicPr>
          <p:blipFill rotWithShape="1">
            <a:blip r:embed="rId6" cstate="screen">
              <a:extLst>
                <a:ext uri="{28A0092B-C50C-407E-A947-70E740481C1C}">
                  <a14:useLocalDpi xmlns:a14="http://schemas.microsoft.com/office/drawing/2010/main" val="0"/>
                </a:ext>
              </a:extLst>
            </a:blip>
            <a:srcRect t="-1"/>
            <a:stretch/>
          </p:blipFill>
          <p:spPr>
            <a:xfrm>
              <a:off x="6567037" y="1353063"/>
              <a:ext cx="1133575" cy="1472467"/>
            </a:xfrm>
            <a:prstGeom prst="rect">
              <a:avLst/>
            </a:prstGeom>
          </p:spPr>
        </p:pic>
      </p:grpSp>
    </p:spTree>
    <p:extLst>
      <p:ext uri="{BB962C8B-B14F-4D97-AF65-F5344CB8AC3E}">
        <p14:creationId xmlns:p14="http://schemas.microsoft.com/office/powerpoint/2010/main" val="399901367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7"/>
                                        </p:tgtEl>
                                        <p:attrNameLst>
                                          <p:attrName>style.visibility</p:attrName>
                                        </p:attrNameLst>
                                      </p:cBhvr>
                                      <p:to>
                                        <p:strVal val="visible"/>
                                      </p:to>
                                    </p:set>
                                    <p:animEffect transition="in" filter="fade">
                                      <p:cBhvr>
                                        <p:cTn id="7" dur="500"/>
                                        <p:tgtEl>
                                          <p:spTgt spid="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idx="1"/>
          </p:nvPr>
        </p:nvSpPr>
        <p:spPr>
          <a:xfrm>
            <a:off x="512074" y="27026"/>
            <a:ext cx="3699233" cy="2271331"/>
          </a:xfrm>
        </p:spPr>
        <p:txBody>
          <a:bodyPr/>
          <a:lstStyle/>
          <a:p>
            <a:r>
              <a:rPr lang="en-US" dirty="0" smtClean="0"/>
              <a:t>Get to your Office from any browser</a:t>
            </a:r>
            <a:endParaRPr lang="en-US" dirty="0"/>
          </a:p>
        </p:txBody>
      </p:sp>
      <p:sp>
        <p:nvSpPr>
          <p:cNvPr id="26" name="Text Placeholder 4"/>
          <p:cNvSpPr>
            <a:spLocks noGrp="1"/>
          </p:cNvSpPr>
          <p:nvPr>
            <p:ph type="body" sz="quarter" idx="10"/>
          </p:nvPr>
        </p:nvSpPr>
        <p:spPr>
          <a:xfrm>
            <a:off x="611944" y="2652486"/>
            <a:ext cx="3589135" cy="4336143"/>
          </a:xfrm>
        </p:spPr>
        <p:txBody>
          <a:bodyPr/>
          <a:lstStyle/>
          <a:p>
            <a:pPr lvl="0" fontAlgn="ctr"/>
            <a:r>
              <a:rPr lang="en-US" sz="1800" dirty="0" smtClean="0"/>
              <a:t>Login to your Office Online account to access </a:t>
            </a:r>
            <a:r>
              <a:rPr lang="en-US" sz="1800" dirty="0"/>
              <a:t>and edit the most up to date version of your files from any browser </a:t>
            </a:r>
            <a:endParaRPr lang="en-US" sz="1800" dirty="0" smtClean="0"/>
          </a:p>
          <a:p>
            <a:pPr lvl="0" fontAlgn="ctr"/>
            <a:r>
              <a:rPr lang="en-US" sz="1800" dirty="0" smtClean="0"/>
              <a:t>Quickly </a:t>
            </a:r>
            <a:r>
              <a:rPr lang="en-US" sz="1800" dirty="0"/>
              <a:t>access, edit, and share all your documents </a:t>
            </a:r>
            <a:r>
              <a:rPr lang="en-US" sz="1800" dirty="0" smtClean="0"/>
              <a:t>online</a:t>
            </a:r>
            <a:endParaRPr lang="en-US" sz="1800" dirty="0"/>
          </a:p>
          <a:p>
            <a:pPr lvl="0" fontAlgn="ctr"/>
            <a:r>
              <a:rPr lang="en-US" sz="1800" dirty="0" smtClean="0"/>
              <a:t>Pick </a:t>
            </a:r>
            <a:r>
              <a:rPr lang="en-US" sz="1800" dirty="0"/>
              <a:t>up right where you left off with a seamless transition between your desktop and online applications</a:t>
            </a:r>
          </a:p>
          <a:p>
            <a:pPr fontAlgn="ctr"/>
            <a:endParaRPr lang="en-US" sz="1800" dirty="0"/>
          </a:p>
        </p:txBody>
      </p:sp>
      <p:sp>
        <p:nvSpPr>
          <p:cNvPr id="33" name="Rectangle 32"/>
          <p:cNvSpPr/>
          <p:nvPr/>
        </p:nvSpPr>
        <p:spPr>
          <a:xfrm>
            <a:off x="4722483" y="0"/>
            <a:ext cx="8268511" cy="6994525"/>
          </a:xfrm>
          <a:prstGeom prst="rect">
            <a:avLst/>
          </a:prstGeom>
          <a:solidFill>
            <a:srgbClr val="45ACC8"/>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nvGrpSpPr>
          <p:cNvPr id="34" name="Group 93"/>
          <p:cNvGrpSpPr>
            <a:grpSpLocks noChangeAspect="1"/>
          </p:cNvGrpSpPr>
          <p:nvPr/>
        </p:nvGrpSpPr>
        <p:grpSpPr bwMode="auto">
          <a:xfrm>
            <a:off x="4462337" y="1504950"/>
            <a:ext cx="8831263" cy="5498240"/>
            <a:chOff x="-170" y="844"/>
            <a:chExt cx="5563" cy="3564"/>
          </a:xfrm>
        </p:grpSpPr>
        <p:sp>
          <p:nvSpPr>
            <p:cNvPr id="35" name="AutoShape 92"/>
            <p:cNvSpPr>
              <a:spLocks noChangeAspect="1" noChangeArrowheads="1" noTextEdit="1"/>
            </p:cNvSpPr>
            <p:nvPr/>
          </p:nvSpPr>
          <p:spPr bwMode="auto">
            <a:xfrm>
              <a:off x="-6" y="844"/>
              <a:ext cx="5208" cy="355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94"/>
            <p:cNvSpPr>
              <a:spLocks/>
            </p:cNvSpPr>
            <p:nvPr/>
          </p:nvSpPr>
          <p:spPr bwMode="auto">
            <a:xfrm>
              <a:off x="3911" y="2450"/>
              <a:ext cx="1482" cy="1958"/>
            </a:xfrm>
            <a:custGeom>
              <a:avLst/>
              <a:gdLst>
                <a:gd name="T0" fmla="*/ 2284 w 2284"/>
                <a:gd name="T1" fmla="*/ 3017 h 3017"/>
                <a:gd name="T2" fmla="*/ 2284 w 2284"/>
                <a:gd name="T3" fmla="*/ 3017 h 3017"/>
                <a:gd name="T4" fmla="*/ 1719 w 2284"/>
                <a:gd name="T5" fmla="*/ 1894 h 3017"/>
                <a:gd name="T6" fmla="*/ 1793 w 2284"/>
                <a:gd name="T7" fmla="*/ 1469 h 3017"/>
                <a:gd name="T8" fmla="*/ 1793 w 2284"/>
                <a:gd name="T9" fmla="*/ 960 h 3017"/>
                <a:gd name="T10" fmla="*/ 961 w 2284"/>
                <a:gd name="T11" fmla="*/ 0 h 3017"/>
                <a:gd name="T12" fmla="*/ 0 w 2284"/>
                <a:gd name="T13" fmla="*/ 960 h 3017"/>
                <a:gd name="T14" fmla="*/ 0 w 2284"/>
                <a:gd name="T15" fmla="*/ 1469 h 3017"/>
                <a:gd name="T16" fmla="*/ 540 w 2284"/>
                <a:gd name="T17" fmla="*/ 2332 h 3017"/>
                <a:gd name="T18" fmla="*/ 735 w 2284"/>
                <a:gd name="T19" fmla="*/ 3017 h 3017"/>
                <a:gd name="T20" fmla="*/ 2284 w 2284"/>
                <a:gd name="T21" fmla="*/ 3017 h 3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84" h="3017">
                  <a:moveTo>
                    <a:pt x="2284" y="3017"/>
                  </a:moveTo>
                  <a:lnTo>
                    <a:pt x="2284" y="3017"/>
                  </a:lnTo>
                  <a:lnTo>
                    <a:pt x="1719" y="1894"/>
                  </a:lnTo>
                  <a:cubicBezTo>
                    <a:pt x="1767" y="1766"/>
                    <a:pt x="1793" y="1622"/>
                    <a:pt x="1793" y="1469"/>
                  </a:cubicBezTo>
                  <a:lnTo>
                    <a:pt x="1793" y="960"/>
                  </a:lnTo>
                  <a:cubicBezTo>
                    <a:pt x="1793" y="429"/>
                    <a:pt x="1491" y="0"/>
                    <a:pt x="961" y="0"/>
                  </a:cubicBezTo>
                  <a:cubicBezTo>
                    <a:pt x="430" y="0"/>
                    <a:pt x="0" y="429"/>
                    <a:pt x="0" y="960"/>
                  </a:cubicBezTo>
                  <a:lnTo>
                    <a:pt x="0" y="1469"/>
                  </a:lnTo>
                  <a:cubicBezTo>
                    <a:pt x="0" y="1849"/>
                    <a:pt x="220" y="2176"/>
                    <a:pt x="540" y="2332"/>
                  </a:cubicBezTo>
                  <a:lnTo>
                    <a:pt x="735" y="3017"/>
                  </a:lnTo>
                  <a:lnTo>
                    <a:pt x="2284" y="3017"/>
                  </a:lnTo>
                  <a:close/>
                </a:path>
              </a:pathLst>
            </a:custGeom>
            <a:solidFill>
              <a:srgbClr val="E5B5A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7" name="Freeform 95"/>
            <p:cNvSpPr>
              <a:spLocks/>
            </p:cNvSpPr>
            <p:nvPr/>
          </p:nvSpPr>
          <p:spPr bwMode="auto">
            <a:xfrm>
              <a:off x="3931" y="3560"/>
              <a:ext cx="431" cy="276"/>
            </a:xfrm>
            <a:custGeom>
              <a:avLst/>
              <a:gdLst>
                <a:gd name="T0" fmla="*/ 239 w 664"/>
                <a:gd name="T1" fmla="*/ 425 h 425"/>
                <a:gd name="T2" fmla="*/ 239 w 664"/>
                <a:gd name="T3" fmla="*/ 425 h 425"/>
                <a:gd name="T4" fmla="*/ 664 w 664"/>
                <a:gd name="T5" fmla="*/ 0 h 425"/>
                <a:gd name="T6" fmla="*/ 0 w 664"/>
                <a:gd name="T7" fmla="*/ 0 h 425"/>
                <a:gd name="T8" fmla="*/ 239 w 664"/>
                <a:gd name="T9" fmla="*/ 425 h 425"/>
              </a:gdLst>
              <a:ahLst/>
              <a:cxnLst>
                <a:cxn ang="0">
                  <a:pos x="T0" y="T1"/>
                </a:cxn>
                <a:cxn ang="0">
                  <a:pos x="T2" y="T3"/>
                </a:cxn>
                <a:cxn ang="0">
                  <a:pos x="T4" y="T5"/>
                </a:cxn>
                <a:cxn ang="0">
                  <a:pos x="T6" y="T7"/>
                </a:cxn>
                <a:cxn ang="0">
                  <a:pos x="T8" y="T9"/>
                </a:cxn>
              </a:cxnLst>
              <a:rect l="0" t="0" r="r" b="b"/>
              <a:pathLst>
                <a:path w="664" h="425">
                  <a:moveTo>
                    <a:pt x="239" y="425"/>
                  </a:moveTo>
                  <a:lnTo>
                    <a:pt x="239" y="425"/>
                  </a:lnTo>
                  <a:lnTo>
                    <a:pt x="664" y="0"/>
                  </a:lnTo>
                  <a:lnTo>
                    <a:pt x="0" y="0"/>
                  </a:lnTo>
                  <a:cubicBezTo>
                    <a:pt x="42" y="162"/>
                    <a:pt x="126" y="308"/>
                    <a:pt x="239" y="425"/>
                  </a:cubicBezTo>
                  <a:close/>
                </a:path>
              </a:pathLst>
            </a:custGeom>
            <a:solidFill>
              <a:srgbClr val="CC867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8" name="Freeform 96"/>
            <p:cNvSpPr>
              <a:spLocks/>
            </p:cNvSpPr>
            <p:nvPr/>
          </p:nvSpPr>
          <p:spPr bwMode="auto">
            <a:xfrm>
              <a:off x="-170" y="2450"/>
              <a:ext cx="1481" cy="1958"/>
            </a:xfrm>
            <a:custGeom>
              <a:avLst/>
              <a:gdLst>
                <a:gd name="T0" fmla="*/ 0 w 2283"/>
                <a:gd name="T1" fmla="*/ 3017 h 3017"/>
                <a:gd name="T2" fmla="*/ 0 w 2283"/>
                <a:gd name="T3" fmla="*/ 3017 h 3017"/>
                <a:gd name="T4" fmla="*/ 564 w 2283"/>
                <a:gd name="T5" fmla="*/ 1894 h 3017"/>
                <a:gd name="T6" fmla="*/ 491 w 2283"/>
                <a:gd name="T7" fmla="*/ 1469 h 3017"/>
                <a:gd name="T8" fmla="*/ 491 w 2283"/>
                <a:gd name="T9" fmla="*/ 960 h 3017"/>
                <a:gd name="T10" fmla="*/ 1323 w 2283"/>
                <a:gd name="T11" fmla="*/ 0 h 3017"/>
                <a:gd name="T12" fmla="*/ 2283 w 2283"/>
                <a:gd name="T13" fmla="*/ 960 h 3017"/>
                <a:gd name="T14" fmla="*/ 2283 w 2283"/>
                <a:gd name="T15" fmla="*/ 1469 h 3017"/>
                <a:gd name="T16" fmla="*/ 1744 w 2283"/>
                <a:gd name="T17" fmla="*/ 2332 h 3017"/>
                <a:gd name="T18" fmla="*/ 1548 w 2283"/>
                <a:gd name="T19" fmla="*/ 3017 h 3017"/>
                <a:gd name="T20" fmla="*/ 0 w 2283"/>
                <a:gd name="T21" fmla="*/ 3017 h 3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83" h="3017">
                  <a:moveTo>
                    <a:pt x="0" y="3017"/>
                  </a:moveTo>
                  <a:lnTo>
                    <a:pt x="0" y="3017"/>
                  </a:lnTo>
                  <a:lnTo>
                    <a:pt x="564" y="1894"/>
                  </a:lnTo>
                  <a:cubicBezTo>
                    <a:pt x="516" y="1766"/>
                    <a:pt x="491" y="1622"/>
                    <a:pt x="491" y="1469"/>
                  </a:cubicBezTo>
                  <a:lnTo>
                    <a:pt x="491" y="960"/>
                  </a:lnTo>
                  <a:cubicBezTo>
                    <a:pt x="491" y="429"/>
                    <a:pt x="792" y="0"/>
                    <a:pt x="1323" y="0"/>
                  </a:cubicBezTo>
                  <a:cubicBezTo>
                    <a:pt x="1853" y="0"/>
                    <a:pt x="2283" y="429"/>
                    <a:pt x="2283" y="960"/>
                  </a:cubicBezTo>
                  <a:lnTo>
                    <a:pt x="2283" y="1469"/>
                  </a:lnTo>
                  <a:cubicBezTo>
                    <a:pt x="2283" y="1849"/>
                    <a:pt x="2063" y="2176"/>
                    <a:pt x="1744" y="2332"/>
                  </a:cubicBezTo>
                  <a:lnTo>
                    <a:pt x="1548" y="3017"/>
                  </a:lnTo>
                  <a:lnTo>
                    <a:pt x="0" y="3017"/>
                  </a:lnTo>
                  <a:close/>
                </a:path>
              </a:pathLst>
            </a:custGeom>
            <a:solidFill>
              <a:srgbClr val="E5B5A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9" name="Freeform 97"/>
            <p:cNvSpPr>
              <a:spLocks/>
            </p:cNvSpPr>
            <p:nvPr/>
          </p:nvSpPr>
          <p:spPr bwMode="auto">
            <a:xfrm>
              <a:off x="381" y="853"/>
              <a:ext cx="4368" cy="2712"/>
            </a:xfrm>
            <a:custGeom>
              <a:avLst/>
              <a:gdLst>
                <a:gd name="T0" fmla="*/ 6734 w 6734"/>
                <a:gd name="T1" fmla="*/ 4079 h 4176"/>
                <a:gd name="T2" fmla="*/ 6734 w 6734"/>
                <a:gd name="T3" fmla="*/ 4079 h 4176"/>
                <a:gd name="T4" fmla="*/ 6638 w 6734"/>
                <a:gd name="T5" fmla="*/ 4176 h 4176"/>
                <a:gd name="T6" fmla="*/ 97 w 6734"/>
                <a:gd name="T7" fmla="*/ 4176 h 4176"/>
                <a:gd name="T8" fmla="*/ 0 w 6734"/>
                <a:gd name="T9" fmla="*/ 4079 h 4176"/>
                <a:gd name="T10" fmla="*/ 0 w 6734"/>
                <a:gd name="T11" fmla="*/ 95 h 4176"/>
                <a:gd name="T12" fmla="*/ 97 w 6734"/>
                <a:gd name="T13" fmla="*/ 0 h 4176"/>
                <a:gd name="T14" fmla="*/ 6638 w 6734"/>
                <a:gd name="T15" fmla="*/ 0 h 4176"/>
                <a:gd name="T16" fmla="*/ 6734 w 6734"/>
                <a:gd name="T17" fmla="*/ 95 h 4176"/>
                <a:gd name="T18" fmla="*/ 6734 w 6734"/>
                <a:gd name="T19" fmla="*/ 4079 h 4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34" h="4176">
                  <a:moveTo>
                    <a:pt x="6734" y="4079"/>
                  </a:moveTo>
                  <a:lnTo>
                    <a:pt x="6734" y="4079"/>
                  </a:lnTo>
                  <a:cubicBezTo>
                    <a:pt x="6734" y="4132"/>
                    <a:pt x="6691" y="4176"/>
                    <a:pt x="6638" y="4176"/>
                  </a:cubicBezTo>
                  <a:lnTo>
                    <a:pt x="97" y="4176"/>
                  </a:lnTo>
                  <a:cubicBezTo>
                    <a:pt x="43" y="4176"/>
                    <a:pt x="0" y="4132"/>
                    <a:pt x="0" y="4079"/>
                  </a:cubicBezTo>
                  <a:lnTo>
                    <a:pt x="0" y="95"/>
                  </a:lnTo>
                  <a:cubicBezTo>
                    <a:pt x="0" y="42"/>
                    <a:pt x="43" y="0"/>
                    <a:pt x="97" y="0"/>
                  </a:cubicBezTo>
                  <a:lnTo>
                    <a:pt x="6638" y="0"/>
                  </a:lnTo>
                  <a:cubicBezTo>
                    <a:pt x="6691" y="0"/>
                    <a:pt x="6734" y="42"/>
                    <a:pt x="6734" y="95"/>
                  </a:cubicBezTo>
                  <a:lnTo>
                    <a:pt x="6734" y="4079"/>
                  </a:lnTo>
                  <a:close/>
                </a:path>
              </a:pathLst>
            </a:custGeom>
            <a:solidFill>
              <a:srgbClr val="63636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0" name="Freeform 98"/>
            <p:cNvSpPr>
              <a:spLocks/>
            </p:cNvSpPr>
            <p:nvPr/>
          </p:nvSpPr>
          <p:spPr bwMode="auto">
            <a:xfrm>
              <a:off x="720" y="1166"/>
              <a:ext cx="3691" cy="2038"/>
            </a:xfrm>
            <a:custGeom>
              <a:avLst/>
              <a:gdLst>
                <a:gd name="T0" fmla="*/ 5691 w 5691"/>
                <a:gd name="T1" fmla="*/ 3057 h 3139"/>
                <a:gd name="T2" fmla="*/ 5691 w 5691"/>
                <a:gd name="T3" fmla="*/ 3057 h 3139"/>
                <a:gd name="T4" fmla="*/ 5609 w 5691"/>
                <a:gd name="T5" fmla="*/ 3139 h 3139"/>
                <a:gd name="T6" fmla="*/ 81 w 5691"/>
                <a:gd name="T7" fmla="*/ 3139 h 3139"/>
                <a:gd name="T8" fmla="*/ 0 w 5691"/>
                <a:gd name="T9" fmla="*/ 3057 h 3139"/>
                <a:gd name="T10" fmla="*/ 0 w 5691"/>
                <a:gd name="T11" fmla="*/ 82 h 3139"/>
                <a:gd name="T12" fmla="*/ 81 w 5691"/>
                <a:gd name="T13" fmla="*/ 0 h 3139"/>
                <a:gd name="T14" fmla="*/ 5609 w 5691"/>
                <a:gd name="T15" fmla="*/ 0 h 3139"/>
                <a:gd name="T16" fmla="*/ 5691 w 5691"/>
                <a:gd name="T17" fmla="*/ 82 h 3139"/>
                <a:gd name="T18" fmla="*/ 5691 w 5691"/>
                <a:gd name="T19" fmla="*/ 3057 h 3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91" h="3139">
                  <a:moveTo>
                    <a:pt x="5691" y="3057"/>
                  </a:moveTo>
                  <a:lnTo>
                    <a:pt x="5691" y="3057"/>
                  </a:lnTo>
                  <a:cubicBezTo>
                    <a:pt x="5691" y="3102"/>
                    <a:pt x="5654" y="3139"/>
                    <a:pt x="5609" y="3139"/>
                  </a:cubicBezTo>
                  <a:lnTo>
                    <a:pt x="81" y="3139"/>
                  </a:lnTo>
                  <a:cubicBezTo>
                    <a:pt x="36" y="3139"/>
                    <a:pt x="0" y="3102"/>
                    <a:pt x="0" y="3057"/>
                  </a:cubicBezTo>
                  <a:lnTo>
                    <a:pt x="0" y="82"/>
                  </a:lnTo>
                  <a:cubicBezTo>
                    <a:pt x="0" y="37"/>
                    <a:pt x="36" y="0"/>
                    <a:pt x="81" y="0"/>
                  </a:cubicBezTo>
                  <a:lnTo>
                    <a:pt x="5609" y="0"/>
                  </a:lnTo>
                  <a:cubicBezTo>
                    <a:pt x="5654" y="0"/>
                    <a:pt x="5691" y="37"/>
                    <a:pt x="5691" y="82"/>
                  </a:cubicBezTo>
                  <a:lnTo>
                    <a:pt x="5691" y="3057"/>
                  </a:lnTo>
                  <a:close/>
                </a:path>
              </a:pathLst>
            </a:custGeom>
            <a:solidFill>
              <a:srgbClr val="D2D2D2"/>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1" name="Freeform 118"/>
            <p:cNvSpPr>
              <a:spLocks/>
            </p:cNvSpPr>
            <p:nvPr/>
          </p:nvSpPr>
          <p:spPr bwMode="auto">
            <a:xfrm>
              <a:off x="148" y="2415"/>
              <a:ext cx="315" cy="783"/>
            </a:xfrm>
            <a:custGeom>
              <a:avLst/>
              <a:gdLst>
                <a:gd name="T0" fmla="*/ 0 w 485"/>
                <a:gd name="T1" fmla="*/ 911 h 1207"/>
                <a:gd name="T2" fmla="*/ 0 w 485"/>
                <a:gd name="T3" fmla="*/ 911 h 1207"/>
                <a:gd name="T4" fmla="*/ 243 w 485"/>
                <a:gd name="T5" fmla="*/ 1153 h 1207"/>
                <a:gd name="T6" fmla="*/ 485 w 485"/>
                <a:gd name="T7" fmla="*/ 1073 h 1207"/>
                <a:gd name="T8" fmla="*/ 485 w 485"/>
                <a:gd name="T9" fmla="*/ 134 h 1207"/>
                <a:gd name="T10" fmla="*/ 243 w 485"/>
                <a:gd name="T11" fmla="*/ 54 h 1207"/>
                <a:gd name="T12" fmla="*/ 0 w 485"/>
                <a:gd name="T13" fmla="*/ 296 h 1207"/>
                <a:gd name="T14" fmla="*/ 0 w 485"/>
                <a:gd name="T15" fmla="*/ 911 h 120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5" h="1207">
                  <a:moveTo>
                    <a:pt x="0" y="911"/>
                  </a:moveTo>
                  <a:lnTo>
                    <a:pt x="0" y="911"/>
                  </a:lnTo>
                  <a:cubicBezTo>
                    <a:pt x="0" y="1045"/>
                    <a:pt x="108" y="1153"/>
                    <a:pt x="243" y="1153"/>
                  </a:cubicBezTo>
                  <a:cubicBezTo>
                    <a:pt x="377" y="1153"/>
                    <a:pt x="485" y="1207"/>
                    <a:pt x="485" y="1073"/>
                  </a:cubicBezTo>
                  <a:lnTo>
                    <a:pt x="485" y="134"/>
                  </a:lnTo>
                  <a:cubicBezTo>
                    <a:pt x="485" y="0"/>
                    <a:pt x="377" y="54"/>
                    <a:pt x="243" y="54"/>
                  </a:cubicBezTo>
                  <a:cubicBezTo>
                    <a:pt x="108" y="54"/>
                    <a:pt x="0" y="162"/>
                    <a:pt x="0" y="296"/>
                  </a:cubicBezTo>
                  <a:lnTo>
                    <a:pt x="0" y="911"/>
                  </a:lnTo>
                  <a:close/>
                </a:path>
              </a:pathLst>
            </a:custGeom>
            <a:solidFill>
              <a:srgbClr val="E5B5A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Freeform 121"/>
            <p:cNvSpPr>
              <a:spLocks/>
            </p:cNvSpPr>
            <p:nvPr/>
          </p:nvSpPr>
          <p:spPr bwMode="auto">
            <a:xfrm>
              <a:off x="861" y="3560"/>
              <a:ext cx="430" cy="276"/>
            </a:xfrm>
            <a:custGeom>
              <a:avLst/>
              <a:gdLst>
                <a:gd name="T0" fmla="*/ 425 w 663"/>
                <a:gd name="T1" fmla="*/ 425 h 425"/>
                <a:gd name="T2" fmla="*/ 425 w 663"/>
                <a:gd name="T3" fmla="*/ 425 h 425"/>
                <a:gd name="T4" fmla="*/ 0 w 663"/>
                <a:gd name="T5" fmla="*/ 0 h 425"/>
                <a:gd name="T6" fmla="*/ 663 w 663"/>
                <a:gd name="T7" fmla="*/ 0 h 425"/>
                <a:gd name="T8" fmla="*/ 425 w 663"/>
                <a:gd name="T9" fmla="*/ 425 h 425"/>
              </a:gdLst>
              <a:ahLst/>
              <a:cxnLst>
                <a:cxn ang="0">
                  <a:pos x="T0" y="T1"/>
                </a:cxn>
                <a:cxn ang="0">
                  <a:pos x="T2" y="T3"/>
                </a:cxn>
                <a:cxn ang="0">
                  <a:pos x="T4" y="T5"/>
                </a:cxn>
                <a:cxn ang="0">
                  <a:pos x="T6" y="T7"/>
                </a:cxn>
                <a:cxn ang="0">
                  <a:pos x="T8" y="T9"/>
                </a:cxn>
              </a:cxnLst>
              <a:rect l="0" t="0" r="r" b="b"/>
              <a:pathLst>
                <a:path w="663" h="425">
                  <a:moveTo>
                    <a:pt x="425" y="425"/>
                  </a:moveTo>
                  <a:lnTo>
                    <a:pt x="425" y="425"/>
                  </a:lnTo>
                  <a:lnTo>
                    <a:pt x="0" y="0"/>
                  </a:lnTo>
                  <a:lnTo>
                    <a:pt x="663" y="0"/>
                  </a:lnTo>
                  <a:cubicBezTo>
                    <a:pt x="621" y="162"/>
                    <a:pt x="538" y="308"/>
                    <a:pt x="425" y="425"/>
                  </a:cubicBezTo>
                  <a:close/>
                </a:path>
              </a:pathLst>
            </a:custGeom>
            <a:solidFill>
              <a:srgbClr val="CC867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Freeform 123"/>
            <p:cNvSpPr>
              <a:spLocks/>
            </p:cNvSpPr>
            <p:nvPr/>
          </p:nvSpPr>
          <p:spPr bwMode="auto">
            <a:xfrm>
              <a:off x="4759" y="2415"/>
              <a:ext cx="315" cy="783"/>
            </a:xfrm>
            <a:custGeom>
              <a:avLst/>
              <a:gdLst>
                <a:gd name="T0" fmla="*/ 486 w 486"/>
                <a:gd name="T1" fmla="*/ 911 h 1207"/>
                <a:gd name="T2" fmla="*/ 486 w 486"/>
                <a:gd name="T3" fmla="*/ 911 h 1207"/>
                <a:gd name="T4" fmla="*/ 243 w 486"/>
                <a:gd name="T5" fmla="*/ 1153 h 1207"/>
                <a:gd name="T6" fmla="*/ 0 w 486"/>
                <a:gd name="T7" fmla="*/ 1073 h 1207"/>
                <a:gd name="T8" fmla="*/ 0 w 486"/>
                <a:gd name="T9" fmla="*/ 134 h 1207"/>
                <a:gd name="T10" fmla="*/ 243 w 486"/>
                <a:gd name="T11" fmla="*/ 54 h 1207"/>
                <a:gd name="T12" fmla="*/ 486 w 486"/>
                <a:gd name="T13" fmla="*/ 296 h 1207"/>
                <a:gd name="T14" fmla="*/ 486 w 486"/>
                <a:gd name="T15" fmla="*/ 911 h 120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6" h="1207">
                  <a:moveTo>
                    <a:pt x="486" y="911"/>
                  </a:moveTo>
                  <a:lnTo>
                    <a:pt x="486" y="911"/>
                  </a:lnTo>
                  <a:cubicBezTo>
                    <a:pt x="486" y="1045"/>
                    <a:pt x="377" y="1153"/>
                    <a:pt x="243" y="1153"/>
                  </a:cubicBezTo>
                  <a:cubicBezTo>
                    <a:pt x="109" y="1153"/>
                    <a:pt x="0" y="1207"/>
                    <a:pt x="0" y="1073"/>
                  </a:cubicBezTo>
                  <a:lnTo>
                    <a:pt x="0" y="134"/>
                  </a:lnTo>
                  <a:cubicBezTo>
                    <a:pt x="0" y="0"/>
                    <a:pt x="109" y="54"/>
                    <a:pt x="243" y="54"/>
                  </a:cubicBezTo>
                  <a:cubicBezTo>
                    <a:pt x="377" y="54"/>
                    <a:pt x="486" y="162"/>
                    <a:pt x="486" y="296"/>
                  </a:cubicBezTo>
                  <a:lnTo>
                    <a:pt x="486" y="911"/>
                  </a:lnTo>
                  <a:close/>
                </a:path>
              </a:pathLst>
            </a:custGeom>
            <a:solidFill>
              <a:srgbClr val="E5B5A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pic>
        <p:nvPicPr>
          <p:cNvPr id="44" name="Picture 43"/>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5553587" y="1769773"/>
            <a:ext cx="6522009" cy="3700751"/>
          </a:xfrm>
          <a:prstGeom prst="rect">
            <a:avLst/>
          </a:prstGeom>
        </p:spPr>
      </p:pic>
      <p:grpSp>
        <p:nvGrpSpPr>
          <p:cNvPr id="45" name="Group 44"/>
          <p:cNvGrpSpPr/>
          <p:nvPr/>
        </p:nvGrpSpPr>
        <p:grpSpPr>
          <a:xfrm>
            <a:off x="4971925" y="3608388"/>
            <a:ext cx="1127125" cy="3373437"/>
            <a:chOff x="239713" y="3443288"/>
            <a:chExt cx="1127125" cy="3373437"/>
          </a:xfrm>
        </p:grpSpPr>
        <p:grpSp>
          <p:nvGrpSpPr>
            <p:cNvPr id="46" name="Group 45"/>
            <p:cNvGrpSpPr/>
            <p:nvPr/>
          </p:nvGrpSpPr>
          <p:grpSpPr>
            <a:xfrm>
              <a:off x="239713" y="3443288"/>
              <a:ext cx="803275" cy="868363"/>
              <a:chOff x="239713" y="3443288"/>
              <a:chExt cx="803275" cy="868363"/>
            </a:xfrm>
          </p:grpSpPr>
          <p:sp>
            <p:nvSpPr>
              <p:cNvPr id="48" name="Freeform 117"/>
              <p:cNvSpPr>
                <a:spLocks/>
              </p:cNvSpPr>
              <p:nvPr/>
            </p:nvSpPr>
            <p:spPr bwMode="auto">
              <a:xfrm>
                <a:off x="239713" y="3443288"/>
                <a:ext cx="803275" cy="868363"/>
              </a:xfrm>
              <a:custGeom>
                <a:avLst/>
                <a:gdLst>
                  <a:gd name="T0" fmla="*/ 704 w 780"/>
                  <a:gd name="T1" fmla="*/ 139 h 842"/>
                  <a:gd name="T2" fmla="*/ 704 w 780"/>
                  <a:gd name="T3" fmla="*/ 139 h 842"/>
                  <a:gd name="T4" fmla="*/ 704 w 780"/>
                  <a:gd name="T5" fmla="*/ 416 h 842"/>
                  <a:gd name="T6" fmla="*/ 353 w 780"/>
                  <a:gd name="T7" fmla="*/ 766 h 842"/>
                  <a:gd name="T8" fmla="*/ 76 w 780"/>
                  <a:gd name="T9" fmla="*/ 766 h 842"/>
                  <a:gd name="T10" fmla="*/ 76 w 780"/>
                  <a:gd name="T11" fmla="*/ 489 h 842"/>
                  <a:gd name="T12" fmla="*/ 565 w 780"/>
                  <a:gd name="T13" fmla="*/ 0 h 842"/>
                  <a:gd name="T14" fmla="*/ 704 w 780"/>
                  <a:gd name="T15" fmla="*/ 139 h 8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80" h="842">
                    <a:moveTo>
                      <a:pt x="704" y="139"/>
                    </a:moveTo>
                    <a:lnTo>
                      <a:pt x="704" y="139"/>
                    </a:lnTo>
                    <a:cubicBezTo>
                      <a:pt x="780" y="215"/>
                      <a:pt x="780" y="339"/>
                      <a:pt x="704" y="416"/>
                    </a:cubicBezTo>
                    <a:lnTo>
                      <a:pt x="353" y="766"/>
                    </a:lnTo>
                    <a:cubicBezTo>
                      <a:pt x="277" y="842"/>
                      <a:pt x="153" y="842"/>
                      <a:pt x="76" y="766"/>
                    </a:cubicBezTo>
                    <a:cubicBezTo>
                      <a:pt x="0" y="689"/>
                      <a:pt x="0" y="565"/>
                      <a:pt x="76" y="489"/>
                    </a:cubicBezTo>
                    <a:lnTo>
                      <a:pt x="565" y="0"/>
                    </a:lnTo>
                    <a:lnTo>
                      <a:pt x="704" y="139"/>
                    </a:lnTo>
                    <a:close/>
                  </a:path>
                </a:pathLst>
              </a:custGeom>
              <a:solidFill>
                <a:srgbClr val="E5B5A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Freeform 119"/>
              <p:cNvSpPr>
                <a:spLocks/>
              </p:cNvSpPr>
              <p:nvPr/>
            </p:nvSpPr>
            <p:spPr bwMode="auto">
              <a:xfrm>
                <a:off x="636588" y="3443288"/>
                <a:ext cx="236538" cy="190500"/>
              </a:xfrm>
              <a:custGeom>
                <a:avLst/>
                <a:gdLst>
                  <a:gd name="T0" fmla="*/ 179 w 229"/>
                  <a:gd name="T1" fmla="*/ 0 h 184"/>
                  <a:gd name="T2" fmla="*/ 179 w 229"/>
                  <a:gd name="T3" fmla="*/ 0 h 184"/>
                  <a:gd name="T4" fmla="*/ 229 w 229"/>
                  <a:gd name="T5" fmla="*/ 50 h 184"/>
                  <a:gd name="T6" fmla="*/ 155 w 229"/>
                  <a:gd name="T7" fmla="*/ 124 h 184"/>
                  <a:gd name="T8" fmla="*/ 0 w 229"/>
                  <a:gd name="T9" fmla="*/ 179 h 184"/>
                  <a:gd name="T10" fmla="*/ 179 w 229"/>
                  <a:gd name="T11" fmla="*/ 0 h 184"/>
                </a:gdLst>
                <a:ahLst/>
                <a:cxnLst>
                  <a:cxn ang="0">
                    <a:pos x="T0" y="T1"/>
                  </a:cxn>
                  <a:cxn ang="0">
                    <a:pos x="T2" y="T3"/>
                  </a:cxn>
                  <a:cxn ang="0">
                    <a:pos x="T4" y="T5"/>
                  </a:cxn>
                  <a:cxn ang="0">
                    <a:pos x="T6" y="T7"/>
                  </a:cxn>
                  <a:cxn ang="0">
                    <a:pos x="T8" y="T9"/>
                  </a:cxn>
                  <a:cxn ang="0">
                    <a:pos x="T10" y="T11"/>
                  </a:cxn>
                </a:cxnLst>
                <a:rect l="0" t="0" r="r" b="b"/>
                <a:pathLst>
                  <a:path w="229" h="184">
                    <a:moveTo>
                      <a:pt x="179" y="0"/>
                    </a:moveTo>
                    <a:lnTo>
                      <a:pt x="179" y="0"/>
                    </a:lnTo>
                    <a:lnTo>
                      <a:pt x="229" y="50"/>
                    </a:lnTo>
                    <a:lnTo>
                      <a:pt x="155" y="124"/>
                    </a:lnTo>
                    <a:cubicBezTo>
                      <a:pt x="113" y="166"/>
                      <a:pt x="56" y="184"/>
                      <a:pt x="0" y="179"/>
                    </a:cubicBezTo>
                    <a:lnTo>
                      <a:pt x="179" y="0"/>
                    </a:lnTo>
                    <a:close/>
                  </a:path>
                </a:pathLst>
              </a:custGeom>
              <a:solidFill>
                <a:srgbClr val="EFD9C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47" name="Freeform 120"/>
            <p:cNvSpPr>
              <a:spLocks/>
            </p:cNvSpPr>
            <p:nvPr/>
          </p:nvSpPr>
          <p:spPr bwMode="auto">
            <a:xfrm>
              <a:off x="555625" y="4683125"/>
              <a:ext cx="811213" cy="2133600"/>
            </a:xfrm>
            <a:custGeom>
              <a:avLst/>
              <a:gdLst>
                <a:gd name="T0" fmla="*/ 0 w 787"/>
                <a:gd name="T1" fmla="*/ 0 h 2070"/>
                <a:gd name="T2" fmla="*/ 0 w 787"/>
                <a:gd name="T3" fmla="*/ 0 h 2070"/>
                <a:gd name="T4" fmla="*/ 787 w 787"/>
                <a:gd name="T5" fmla="*/ 1035 h 2070"/>
                <a:gd name="T6" fmla="*/ 0 w 787"/>
                <a:gd name="T7" fmla="*/ 2070 h 2070"/>
                <a:gd name="T8" fmla="*/ 0 w 787"/>
                <a:gd name="T9" fmla="*/ 0 h 2070"/>
              </a:gdLst>
              <a:ahLst/>
              <a:cxnLst>
                <a:cxn ang="0">
                  <a:pos x="T0" y="T1"/>
                </a:cxn>
                <a:cxn ang="0">
                  <a:pos x="T2" y="T3"/>
                </a:cxn>
                <a:cxn ang="0">
                  <a:pos x="T4" y="T5"/>
                </a:cxn>
                <a:cxn ang="0">
                  <a:pos x="T6" y="T7"/>
                </a:cxn>
                <a:cxn ang="0">
                  <a:pos x="T8" y="T9"/>
                </a:cxn>
              </a:cxnLst>
              <a:rect l="0" t="0" r="r" b="b"/>
              <a:pathLst>
                <a:path w="787" h="2070">
                  <a:moveTo>
                    <a:pt x="0" y="0"/>
                  </a:moveTo>
                  <a:lnTo>
                    <a:pt x="0" y="0"/>
                  </a:lnTo>
                  <a:cubicBezTo>
                    <a:pt x="454" y="126"/>
                    <a:pt x="787" y="542"/>
                    <a:pt x="787" y="1035"/>
                  </a:cubicBezTo>
                  <a:cubicBezTo>
                    <a:pt x="787" y="1529"/>
                    <a:pt x="454" y="1944"/>
                    <a:pt x="0" y="2070"/>
                  </a:cubicBezTo>
                  <a:lnTo>
                    <a:pt x="0" y="0"/>
                  </a:lnTo>
                  <a:close/>
                </a:path>
              </a:pathLst>
            </a:custGeom>
            <a:solidFill>
              <a:srgbClr val="E5B5A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50" name="Group 49"/>
          <p:cNvGrpSpPr/>
          <p:nvPr/>
        </p:nvGrpSpPr>
        <p:grpSpPr>
          <a:xfrm>
            <a:off x="11656887" y="3608388"/>
            <a:ext cx="1125538" cy="3373437"/>
            <a:chOff x="6924675" y="3443288"/>
            <a:chExt cx="1125538" cy="3373437"/>
          </a:xfrm>
        </p:grpSpPr>
        <p:grpSp>
          <p:nvGrpSpPr>
            <p:cNvPr id="51" name="Group 50"/>
            <p:cNvGrpSpPr/>
            <p:nvPr/>
          </p:nvGrpSpPr>
          <p:grpSpPr>
            <a:xfrm>
              <a:off x="7246938" y="3443288"/>
              <a:ext cx="803275" cy="868363"/>
              <a:chOff x="7246938" y="3443288"/>
              <a:chExt cx="803275" cy="868363"/>
            </a:xfrm>
          </p:grpSpPr>
          <p:sp>
            <p:nvSpPr>
              <p:cNvPr id="53" name="Freeform 122"/>
              <p:cNvSpPr>
                <a:spLocks/>
              </p:cNvSpPr>
              <p:nvPr/>
            </p:nvSpPr>
            <p:spPr bwMode="auto">
              <a:xfrm>
                <a:off x="7246938" y="3443288"/>
                <a:ext cx="803275" cy="868363"/>
              </a:xfrm>
              <a:custGeom>
                <a:avLst/>
                <a:gdLst>
                  <a:gd name="T0" fmla="*/ 77 w 780"/>
                  <a:gd name="T1" fmla="*/ 139 h 842"/>
                  <a:gd name="T2" fmla="*/ 77 w 780"/>
                  <a:gd name="T3" fmla="*/ 139 h 842"/>
                  <a:gd name="T4" fmla="*/ 77 w 780"/>
                  <a:gd name="T5" fmla="*/ 416 h 842"/>
                  <a:gd name="T6" fmla="*/ 427 w 780"/>
                  <a:gd name="T7" fmla="*/ 766 h 842"/>
                  <a:gd name="T8" fmla="*/ 704 w 780"/>
                  <a:gd name="T9" fmla="*/ 766 h 842"/>
                  <a:gd name="T10" fmla="*/ 704 w 780"/>
                  <a:gd name="T11" fmla="*/ 489 h 842"/>
                  <a:gd name="T12" fmla="*/ 215 w 780"/>
                  <a:gd name="T13" fmla="*/ 0 h 842"/>
                  <a:gd name="T14" fmla="*/ 77 w 780"/>
                  <a:gd name="T15" fmla="*/ 139 h 8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80" h="842">
                    <a:moveTo>
                      <a:pt x="77" y="139"/>
                    </a:moveTo>
                    <a:lnTo>
                      <a:pt x="77" y="139"/>
                    </a:lnTo>
                    <a:cubicBezTo>
                      <a:pt x="0" y="215"/>
                      <a:pt x="0" y="339"/>
                      <a:pt x="77" y="416"/>
                    </a:cubicBezTo>
                    <a:lnTo>
                      <a:pt x="427" y="766"/>
                    </a:lnTo>
                    <a:cubicBezTo>
                      <a:pt x="504" y="842"/>
                      <a:pt x="628" y="842"/>
                      <a:pt x="704" y="766"/>
                    </a:cubicBezTo>
                    <a:cubicBezTo>
                      <a:pt x="780" y="689"/>
                      <a:pt x="780" y="565"/>
                      <a:pt x="704" y="489"/>
                    </a:cubicBezTo>
                    <a:lnTo>
                      <a:pt x="215" y="0"/>
                    </a:lnTo>
                    <a:lnTo>
                      <a:pt x="77" y="139"/>
                    </a:lnTo>
                    <a:close/>
                  </a:path>
                </a:pathLst>
              </a:custGeom>
              <a:solidFill>
                <a:srgbClr val="E5B5A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4" name="Freeform 124"/>
              <p:cNvSpPr>
                <a:spLocks/>
              </p:cNvSpPr>
              <p:nvPr/>
            </p:nvSpPr>
            <p:spPr bwMode="auto">
              <a:xfrm>
                <a:off x="7418388" y="3443288"/>
                <a:ext cx="234950" cy="190500"/>
              </a:xfrm>
              <a:custGeom>
                <a:avLst/>
                <a:gdLst>
                  <a:gd name="T0" fmla="*/ 49 w 228"/>
                  <a:gd name="T1" fmla="*/ 0 h 184"/>
                  <a:gd name="T2" fmla="*/ 49 w 228"/>
                  <a:gd name="T3" fmla="*/ 0 h 184"/>
                  <a:gd name="T4" fmla="*/ 0 w 228"/>
                  <a:gd name="T5" fmla="*/ 50 h 184"/>
                  <a:gd name="T6" fmla="*/ 73 w 228"/>
                  <a:gd name="T7" fmla="*/ 124 h 184"/>
                  <a:gd name="T8" fmla="*/ 228 w 228"/>
                  <a:gd name="T9" fmla="*/ 179 h 184"/>
                  <a:gd name="T10" fmla="*/ 49 w 228"/>
                  <a:gd name="T11" fmla="*/ 0 h 184"/>
                </a:gdLst>
                <a:ahLst/>
                <a:cxnLst>
                  <a:cxn ang="0">
                    <a:pos x="T0" y="T1"/>
                  </a:cxn>
                  <a:cxn ang="0">
                    <a:pos x="T2" y="T3"/>
                  </a:cxn>
                  <a:cxn ang="0">
                    <a:pos x="T4" y="T5"/>
                  </a:cxn>
                  <a:cxn ang="0">
                    <a:pos x="T6" y="T7"/>
                  </a:cxn>
                  <a:cxn ang="0">
                    <a:pos x="T8" y="T9"/>
                  </a:cxn>
                  <a:cxn ang="0">
                    <a:pos x="T10" y="T11"/>
                  </a:cxn>
                </a:cxnLst>
                <a:rect l="0" t="0" r="r" b="b"/>
                <a:pathLst>
                  <a:path w="228" h="184">
                    <a:moveTo>
                      <a:pt x="49" y="0"/>
                    </a:moveTo>
                    <a:lnTo>
                      <a:pt x="49" y="0"/>
                    </a:lnTo>
                    <a:lnTo>
                      <a:pt x="0" y="50"/>
                    </a:lnTo>
                    <a:lnTo>
                      <a:pt x="73" y="124"/>
                    </a:lnTo>
                    <a:cubicBezTo>
                      <a:pt x="116" y="166"/>
                      <a:pt x="173" y="184"/>
                      <a:pt x="228" y="179"/>
                    </a:cubicBezTo>
                    <a:lnTo>
                      <a:pt x="49" y="0"/>
                    </a:lnTo>
                    <a:close/>
                  </a:path>
                </a:pathLst>
              </a:custGeom>
              <a:solidFill>
                <a:srgbClr val="EFD9CB"/>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52" name="Freeform 125"/>
            <p:cNvSpPr>
              <a:spLocks/>
            </p:cNvSpPr>
            <p:nvPr/>
          </p:nvSpPr>
          <p:spPr bwMode="auto">
            <a:xfrm>
              <a:off x="6924675" y="4683125"/>
              <a:ext cx="809625" cy="2133600"/>
            </a:xfrm>
            <a:custGeom>
              <a:avLst/>
              <a:gdLst>
                <a:gd name="T0" fmla="*/ 786 w 786"/>
                <a:gd name="T1" fmla="*/ 0 h 2070"/>
                <a:gd name="T2" fmla="*/ 786 w 786"/>
                <a:gd name="T3" fmla="*/ 0 h 2070"/>
                <a:gd name="T4" fmla="*/ 0 w 786"/>
                <a:gd name="T5" fmla="*/ 1035 h 2070"/>
                <a:gd name="T6" fmla="*/ 786 w 786"/>
                <a:gd name="T7" fmla="*/ 2070 h 2070"/>
                <a:gd name="T8" fmla="*/ 786 w 786"/>
                <a:gd name="T9" fmla="*/ 0 h 2070"/>
              </a:gdLst>
              <a:ahLst/>
              <a:cxnLst>
                <a:cxn ang="0">
                  <a:pos x="T0" y="T1"/>
                </a:cxn>
                <a:cxn ang="0">
                  <a:pos x="T2" y="T3"/>
                </a:cxn>
                <a:cxn ang="0">
                  <a:pos x="T4" y="T5"/>
                </a:cxn>
                <a:cxn ang="0">
                  <a:pos x="T6" y="T7"/>
                </a:cxn>
                <a:cxn ang="0">
                  <a:pos x="T8" y="T9"/>
                </a:cxn>
              </a:cxnLst>
              <a:rect l="0" t="0" r="r" b="b"/>
              <a:pathLst>
                <a:path w="786" h="2070">
                  <a:moveTo>
                    <a:pt x="786" y="0"/>
                  </a:moveTo>
                  <a:lnTo>
                    <a:pt x="786" y="0"/>
                  </a:lnTo>
                  <a:cubicBezTo>
                    <a:pt x="333" y="126"/>
                    <a:pt x="0" y="542"/>
                    <a:pt x="0" y="1035"/>
                  </a:cubicBezTo>
                  <a:cubicBezTo>
                    <a:pt x="0" y="1529"/>
                    <a:pt x="333" y="1944"/>
                    <a:pt x="786" y="2070"/>
                  </a:cubicBezTo>
                  <a:lnTo>
                    <a:pt x="786" y="0"/>
                  </a:lnTo>
                  <a:close/>
                </a:path>
              </a:pathLst>
            </a:custGeom>
            <a:solidFill>
              <a:srgbClr val="E5B5A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55" name="Rectangle 54"/>
          <p:cNvSpPr/>
          <p:nvPr/>
        </p:nvSpPr>
        <p:spPr>
          <a:xfrm>
            <a:off x="6025245" y="825051"/>
            <a:ext cx="4876801" cy="313932"/>
          </a:xfrm>
          <a:prstGeom prst="rect">
            <a:avLst/>
          </a:prstGeom>
        </p:spPr>
        <p:txBody>
          <a:bodyPr wrap="square">
            <a:spAutoFit/>
          </a:bodyPr>
          <a:lstStyle/>
          <a:p>
            <a:pPr>
              <a:lnSpc>
                <a:spcPct val="90000"/>
              </a:lnSpc>
            </a:pPr>
            <a:r>
              <a:rPr lang="en-US" sz="1600" dirty="0" smtClean="0">
                <a:solidFill>
                  <a:schemeClr val="bg1">
                    <a:alpha val="99000"/>
                  </a:schemeClr>
                </a:solidFill>
                <a:latin typeface="Segoe UI Light"/>
              </a:rPr>
              <a:t>Gain rich and familiar editing options </a:t>
            </a:r>
            <a:r>
              <a:rPr lang="en-US" sz="1600" dirty="0">
                <a:solidFill>
                  <a:schemeClr val="bg1">
                    <a:alpha val="99000"/>
                  </a:schemeClr>
                </a:solidFill>
                <a:latin typeface="Segoe UI Light"/>
              </a:rPr>
              <a:t>in </a:t>
            </a:r>
            <a:r>
              <a:rPr lang="en-US" sz="1600" dirty="0" smtClean="0">
                <a:solidFill>
                  <a:schemeClr val="bg1">
                    <a:alpha val="99000"/>
                  </a:schemeClr>
                </a:solidFill>
                <a:latin typeface="Segoe UI Light"/>
              </a:rPr>
              <a:t>Office Online</a:t>
            </a:r>
            <a:endParaRPr lang="en-US" sz="1600" dirty="0">
              <a:solidFill>
                <a:schemeClr val="bg1">
                  <a:alpha val="99000"/>
                </a:schemeClr>
              </a:solidFill>
              <a:latin typeface="Segoe UI Light"/>
            </a:endParaRPr>
          </a:p>
        </p:txBody>
      </p:sp>
      <p:cxnSp>
        <p:nvCxnSpPr>
          <p:cNvPr id="56" name="Straight Connector 55"/>
          <p:cNvCxnSpPr/>
          <p:nvPr/>
        </p:nvCxnSpPr>
        <p:spPr>
          <a:xfrm>
            <a:off x="7065919" y="1114989"/>
            <a:ext cx="0" cy="633595"/>
          </a:xfrm>
          <a:prstGeom prst="line">
            <a:avLst/>
          </a:prstGeom>
          <a:ln w="28575">
            <a:solidFill>
              <a:schemeClr val="tx2"/>
            </a:solidFill>
            <a:prstDash val="sysDash"/>
            <a:headEnd type="none"/>
            <a:tailEnd type="oval"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878578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56"/>
                                        </p:tgtEl>
                                        <p:attrNameLst>
                                          <p:attrName>style.visibility</p:attrName>
                                        </p:attrNameLst>
                                      </p:cBhvr>
                                      <p:to>
                                        <p:strVal val="visible"/>
                                      </p:to>
                                    </p:set>
                                    <p:animEffect transition="in" filter="wipe(up)">
                                      <p:cBhvr>
                                        <p:cTn id="7" dur="500"/>
                                        <p:tgtEl>
                                          <p:spTgt spid="5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5"/>
                                        </p:tgtEl>
                                        <p:attrNameLst>
                                          <p:attrName>style.visibility</p:attrName>
                                        </p:attrNameLst>
                                      </p:cBhvr>
                                      <p:to>
                                        <p:strVal val="visible"/>
                                      </p:to>
                                    </p:set>
                                    <p:animEffect transition="in" filter="fade">
                                      <p:cBhvr>
                                        <p:cTn id="11" dur="500"/>
                                        <p:tgtEl>
                                          <p:spTgt spid="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 grpId="0"/>
    </p:bld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alpha val="99000"/>
          </a:schemeClr>
        </a:solidFill>
        <a:effectLst/>
      </p:bgPr>
    </p:bg>
    <p:spTree>
      <p:nvGrpSpPr>
        <p:cNvPr id="1" name=""/>
        <p:cNvGrpSpPr/>
        <p:nvPr/>
      </p:nvGrpSpPr>
      <p:grpSpPr>
        <a:xfrm>
          <a:off x="0" y="0"/>
          <a:ext cx="0" cy="0"/>
          <a:chOff x="0" y="0"/>
          <a:chExt cx="0" cy="0"/>
        </a:xfrm>
      </p:grpSpPr>
      <p:sp>
        <p:nvSpPr>
          <p:cNvPr id="42" name="Freeform 7"/>
          <p:cNvSpPr>
            <a:spLocks/>
          </p:cNvSpPr>
          <p:nvPr/>
        </p:nvSpPr>
        <p:spPr bwMode="auto">
          <a:xfrm>
            <a:off x="6244823" y="1080693"/>
            <a:ext cx="4492151" cy="1251133"/>
          </a:xfrm>
          <a:custGeom>
            <a:avLst/>
            <a:gdLst>
              <a:gd name="T0" fmla="*/ 10 w 2485"/>
              <a:gd name="T1" fmla="*/ 675 h 675"/>
              <a:gd name="T2" fmla="*/ 0 w 2485"/>
              <a:gd name="T3" fmla="*/ 614 h 675"/>
              <a:gd name="T4" fmla="*/ 575 w 2485"/>
              <a:gd name="T5" fmla="*/ 524 h 675"/>
              <a:gd name="T6" fmla="*/ 1056 w 2485"/>
              <a:gd name="T7" fmla="*/ 232 h 675"/>
              <a:gd name="T8" fmla="*/ 1638 w 2485"/>
              <a:gd name="T9" fmla="*/ 289 h 675"/>
              <a:gd name="T10" fmla="*/ 2113 w 2485"/>
              <a:gd name="T11" fmla="*/ 0 h 675"/>
              <a:gd name="T12" fmla="*/ 2485 w 2485"/>
              <a:gd name="T13" fmla="*/ 43 h 675"/>
              <a:gd name="T14" fmla="*/ 2485 w 2485"/>
              <a:gd name="T15" fmla="*/ 105 h 675"/>
              <a:gd name="T16" fmla="*/ 2127 w 2485"/>
              <a:gd name="T17" fmla="*/ 62 h 675"/>
              <a:gd name="T18" fmla="*/ 1652 w 2485"/>
              <a:gd name="T19" fmla="*/ 353 h 675"/>
              <a:gd name="T20" fmla="*/ 1070 w 2485"/>
              <a:gd name="T21" fmla="*/ 294 h 675"/>
              <a:gd name="T22" fmla="*/ 596 w 2485"/>
              <a:gd name="T23" fmla="*/ 583 h 675"/>
              <a:gd name="T24" fmla="*/ 10 w 2485"/>
              <a:gd name="T25" fmla="*/ 675 h 6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85" h="675">
                <a:moveTo>
                  <a:pt x="10" y="675"/>
                </a:moveTo>
                <a:lnTo>
                  <a:pt x="0" y="614"/>
                </a:lnTo>
                <a:lnTo>
                  <a:pt x="575" y="524"/>
                </a:lnTo>
                <a:lnTo>
                  <a:pt x="1056" y="232"/>
                </a:lnTo>
                <a:lnTo>
                  <a:pt x="1638" y="289"/>
                </a:lnTo>
                <a:lnTo>
                  <a:pt x="2113" y="0"/>
                </a:lnTo>
                <a:lnTo>
                  <a:pt x="2485" y="43"/>
                </a:lnTo>
                <a:lnTo>
                  <a:pt x="2485" y="105"/>
                </a:lnTo>
                <a:lnTo>
                  <a:pt x="2127" y="62"/>
                </a:lnTo>
                <a:lnTo>
                  <a:pt x="1652" y="353"/>
                </a:lnTo>
                <a:lnTo>
                  <a:pt x="1070" y="294"/>
                </a:lnTo>
                <a:lnTo>
                  <a:pt x="596" y="583"/>
                </a:lnTo>
                <a:lnTo>
                  <a:pt x="10" y="675"/>
                </a:lnTo>
                <a:close/>
              </a:path>
            </a:pathLst>
          </a:custGeom>
          <a:solidFill>
            <a:srgbClr val="0072C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316"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0" name="Freeform 5"/>
          <p:cNvSpPr>
            <a:spLocks/>
          </p:cNvSpPr>
          <p:nvPr/>
        </p:nvSpPr>
        <p:spPr bwMode="auto">
          <a:xfrm>
            <a:off x="5633347" y="476751"/>
            <a:ext cx="4556328" cy="1766315"/>
          </a:xfrm>
          <a:custGeom>
            <a:avLst/>
            <a:gdLst>
              <a:gd name="T0" fmla="*/ 14 w 2497"/>
              <a:gd name="T1" fmla="*/ 869 h 869"/>
              <a:gd name="T2" fmla="*/ 0 w 2497"/>
              <a:gd name="T3" fmla="*/ 810 h 869"/>
              <a:gd name="T4" fmla="*/ 727 w 2497"/>
              <a:gd name="T5" fmla="*/ 632 h 869"/>
              <a:gd name="T6" fmla="*/ 1321 w 2497"/>
              <a:gd name="T7" fmla="*/ 263 h 869"/>
              <a:gd name="T8" fmla="*/ 2052 w 2497"/>
              <a:gd name="T9" fmla="*/ 235 h 869"/>
              <a:gd name="T10" fmla="*/ 2497 w 2497"/>
              <a:gd name="T11" fmla="*/ 0 h 869"/>
              <a:gd name="T12" fmla="*/ 2497 w 2497"/>
              <a:gd name="T13" fmla="*/ 0 h 869"/>
              <a:gd name="T14" fmla="*/ 2497 w 2497"/>
              <a:gd name="T15" fmla="*/ 62 h 869"/>
              <a:gd name="T16" fmla="*/ 2497 w 2497"/>
              <a:gd name="T17" fmla="*/ 66 h 869"/>
              <a:gd name="T18" fmla="*/ 2068 w 2497"/>
              <a:gd name="T19" fmla="*/ 296 h 869"/>
              <a:gd name="T20" fmla="*/ 1340 w 2497"/>
              <a:gd name="T21" fmla="*/ 322 h 869"/>
              <a:gd name="T22" fmla="*/ 750 w 2497"/>
              <a:gd name="T23" fmla="*/ 689 h 869"/>
              <a:gd name="T24" fmla="*/ 14 w 2497"/>
              <a:gd name="T25" fmla="*/ 869 h 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97" h="869">
                <a:moveTo>
                  <a:pt x="14" y="869"/>
                </a:moveTo>
                <a:lnTo>
                  <a:pt x="0" y="810"/>
                </a:lnTo>
                <a:lnTo>
                  <a:pt x="727" y="632"/>
                </a:lnTo>
                <a:lnTo>
                  <a:pt x="1321" y="263"/>
                </a:lnTo>
                <a:lnTo>
                  <a:pt x="2052" y="235"/>
                </a:lnTo>
                <a:lnTo>
                  <a:pt x="2497" y="0"/>
                </a:lnTo>
                <a:lnTo>
                  <a:pt x="2497" y="0"/>
                </a:lnTo>
                <a:lnTo>
                  <a:pt x="2497" y="62"/>
                </a:lnTo>
                <a:lnTo>
                  <a:pt x="2497" y="66"/>
                </a:lnTo>
                <a:lnTo>
                  <a:pt x="2068" y="296"/>
                </a:lnTo>
                <a:lnTo>
                  <a:pt x="1340" y="322"/>
                </a:lnTo>
                <a:lnTo>
                  <a:pt x="750" y="689"/>
                </a:lnTo>
                <a:lnTo>
                  <a:pt x="14" y="869"/>
                </a:lnTo>
                <a:close/>
              </a:path>
            </a:pathLst>
          </a:custGeom>
          <a:solidFill>
            <a:srgbClr val="00BCF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316"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1" name="Freeform 6"/>
          <p:cNvSpPr>
            <a:spLocks/>
          </p:cNvSpPr>
          <p:nvPr/>
        </p:nvSpPr>
        <p:spPr bwMode="auto">
          <a:xfrm>
            <a:off x="5662375" y="-674857"/>
            <a:ext cx="4585056" cy="2650548"/>
          </a:xfrm>
          <a:custGeom>
            <a:avLst/>
            <a:gdLst>
              <a:gd name="T0" fmla="*/ 24 w 2523"/>
              <a:gd name="T1" fmla="*/ 1430 h 1430"/>
              <a:gd name="T2" fmla="*/ 0 w 2523"/>
              <a:gd name="T3" fmla="*/ 1376 h 1430"/>
              <a:gd name="T4" fmla="*/ 590 w 2523"/>
              <a:gd name="T5" fmla="*/ 1104 h 1430"/>
              <a:gd name="T6" fmla="*/ 952 w 2523"/>
              <a:gd name="T7" fmla="*/ 680 h 1430"/>
              <a:gd name="T8" fmla="*/ 1548 w 2523"/>
              <a:gd name="T9" fmla="*/ 554 h 1430"/>
              <a:gd name="T10" fmla="*/ 1908 w 2523"/>
              <a:gd name="T11" fmla="*/ 130 h 1430"/>
              <a:gd name="T12" fmla="*/ 2523 w 2523"/>
              <a:gd name="T13" fmla="*/ 0 h 1430"/>
              <a:gd name="T14" fmla="*/ 2523 w 2523"/>
              <a:gd name="T15" fmla="*/ 62 h 1430"/>
              <a:gd name="T16" fmla="*/ 1941 w 2523"/>
              <a:gd name="T17" fmla="*/ 187 h 1430"/>
              <a:gd name="T18" fmla="*/ 1581 w 2523"/>
              <a:gd name="T19" fmla="*/ 609 h 1430"/>
              <a:gd name="T20" fmla="*/ 985 w 2523"/>
              <a:gd name="T21" fmla="*/ 734 h 1430"/>
              <a:gd name="T22" fmla="*/ 627 w 2523"/>
              <a:gd name="T23" fmla="*/ 1153 h 1430"/>
              <a:gd name="T24" fmla="*/ 24 w 2523"/>
              <a:gd name="T25" fmla="*/ 1430 h 1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23" h="1430">
                <a:moveTo>
                  <a:pt x="24" y="1430"/>
                </a:moveTo>
                <a:lnTo>
                  <a:pt x="0" y="1376"/>
                </a:lnTo>
                <a:lnTo>
                  <a:pt x="590" y="1104"/>
                </a:lnTo>
                <a:lnTo>
                  <a:pt x="952" y="680"/>
                </a:lnTo>
                <a:lnTo>
                  <a:pt x="1548" y="554"/>
                </a:lnTo>
                <a:lnTo>
                  <a:pt x="1908" y="130"/>
                </a:lnTo>
                <a:lnTo>
                  <a:pt x="2523" y="0"/>
                </a:lnTo>
                <a:lnTo>
                  <a:pt x="2523" y="62"/>
                </a:lnTo>
                <a:lnTo>
                  <a:pt x="1941" y="187"/>
                </a:lnTo>
                <a:lnTo>
                  <a:pt x="1581" y="609"/>
                </a:lnTo>
                <a:lnTo>
                  <a:pt x="985" y="734"/>
                </a:lnTo>
                <a:lnTo>
                  <a:pt x="627" y="1153"/>
                </a:lnTo>
                <a:lnTo>
                  <a:pt x="24" y="1430"/>
                </a:lnTo>
                <a:close/>
              </a:path>
            </a:pathLst>
          </a:custGeom>
          <a:solidFill>
            <a:schemeClr val="accent5">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32316"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4" name="Text Placeholder 3"/>
          <p:cNvSpPr>
            <a:spLocks noGrp="1"/>
          </p:cNvSpPr>
          <p:nvPr>
            <p:ph type="body" idx="1"/>
          </p:nvPr>
        </p:nvSpPr>
        <p:spPr>
          <a:xfrm>
            <a:off x="512075" y="27026"/>
            <a:ext cx="3130110" cy="2271331"/>
          </a:xfrm>
        </p:spPr>
        <p:txBody>
          <a:bodyPr/>
          <a:lstStyle/>
          <a:p>
            <a:r>
              <a:rPr lang="en-US" dirty="0" smtClean="0"/>
              <a:t>Be productive offline</a:t>
            </a:r>
            <a:endParaRPr lang="en-US" dirty="0"/>
          </a:p>
        </p:txBody>
      </p:sp>
      <p:sp>
        <p:nvSpPr>
          <p:cNvPr id="6" name="Text Placeholder 5"/>
          <p:cNvSpPr>
            <a:spLocks noGrp="1"/>
          </p:cNvSpPr>
          <p:nvPr>
            <p:ph type="body" sz="quarter" idx="10"/>
          </p:nvPr>
        </p:nvSpPr>
        <p:spPr>
          <a:xfrm>
            <a:off x="532923" y="2743201"/>
            <a:ext cx="3109262" cy="3886200"/>
          </a:xfrm>
        </p:spPr>
        <p:txBody>
          <a:bodyPr/>
          <a:lstStyle/>
          <a:p>
            <a:pPr lvl="3" fontAlgn="ctr">
              <a:lnSpc>
                <a:spcPct val="100000"/>
              </a:lnSpc>
            </a:pPr>
            <a:r>
              <a:rPr lang="en-US" sz="1800" dirty="0" smtClean="0"/>
              <a:t>Maximize productivity by </a:t>
            </a:r>
            <a:r>
              <a:rPr lang="en-US" sz="1800" dirty="0"/>
              <a:t>working offline on your familiar Office desktop applications </a:t>
            </a:r>
          </a:p>
          <a:p>
            <a:pPr lvl="3" fontAlgn="ctr">
              <a:lnSpc>
                <a:spcPct val="100000"/>
              </a:lnSpc>
            </a:pPr>
            <a:r>
              <a:rPr lang="en-US" sz="1800" dirty="0" smtClean="0"/>
              <a:t>Sync files to </a:t>
            </a:r>
            <a:r>
              <a:rPr lang="en-US" sz="1800" dirty="0"/>
              <a:t>your devices </a:t>
            </a:r>
            <a:r>
              <a:rPr lang="en-US" sz="1800" dirty="0" smtClean="0"/>
              <a:t>for </a:t>
            </a:r>
            <a:r>
              <a:rPr lang="en-US" sz="1800" dirty="0"/>
              <a:t>offline </a:t>
            </a:r>
            <a:r>
              <a:rPr lang="en-US" sz="1800" dirty="0" smtClean="0"/>
              <a:t>access so you can take your work anywhere</a:t>
            </a:r>
          </a:p>
          <a:p>
            <a:pPr fontAlgn="ctr"/>
            <a:r>
              <a:rPr lang="en-US" sz="1800" dirty="0"/>
              <a:t>A</a:t>
            </a:r>
            <a:r>
              <a:rPr lang="en-US" sz="1800" dirty="0" smtClean="0"/>
              <a:t>utomatically re-sync edits when you reconnect to the internet</a:t>
            </a:r>
          </a:p>
        </p:txBody>
      </p:sp>
      <p:grpSp>
        <p:nvGrpSpPr>
          <p:cNvPr id="3" name="Group 2"/>
          <p:cNvGrpSpPr/>
          <p:nvPr/>
        </p:nvGrpSpPr>
        <p:grpSpPr>
          <a:xfrm>
            <a:off x="9485429" y="80318"/>
            <a:ext cx="3179981" cy="3211413"/>
            <a:chOff x="8418275" y="4859173"/>
            <a:chExt cx="1612898" cy="1628840"/>
          </a:xfrm>
        </p:grpSpPr>
        <p:sp>
          <p:nvSpPr>
            <p:cNvPr id="24" name="Freeform 11"/>
            <p:cNvSpPr>
              <a:spLocks/>
            </p:cNvSpPr>
            <p:nvPr/>
          </p:nvSpPr>
          <p:spPr bwMode="auto">
            <a:xfrm>
              <a:off x="8877766" y="4859173"/>
              <a:ext cx="892868" cy="811993"/>
            </a:xfrm>
            <a:custGeom>
              <a:avLst/>
              <a:gdLst>
                <a:gd name="T0" fmla="*/ 233 w 233"/>
                <a:gd name="T1" fmla="*/ 55 h 212"/>
                <a:gd name="T2" fmla="*/ 90 w 233"/>
                <a:gd name="T3" fmla="*/ 0 h 212"/>
                <a:gd name="T4" fmla="*/ 0 w 233"/>
                <a:gd name="T5" fmla="*/ 20 h 212"/>
                <a:gd name="T6" fmla="*/ 90 w 233"/>
                <a:gd name="T7" fmla="*/ 212 h 212"/>
                <a:gd name="T8" fmla="*/ 233 w 233"/>
                <a:gd name="T9" fmla="*/ 55 h 212"/>
              </a:gdLst>
              <a:ahLst/>
              <a:cxnLst>
                <a:cxn ang="0">
                  <a:pos x="T0" y="T1"/>
                </a:cxn>
                <a:cxn ang="0">
                  <a:pos x="T2" y="T3"/>
                </a:cxn>
                <a:cxn ang="0">
                  <a:pos x="T4" y="T5"/>
                </a:cxn>
                <a:cxn ang="0">
                  <a:pos x="T6" y="T7"/>
                </a:cxn>
                <a:cxn ang="0">
                  <a:pos x="T8" y="T9"/>
                </a:cxn>
              </a:cxnLst>
              <a:rect l="0" t="0" r="r" b="b"/>
              <a:pathLst>
                <a:path w="233" h="212">
                  <a:moveTo>
                    <a:pt x="233" y="55"/>
                  </a:moveTo>
                  <a:cubicBezTo>
                    <a:pt x="195" y="21"/>
                    <a:pt x="145" y="0"/>
                    <a:pt x="90" y="0"/>
                  </a:cubicBezTo>
                  <a:cubicBezTo>
                    <a:pt x="58" y="0"/>
                    <a:pt x="27" y="7"/>
                    <a:pt x="0" y="20"/>
                  </a:cubicBezTo>
                  <a:cubicBezTo>
                    <a:pt x="90" y="212"/>
                    <a:pt x="90" y="212"/>
                    <a:pt x="90" y="212"/>
                  </a:cubicBezTo>
                  <a:lnTo>
                    <a:pt x="233" y="55"/>
                  </a:lnTo>
                  <a:close/>
                </a:path>
              </a:pathLst>
            </a:custGeom>
            <a:solidFill>
              <a:srgbClr val="68217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316"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5" name="Freeform 12"/>
            <p:cNvSpPr>
              <a:spLocks/>
            </p:cNvSpPr>
            <p:nvPr/>
          </p:nvSpPr>
          <p:spPr bwMode="auto">
            <a:xfrm>
              <a:off x="9215945" y="5071068"/>
              <a:ext cx="755379" cy="600099"/>
            </a:xfrm>
            <a:custGeom>
              <a:avLst/>
              <a:gdLst>
                <a:gd name="T0" fmla="*/ 197 w 197"/>
                <a:gd name="T1" fmla="*/ 77 h 157"/>
                <a:gd name="T2" fmla="*/ 143 w 197"/>
                <a:gd name="T3" fmla="*/ 0 h 157"/>
                <a:gd name="T4" fmla="*/ 0 w 197"/>
                <a:gd name="T5" fmla="*/ 157 h 157"/>
                <a:gd name="T6" fmla="*/ 197 w 197"/>
                <a:gd name="T7" fmla="*/ 77 h 157"/>
              </a:gdLst>
              <a:ahLst/>
              <a:cxnLst>
                <a:cxn ang="0">
                  <a:pos x="T0" y="T1"/>
                </a:cxn>
                <a:cxn ang="0">
                  <a:pos x="T2" y="T3"/>
                </a:cxn>
                <a:cxn ang="0">
                  <a:pos x="T4" y="T5"/>
                </a:cxn>
                <a:cxn ang="0">
                  <a:pos x="T6" y="T7"/>
                </a:cxn>
              </a:cxnLst>
              <a:rect l="0" t="0" r="r" b="b"/>
              <a:pathLst>
                <a:path w="197" h="157">
                  <a:moveTo>
                    <a:pt x="197" y="77"/>
                  </a:moveTo>
                  <a:cubicBezTo>
                    <a:pt x="185" y="47"/>
                    <a:pt x="166" y="21"/>
                    <a:pt x="143" y="0"/>
                  </a:cubicBezTo>
                  <a:cubicBezTo>
                    <a:pt x="0" y="157"/>
                    <a:pt x="0" y="157"/>
                    <a:pt x="0" y="157"/>
                  </a:cubicBezTo>
                  <a:lnTo>
                    <a:pt x="197" y="77"/>
                  </a:lnTo>
                  <a:close/>
                </a:path>
              </a:pathLst>
            </a:custGeom>
            <a:solidFill>
              <a:srgbClr val="00205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316"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8" name="Freeform 13"/>
            <p:cNvSpPr>
              <a:spLocks/>
            </p:cNvSpPr>
            <p:nvPr/>
          </p:nvSpPr>
          <p:spPr bwMode="auto">
            <a:xfrm>
              <a:off x="8418275" y="4936814"/>
              <a:ext cx="810375" cy="1305337"/>
            </a:xfrm>
            <a:custGeom>
              <a:avLst/>
              <a:gdLst>
                <a:gd name="T0" fmla="*/ 122 w 212"/>
                <a:gd name="T1" fmla="*/ 0 h 341"/>
                <a:gd name="T2" fmla="*/ 0 w 212"/>
                <a:gd name="T3" fmla="*/ 192 h 341"/>
                <a:gd name="T4" fmla="*/ 61 w 212"/>
                <a:gd name="T5" fmla="*/ 341 h 341"/>
                <a:gd name="T6" fmla="*/ 212 w 212"/>
                <a:gd name="T7" fmla="*/ 192 h 341"/>
                <a:gd name="T8" fmla="*/ 122 w 212"/>
                <a:gd name="T9" fmla="*/ 0 h 341"/>
              </a:gdLst>
              <a:ahLst/>
              <a:cxnLst>
                <a:cxn ang="0">
                  <a:pos x="T0" y="T1"/>
                </a:cxn>
                <a:cxn ang="0">
                  <a:pos x="T2" y="T3"/>
                </a:cxn>
                <a:cxn ang="0">
                  <a:pos x="T4" y="T5"/>
                </a:cxn>
                <a:cxn ang="0">
                  <a:pos x="T6" y="T7"/>
                </a:cxn>
                <a:cxn ang="0">
                  <a:pos x="T8" y="T9"/>
                </a:cxn>
              </a:cxnLst>
              <a:rect l="0" t="0" r="r" b="b"/>
              <a:pathLst>
                <a:path w="212" h="341">
                  <a:moveTo>
                    <a:pt x="122" y="0"/>
                  </a:moveTo>
                  <a:cubicBezTo>
                    <a:pt x="50" y="34"/>
                    <a:pt x="0" y="107"/>
                    <a:pt x="0" y="192"/>
                  </a:cubicBezTo>
                  <a:cubicBezTo>
                    <a:pt x="0" y="250"/>
                    <a:pt x="23" y="303"/>
                    <a:pt x="61" y="341"/>
                  </a:cubicBezTo>
                  <a:cubicBezTo>
                    <a:pt x="212" y="192"/>
                    <a:pt x="212" y="192"/>
                    <a:pt x="212" y="192"/>
                  </a:cubicBezTo>
                  <a:lnTo>
                    <a:pt x="122" y="0"/>
                  </a:lnTo>
                  <a:close/>
                </a:path>
              </a:pathLst>
            </a:custGeom>
            <a:solidFill>
              <a:srgbClr val="44235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316"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29" name="Freeform 14"/>
            <p:cNvSpPr>
              <a:spLocks/>
            </p:cNvSpPr>
            <p:nvPr/>
          </p:nvSpPr>
          <p:spPr bwMode="auto">
            <a:xfrm>
              <a:off x="9215945" y="5365456"/>
              <a:ext cx="815228" cy="305711"/>
            </a:xfrm>
            <a:custGeom>
              <a:avLst/>
              <a:gdLst>
                <a:gd name="T0" fmla="*/ 0 w 213"/>
                <a:gd name="T1" fmla="*/ 80 h 80"/>
                <a:gd name="T2" fmla="*/ 213 w 213"/>
                <a:gd name="T3" fmla="*/ 80 h 80"/>
                <a:gd name="T4" fmla="*/ 197 w 213"/>
                <a:gd name="T5" fmla="*/ 0 h 80"/>
                <a:gd name="T6" fmla="*/ 0 w 213"/>
                <a:gd name="T7" fmla="*/ 80 h 80"/>
              </a:gdLst>
              <a:ahLst/>
              <a:cxnLst>
                <a:cxn ang="0">
                  <a:pos x="T0" y="T1"/>
                </a:cxn>
                <a:cxn ang="0">
                  <a:pos x="T2" y="T3"/>
                </a:cxn>
                <a:cxn ang="0">
                  <a:pos x="T4" y="T5"/>
                </a:cxn>
                <a:cxn ang="0">
                  <a:pos x="T6" y="T7"/>
                </a:cxn>
              </a:cxnLst>
              <a:rect l="0" t="0" r="r" b="b"/>
              <a:pathLst>
                <a:path w="213" h="80">
                  <a:moveTo>
                    <a:pt x="0" y="80"/>
                  </a:moveTo>
                  <a:cubicBezTo>
                    <a:pt x="213" y="80"/>
                    <a:pt x="213" y="80"/>
                    <a:pt x="213" y="80"/>
                  </a:cubicBezTo>
                  <a:cubicBezTo>
                    <a:pt x="213" y="52"/>
                    <a:pt x="207" y="25"/>
                    <a:pt x="197" y="0"/>
                  </a:cubicBezTo>
                  <a:lnTo>
                    <a:pt x="0" y="80"/>
                  </a:lnTo>
                  <a:close/>
                </a:path>
              </a:pathLst>
            </a:custGeom>
            <a:solidFill>
              <a:srgbClr val="0072C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316"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30" name="Freeform 15"/>
            <p:cNvSpPr>
              <a:spLocks/>
            </p:cNvSpPr>
            <p:nvPr/>
          </p:nvSpPr>
          <p:spPr bwMode="auto">
            <a:xfrm>
              <a:off x="8638492" y="5671166"/>
              <a:ext cx="577453" cy="727882"/>
            </a:xfrm>
            <a:custGeom>
              <a:avLst/>
              <a:gdLst>
                <a:gd name="T0" fmla="*/ 0 w 151"/>
                <a:gd name="T1" fmla="*/ 149 h 190"/>
                <a:gd name="T2" fmla="*/ 55 w 151"/>
                <a:gd name="T3" fmla="*/ 190 h 190"/>
                <a:gd name="T4" fmla="*/ 151 w 151"/>
                <a:gd name="T5" fmla="*/ 0 h 190"/>
                <a:gd name="T6" fmla="*/ 0 w 151"/>
                <a:gd name="T7" fmla="*/ 149 h 190"/>
              </a:gdLst>
              <a:ahLst/>
              <a:cxnLst>
                <a:cxn ang="0">
                  <a:pos x="T0" y="T1"/>
                </a:cxn>
                <a:cxn ang="0">
                  <a:pos x="T2" y="T3"/>
                </a:cxn>
                <a:cxn ang="0">
                  <a:pos x="T4" y="T5"/>
                </a:cxn>
                <a:cxn ang="0">
                  <a:pos x="T6" y="T7"/>
                </a:cxn>
              </a:cxnLst>
              <a:rect l="0" t="0" r="r" b="b"/>
              <a:pathLst>
                <a:path w="151" h="190">
                  <a:moveTo>
                    <a:pt x="0" y="149"/>
                  </a:moveTo>
                  <a:cubicBezTo>
                    <a:pt x="16" y="165"/>
                    <a:pt x="35" y="179"/>
                    <a:pt x="55" y="190"/>
                  </a:cubicBezTo>
                  <a:cubicBezTo>
                    <a:pt x="151" y="0"/>
                    <a:pt x="151" y="0"/>
                    <a:pt x="151" y="0"/>
                  </a:cubicBezTo>
                  <a:lnTo>
                    <a:pt x="0" y="149"/>
                  </a:lnTo>
                  <a:close/>
                </a:path>
              </a:pathLst>
            </a:custGeom>
            <a:solidFill>
              <a:srgbClr val="0072C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316"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31" name="Freeform 16"/>
            <p:cNvSpPr>
              <a:spLocks/>
            </p:cNvSpPr>
            <p:nvPr/>
          </p:nvSpPr>
          <p:spPr bwMode="auto">
            <a:xfrm>
              <a:off x="8848769" y="5671166"/>
              <a:ext cx="1182404" cy="816847"/>
            </a:xfrm>
            <a:custGeom>
              <a:avLst/>
              <a:gdLst>
                <a:gd name="T0" fmla="*/ 0 w 309"/>
                <a:gd name="T1" fmla="*/ 190 h 213"/>
                <a:gd name="T2" fmla="*/ 96 w 309"/>
                <a:gd name="T3" fmla="*/ 213 h 213"/>
                <a:gd name="T4" fmla="*/ 309 w 309"/>
                <a:gd name="T5" fmla="*/ 0 h 213"/>
                <a:gd name="T6" fmla="*/ 96 w 309"/>
                <a:gd name="T7" fmla="*/ 0 h 213"/>
                <a:gd name="T8" fmla="*/ 0 w 309"/>
                <a:gd name="T9" fmla="*/ 190 h 213"/>
              </a:gdLst>
              <a:ahLst/>
              <a:cxnLst>
                <a:cxn ang="0">
                  <a:pos x="T0" y="T1"/>
                </a:cxn>
                <a:cxn ang="0">
                  <a:pos x="T2" y="T3"/>
                </a:cxn>
                <a:cxn ang="0">
                  <a:pos x="T4" y="T5"/>
                </a:cxn>
                <a:cxn ang="0">
                  <a:pos x="T6" y="T7"/>
                </a:cxn>
                <a:cxn ang="0">
                  <a:pos x="T8" y="T9"/>
                </a:cxn>
              </a:cxnLst>
              <a:rect l="0" t="0" r="r" b="b"/>
              <a:pathLst>
                <a:path w="309" h="213">
                  <a:moveTo>
                    <a:pt x="0" y="190"/>
                  </a:moveTo>
                  <a:cubicBezTo>
                    <a:pt x="29" y="204"/>
                    <a:pt x="62" y="213"/>
                    <a:pt x="96" y="213"/>
                  </a:cubicBezTo>
                  <a:cubicBezTo>
                    <a:pt x="214" y="213"/>
                    <a:pt x="309" y="118"/>
                    <a:pt x="309" y="0"/>
                  </a:cubicBezTo>
                  <a:cubicBezTo>
                    <a:pt x="96" y="0"/>
                    <a:pt x="96" y="0"/>
                    <a:pt x="96" y="0"/>
                  </a:cubicBezTo>
                  <a:lnTo>
                    <a:pt x="0" y="190"/>
                  </a:lnTo>
                  <a:close/>
                </a:path>
              </a:pathLst>
            </a:custGeom>
            <a:solidFill>
              <a:srgbClr val="00BCF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316"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grpSp>
      <p:grpSp>
        <p:nvGrpSpPr>
          <p:cNvPr id="8" name="Group 7"/>
          <p:cNvGrpSpPr/>
          <p:nvPr/>
        </p:nvGrpSpPr>
        <p:grpSpPr>
          <a:xfrm>
            <a:off x="5366256" y="-53472"/>
            <a:ext cx="2025081" cy="3146717"/>
            <a:chOff x="6628033" y="5211339"/>
            <a:chExt cx="1100997" cy="1710809"/>
          </a:xfrm>
        </p:grpSpPr>
        <p:sp>
          <p:nvSpPr>
            <p:cNvPr id="32" name="Rectangle 18"/>
            <p:cNvSpPr>
              <a:spLocks noChangeArrowheads="1"/>
            </p:cNvSpPr>
            <p:nvPr/>
          </p:nvSpPr>
          <p:spPr bwMode="auto">
            <a:xfrm>
              <a:off x="7202628" y="6138830"/>
              <a:ext cx="237252" cy="719170"/>
            </a:xfrm>
            <a:prstGeom prst="rect">
              <a:avLst/>
            </a:prstGeom>
            <a:solidFill>
              <a:srgbClr val="0070C0"/>
            </a:solidFill>
            <a:ln>
              <a:noFill/>
            </a:ln>
          </p:spPr>
          <p:txBody>
            <a:bodyPr vert="horz" wrap="square" lIns="91440" tIns="45720" rIns="91440" bIns="45720" numCol="1" anchor="t" anchorCtr="0" compatLnSpc="1">
              <a:prstTxWarp prst="textNoShape">
                <a:avLst/>
              </a:prstTxWarp>
            </a:bodyPr>
            <a:lstStyle/>
            <a:p>
              <a:pPr marL="0" marR="0" lvl="0" indent="0" defTabSz="932316"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33" name="Freeform 20"/>
            <p:cNvSpPr>
              <a:spLocks/>
            </p:cNvSpPr>
            <p:nvPr/>
          </p:nvSpPr>
          <p:spPr bwMode="auto">
            <a:xfrm>
              <a:off x="6628033" y="5673593"/>
              <a:ext cx="237252" cy="1184407"/>
            </a:xfrm>
            <a:custGeom>
              <a:avLst/>
              <a:gdLst>
                <a:gd name="T0" fmla="*/ 0 w 128"/>
                <a:gd name="T1" fmla="*/ 0 h 639"/>
                <a:gd name="T2" fmla="*/ 0 w 128"/>
                <a:gd name="T3" fmla="*/ 317 h 639"/>
                <a:gd name="T4" fmla="*/ 0 w 128"/>
                <a:gd name="T5" fmla="*/ 639 h 639"/>
                <a:gd name="T6" fmla="*/ 128 w 128"/>
                <a:gd name="T7" fmla="*/ 639 h 639"/>
                <a:gd name="T8" fmla="*/ 128 w 128"/>
                <a:gd name="T9" fmla="*/ 267 h 639"/>
                <a:gd name="T10" fmla="*/ 128 w 128"/>
                <a:gd name="T11" fmla="*/ 0 h 639"/>
                <a:gd name="T12" fmla="*/ 0 w 128"/>
                <a:gd name="T13" fmla="*/ 0 h 639"/>
              </a:gdLst>
              <a:ahLst/>
              <a:cxnLst>
                <a:cxn ang="0">
                  <a:pos x="T0" y="T1"/>
                </a:cxn>
                <a:cxn ang="0">
                  <a:pos x="T2" y="T3"/>
                </a:cxn>
                <a:cxn ang="0">
                  <a:pos x="T4" y="T5"/>
                </a:cxn>
                <a:cxn ang="0">
                  <a:pos x="T6" y="T7"/>
                </a:cxn>
                <a:cxn ang="0">
                  <a:pos x="T8" y="T9"/>
                </a:cxn>
                <a:cxn ang="0">
                  <a:pos x="T10" y="T11"/>
                </a:cxn>
                <a:cxn ang="0">
                  <a:pos x="T12" y="T13"/>
                </a:cxn>
              </a:cxnLst>
              <a:rect l="0" t="0" r="r" b="b"/>
              <a:pathLst>
                <a:path w="128" h="639">
                  <a:moveTo>
                    <a:pt x="0" y="0"/>
                  </a:moveTo>
                  <a:lnTo>
                    <a:pt x="0" y="317"/>
                  </a:lnTo>
                  <a:lnTo>
                    <a:pt x="0" y="639"/>
                  </a:lnTo>
                  <a:lnTo>
                    <a:pt x="128" y="639"/>
                  </a:lnTo>
                  <a:lnTo>
                    <a:pt x="128" y="267"/>
                  </a:lnTo>
                  <a:lnTo>
                    <a:pt x="128" y="0"/>
                  </a:lnTo>
                  <a:lnTo>
                    <a:pt x="0" y="0"/>
                  </a:lnTo>
                  <a:close/>
                </a:path>
              </a:pathLst>
            </a:custGeom>
            <a:solidFill>
              <a:srgbClr val="008272"/>
            </a:solidFill>
            <a:ln>
              <a:noFill/>
            </a:ln>
          </p:spPr>
          <p:txBody>
            <a:bodyPr vert="horz" wrap="square" lIns="91440" tIns="45720" rIns="91440" bIns="45720" numCol="1" anchor="t" anchorCtr="0" compatLnSpc="1">
              <a:prstTxWarp prst="textNoShape">
                <a:avLst/>
              </a:prstTxWarp>
            </a:bodyPr>
            <a:lstStyle/>
            <a:p>
              <a:pPr marL="0" marR="0" lvl="0" indent="0" defTabSz="932316"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34" name="Freeform 21"/>
            <p:cNvSpPr>
              <a:spLocks/>
            </p:cNvSpPr>
            <p:nvPr/>
          </p:nvSpPr>
          <p:spPr bwMode="auto">
            <a:xfrm>
              <a:off x="6913477" y="5211339"/>
              <a:ext cx="240960" cy="1710809"/>
            </a:xfrm>
            <a:custGeom>
              <a:avLst/>
              <a:gdLst>
                <a:gd name="T0" fmla="*/ 0 w 130"/>
                <a:gd name="T1" fmla="*/ 0 h 923"/>
                <a:gd name="T2" fmla="*/ 0 w 130"/>
                <a:gd name="T3" fmla="*/ 540 h 923"/>
                <a:gd name="T4" fmla="*/ 0 w 130"/>
                <a:gd name="T5" fmla="*/ 923 h 923"/>
                <a:gd name="T6" fmla="*/ 130 w 130"/>
                <a:gd name="T7" fmla="*/ 923 h 923"/>
                <a:gd name="T8" fmla="*/ 130 w 130"/>
                <a:gd name="T9" fmla="*/ 490 h 923"/>
                <a:gd name="T10" fmla="*/ 130 w 130"/>
                <a:gd name="T11" fmla="*/ 0 h 923"/>
                <a:gd name="T12" fmla="*/ 0 w 130"/>
                <a:gd name="T13" fmla="*/ 0 h 923"/>
              </a:gdLst>
              <a:ahLst/>
              <a:cxnLst>
                <a:cxn ang="0">
                  <a:pos x="T0" y="T1"/>
                </a:cxn>
                <a:cxn ang="0">
                  <a:pos x="T2" y="T3"/>
                </a:cxn>
                <a:cxn ang="0">
                  <a:pos x="T4" y="T5"/>
                </a:cxn>
                <a:cxn ang="0">
                  <a:pos x="T6" y="T7"/>
                </a:cxn>
                <a:cxn ang="0">
                  <a:pos x="T8" y="T9"/>
                </a:cxn>
                <a:cxn ang="0">
                  <a:pos x="T10" y="T11"/>
                </a:cxn>
                <a:cxn ang="0">
                  <a:pos x="T12" y="T13"/>
                </a:cxn>
              </a:cxnLst>
              <a:rect l="0" t="0" r="r" b="b"/>
              <a:pathLst>
                <a:path w="130" h="923">
                  <a:moveTo>
                    <a:pt x="0" y="0"/>
                  </a:moveTo>
                  <a:lnTo>
                    <a:pt x="0" y="540"/>
                  </a:lnTo>
                  <a:lnTo>
                    <a:pt x="0" y="923"/>
                  </a:lnTo>
                  <a:lnTo>
                    <a:pt x="130" y="923"/>
                  </a:lnTo>
                  <a:lnTo>
                    <a:pt x="130" y="490"/>
                  </a:lnTo>
                  <a:lnTo>
                    <a:pt x="130" y="0"/>
                  </a:lnTo>
                  <a:lnTo>
                    <a:pt x="0" y="0"/>
                  </a:lnTo>
                  <a:close/>
                </a:path>
              </a:pathLst>
            </a:custGeom>
            <a:solidFill>
              <a:srgbClr val="DC3C00"/>
            </a:solidFill>
            <a:ln>
              <a:noFill/>
            </a:ln>
          </p:spPr>
          <p:txBody>
            <a:bodyPr vert="horz" wrap="square" lIns="91440" tIns="45720" rIns="91440" bIns="45720" numCol="1" anchor="t" anchorCtr="0" compatLnSpc="1">
              <a:prstTxWarp prst="textNoShape">
                <a:avLst/>
              </a:prstTxWarp>
            </a:bodyPr>
            <a:lstStyle/>
            <a:p>
              <a:pPr marL="0" marR="0" lvl="0" indent="0" defTabSz="932316"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sp>
          <p:nvSpPr>
            <p:cNvPr id="35" name="Freeform 22"/>
            <p:cNvSpPr>
              <a:spLocks/>
            </p:cNvSpPr>
            <p:nvPr/>
          </p:nvSpPr>
          <p:spPr bwMode="auto">
            <a:xfrm>
              <a:off x="7493632" y="5690276"/>
              <a:ext cx="235398" cy="1167723"/>
            </a:xfrm>
            <a:custGeom>
              <a:avLst/>
              <a:gdLst>
                <a:gd name="T0" fmla="*/ 0 w 127"/>
                <a:gd name="T1" fmla="*/ 0 h 630"/>
                <a:gd name="T2" fmla="*/ 0 w 127"/>
                <a:gd name="T3" fmla="*/ 126 h 630"/>
                <a:gd name="T4" fmla="*/ 0 w 127"/>
                <a:gd name="T5" fmla="*/ 630 h 630"/>
                <a:gd name="T6" fmla="*/ 127 w 127"/>
                <a:gd name="T7" fmla="*/ 630 h 630"/>
                <a:gd name="T8" fmla="*/ 127 w 127"/>
                <a:gd name="T9" fmla="*/ 74 h 630"/>
                <a:gd name="T10" fmla="*/ 127 w 127"/>
                <a:gd name="T11" fmla="*/ 0 h 630"/>
                <a:gd name="T12" fmla="*/ 0 w 127"/>
                <a:gd name="T13" fmla="*/ 0 h 630"/>
              </a:gdLst>
              <a:ahLst/>
              <a:cxnLst>
                <a:cxn ang="0">
                  <a:pos x="T0" y="T1"/>
                </a:cxn>
                <a:cxn ang="0">
                  <a:pos x="T2" y="T3"/>
                </a:cxn>
                <a:cxn ang="0">
                  <a:pos x="T4" y="T5"/>
                </a:cxn>
                <a:cxn ang="0">
                  <a:pos x="T6" y="T7"/>
                </a:cxn>
                <a:cxn ang="0">
                  <a:pos x="T8" y="T9"/>
                </a:cxn>
                <a:cxn ang="0">
                  <a:pos x="T10" y="T11"/>
                </a:cxn>
                <a:cxn ang="0">
                  <a:pos x="T12" y="T13"/>
                </a:cxn>
              </a:cxnLst>
              <a:rect l="0" t="0" r="r" b="b"/>
              <a:pathLst>
                <a:path w="127" h="630">
                  <a:moveTo>
                    <a:pt x="0" y="0"/>
                  </a:moveTo>
                  <a:lnTo>
                    <a:pt x="0" y="126"/>
                  </a:lnTo>
                  <a:lnTo>
                    <a:pt x="0" y="630"/>
                  </a:lnTo>
                  <a:lnTo>
                    <a:pt x="127" y="630"/>
                  </a:lnTo>
                  <a:lnTo>
                    <a:pt x="127" y="74"/>
                  </a:lnTo>
                  <a:lnTo>
                    <a:pt x="127" y="0"/>
                  </a:lnTo>
                  <a:lnTo>
                    <a:pt x="0" y="0"/>
                  </a:lnTo>
                  <a:close/>
                </a:path>
              </a:pathLst>
            </a:custGeom>
            <a:solidFill>
              <a:srgbClr val="68217A"/>
            </a:solidFill>
            <a:ln>
              <a:noFill/>
            </a:ln>
          </p:spPr>
          <p:txBody>
            <a:bodyPr vert="horz" wrap="square" lIns="91440" tIns="45720" rIns="91440" bIns="45720" numCol="1" anchor="t" anchorCtr="0" compatLnSpc="1">
              <a:prstTxWarp prst="textNoShape">
                <a:avLst/>
              </a:prstTxWarp>
            </a:bodyPr>
            <a:lstStyle/>
            <a:p>
              <a:pPr marL="0" marR="0" lvl="0" indent="0" defTabSz="932316"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smtClean="0">
                <a:ln>
                  <a:noFill/>
                </a:ln>
                <a:solidFill>
                  <a:srgbClr val="000000"/>
                </a:solidFill>
                <a:effectLst/>
                <a:uLnTx/>
                <a:uFillTx/>
              </a:endParaRPr>
            </a:p>
          </p:txBody>
        </p:sp>
      </p:grpSp>
      <p:pic>
        <p:nvPicPr>
          <p:cNvPr id="37" name="Picture 36"/>
          <p:cNvPicPr>
            <a:picLocks noChangeAspect="1"/>
          </p:cNvPicPr>
          <p:nvPr/>
        </p:nvPicPr>
        <p:blipFill>
          <a:blip r:embed="rId3"/>
          <a:stretch>
            <a:fillRect/>
          </a:stretch>
        </p:blipFill>
        <p:spPr>
          <a:xfrm>
            <a:off x="4887493" y="1089443"/>
            <a:ext cx="2141980" cy="5647039"/>
          </a:xfrm>
          <a:prstGeom prst="rect">
            <a:avLst/>
          </a:prstGeom>
        </p:spPr>
      </p:pic>
      <p:sp>
        <p:nvSpPr>
          <p:cNvPr id="36" name="Freeform 20"/>
          <p:cNvSpPr>
            <a:spLocks noEditPoints="1"/>
          </p:cNvSpPr>
          <p:nvPr/>
        </p:nvSpPr>
        <p:spPr bwMode="black">
          <a:xfrm>
            <a:off x="6417630" y="2512353"/>
            <a:ext cx="5410575" cy="3764572"/>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8C00"/>
          </a:solidFill>
          <a:extLst/>
        </p:spPr>
        <p:txBody>
          <a:bodyPr vert="horz" wrap="square" lIns="82305" tIns="41153" rIns="82305" bIns="41153" numCol="1" anchor="t" anchorCtr="0" compatLnSpc="1">
            <a:prstTxWarp prst="textNoShape">
              <a:avLst/>
            </a:prstTxWarp>
          </a:bodyPr>
          <a:lstStyle/>
          <a:p>
            <a:pPr marL="0" marR="0" lvl="0" indent="0" defTabSz="932316"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smtClean="0">
              <a:ln>
                <a:noFill/>
              </a:ln>
              <a:solidFill>
                <a:srgbClr val="DC3C00"/>
              </a:solidFill>
              <a:effectLst/>
              <a:uLnTx/>
              <a:uFillTx/>
            </a:endParaRPr>
          </a:p>
        </p:txBody>
      </p:sp>
      <p:sp>
        <p:nvSpPr>
          <p:cNvPr id="9" name="Rectangle 8"/>
          <p:cNvSpPr/>
          <p:nvPr/>
        </p:nvSpPr>
        <p:spPr bwMode="auto">
          <a:xfrm>
            <a:off x="6985140" y="2664270"/>
            <a:ext cx="4300805" cy="2801983"/>
          </a:xfrm>
          <a:prstGeom prst="rect">
            <a:avLst/>
          </a:prstGeom>
          <a:solidFill>
            <a:srgbClr val="DD5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4" name="Rectangle 43"/>
          <p:cNvSpPr/>
          <p:nvPr/>
        </p:nvSpPr>
        <p:spPr>
          <a:xfrm>
            <a:off x="7541162" y="1889390"/>
            <a:ext cx="1957101" cy="535531"/>
          </a:xfrm>
          <a:prstGeom prst="rect">
            <a:avLst/>
          </a:prstGeom>
        </p:spPr>
        <p:txBody>
          <a:bodyPr wrap="square">
            <a:spAutoFit/>
          </a:bodyPr>
          <a:lstStyle/>
          <a:p>
            <a:pPr>
              <a:lnSpc>
                <a:spcPct val="90000"/>
              </a:lnSpc>
            </a:pPr>
            <a:r>
              <a:rPr lang="en-US" sz="1600" dirty="0" smtClean="0">
                <a:solidFill>
                  <a:schemeClr val="accent1">
                    <a:alpha val="99000"/>
                  </a:schemeClr>
                </a:solidFill>
                <a:latin typeface="Segoe UI Light"/>
              </a:rPr>
              <a:t>Sync files to your PC for offline access</a:t>
            </a:r>
            <a:endParaRPr lang="en-US" sz="1600" dirty="0">
              <a:solidFill>
                <a:schemeClr val="accent1">
                  <a:alpha val="99000"/>
                </a:schemeClr>
              </a:solidFill>
              <a:latin typeface="Segoe UI Light"/>
            </a:endParaRPr>
          </a:p>
        </p:txBody>
      </p:sp>
      <p:pic>
        <p:nvPicPr>
          <p:cNvPr id="46" name="Picture 45"/>
          <p:cNvPicPr>
            <a:picLocks noChangeAspect="1"/>
          </p:cNvPicPr>
          <p:nvPr/>
        </p:nvPicPr>
        <p:blipFill rotWithShape="1">
          <a:blip r:embed="rId4" cstate="screen">
            <a:extLst>
              <a:ext uri="{28A0092B-C50C-407E-A947-70E740481C1C}">
                <a14:useLocalDpi xmlns:a14="http://schemas.microsoft.com/office/drawing/2010/main" val="0"/>
              </a:ext>
            </a:extLst>
          </a:blip>
          <a:srcRect/>
          <a:stretch/>
        </p:blipFill>
        <p:spPr>
          <a:xfrm>
            <a:off x="6976980" y="2881161"/>
            <a:ext cx="4295109" cy="2329113"/>
          </a:xfrm>
          <a:prstGeom prst="rect">
            <a:avLst/>
          </a:prstGeom>
        </p:spPr>
      </p:pic>
      <p:cxnSp>
        <p:nvCxnSpPr>
          <p:cNvPr id="45" name="Straight Connector 44"/>
          <p:cNvCxnSpPr/>
          <p:nvPr/>
        </p:nvCxnSpPr>
        <p:spPr>
          <a:xfrm>
            <a:off x="8487927" y="2436057"/>
            <a:ext cx="64183" cy="695295"/>
          </a:xfrm>
          <a:prstGeom prst="line">
            <a:avLst/>
          </a:prstGeom>
          <a:ln w="28575">
            <a:solidFill>
              <a:schemeClr val="tx2"/>
            </a:solidFill>
            <a:prstDash val="sysDash"/>
            <a:headEnd type="none"/>
            <a:tailEnd type="oval"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043853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par>
                                <p:cTn id="8" presetID="22" presetClass="entr" presetSubtype="1" fill="hold" nodeType="withEffect">
                                  <p:stCondLst>
                                    <p:cond delay="0"/>
                                  </p:stCondLst>
                                  <p:childTnLst>
                                    <p:set>
                                      <p:cBhvr>
                                        <p:cTn id="9" dur="1" fill="hold">
                                          <p:stCondLst>
                                            <p:cond delay="0"/>
                                          </p:stCondLst>
                                        </p:cTn>
                                        <p:tgtEl>
                                          <p:spTgt spid="45"/>
                                        </p:tgtEl>
                                        <p:attrNameLst>
                                          <p:attrName>style.visibility</p:attrName>
                                        </p:attrNameLst>
                                      </p:cBhvr>
                                      <p:to>
                                        <p:strVal val="visible"/>
                                      </p:to>
                                    </p:set>
                                    <p:animEffect transition="in" filter="wipe(up)">
                                      <p:cBhvr>
                                        <p:cTn id="10" dur="5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Rectangle 54"/>
          <p:cNvSpPr/>
          <p:nvPr/>
        </p:nvSpPr>
        <p:spPr>
          <a:xfrm>
            <a:off x="1" y="1"/>
            <a:ext cx="12990994" cy="6858000"/>
          </a:xfrm>
          <a:prstGeom prst="rect">
            <a:avLst/>
          </a:prstGeom>
          <a:solidFill>
            <a:srgbClr val="45ACC8"/>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3" name="TextBox 2"/>
          <p:cNvSpPr txBox="1"/>
          <p:nvPr/>
        </p:nvSpPr>
        <p:spPr>
          <a:xfrm>
            <a:off x="247905" y="4330030"/>
            <a:ext cx="12696625" cy="1975926"/>
          </a:xfrm>
          <a:prstGeom prst="rect">
            <a:avLst/>
          </a:prstGeom>
          <a:noFill/>
        </p:spPr>
        <p:txBody>
          <a:bodyPr wrap="square" rtlCol="0">
            <a:spAutoFit/>
          </a:bodyPr>
          <a:lstStyle/>
          <a:p>
            <a:pPr>
              <a:lnSpc>
                <a:spcPct val="85000"/>
              </a:lnSpc>
            </a:pPr>
            <a:r>
              <a:rPr lang="en-US" sz="7200" spc="-100" dirty="0" smtClean="0">
                <a:solidFill>
                  <a:schemeClr val="bg1"/>
                </a:solidFill>
                <a:latin typeface="Segoe UI Bold" panose="020B0802040204020203" pitchFamily="34" charset="0"/>
                <a:ea typeface="Segoe UI Bold" panose="020B0802040204020203" pitchFamily="34" charset="0"/>
                <a:cs typeface="Segoe UI Bold" panose="020B0802040204020203" pitchFamily="34" charset="0"/>
              </a:rPr>
              <a:t>The best &amp;</a:t>
            </a:r>
            <a:r>
              <a:rPr lang="en-US" sz="7200" spc="-100" dirty="0">
                <a:solidFill>
                  <a:schemeClr val="bg1"/>
                </a:solidFill>
                <a:latin typeface="Segoe UI Bold" panose="020B0802040204020203" pitchFamily="34" charset="0"/>
                <a:ea typeface="Segoe UI Bold" panose="020B0802040204020203" pitchFamily="34" charset="0"/>
                <a:cs typeface="Segoe UI Bold" panose="020B0802040204020203" pitchFamily="34" charset="0"/>
              </a:rPr>
              <a:t> </a:t>
            </a:r>
            <a:r>
              <a:rPr lang="en-US" sz="7200" spc="-100" dirty="0" smtClean="0">
                <a:solidFill>
                  <a:schemeClr val="bg1"/>
                </a:solidFill>
                <a:latin typeface="Segoe UI Bold" panose="020B0802040204020203" pitchFamily="34" charset="0"/>
                <a:ea typeface="Segoe UI Bold" panose="020B0802040204020203" pitchFamily="34" charset="0"/>
                <a:cs typeface="Segoe UI Bold" panose="020B0802040204020203" pitchFamily="34" charset="0"/>
              </a:rPr>
              <a:t>latest</a:t>
            </a:r>
          </a:p>
          <a:p>
            <a:pPr>
              <a:lnSpc>
                <a:spcPct val="85000"/>
              </a:lnSpc>
            </a:pPr>
            <a:r>
              <a:rPr lang="en-US" sz="7200" spc="-100" dirty="0">
                <a:solidFill>
                  <a:schemeClr val="bg1"/>
                </a:solidFill>
                <a:latin typeface="Segoe UI Bold" panose="020B0802040204020203" pitchFamily="34" charset="0"/>
                <a:ea typeface="Segoe UI Bold" panose="020B0802040204020203" pitchFamily="34" charset="0"/>
                <a:cs typeface="Segoe UI Bold" panose="020B0802040204020203" pitchFamily="34" charset="0"/>
              </a:rPr>
              <a:t>v</a:t>
            </a:r>
            <a:r>
              <a:rPr lang="en-US" sz="7200" spc="-100" dirty="0" smtClean="0">
                <a:solidFill>
                  <a:schemeClr val="bg1"/>
                </a:solidFill>
                <a:latin typeface="Segoe UI Bold" panose="020B0802040204020203" pitchFamily="34" charset="0"/>
                <a:ea typeface="Segoe UI Bold" panose="020B0802040204020203" pitchFamily="34" charset="0"/>
                <a:cs typeface="Segoe UI Bold" panose="020B0802040204020203" pitchFamily="34" charset="0"/>
              </a:rPr>
              <a:t>ersion of Office</a:t>
            </a:r>
          </a:p>
        </p:txBody>
      </p:sp>
      <p:grpSp>
        <p:nvGrpSpPr>
          <p:cNvPr id="56" name="Group 4"/>
          <p:cNvGrpSpPr>
            <a:grpSpLocks noChangeAspect="1"/>
          </p:cNvGrpSpPr>
          <p:nvPr/>
        </p:nvGrpSpPr>
        <p:grpSpPr bwMode="auto">
          <a:xfrm>
            <a:off x="6610070" y="4716237"/>
            <a:ext cx="6392516" cy="2141763"/>
            <a:chOff x="3751" y="2917"/>
            <a:chExt cx="4486" cy="1503"/>
          </a:xfrm>
        </p:grpSpPr>
        <p:sp>
          <p:nvSpPr>
            <p:cNvPr id="57" name="AutoShape 3"/>
            <p:cNvSpPr>
              <a:spLocks noChangeAspect="1" noChangeArrowheads="1" noTextEdit="1"/>
            </p:cNvSpPr>
            <p:nvPr/>
          </p:nvSpPr>
          <p:spPr bwMode="auto">
            <a:xfrm>
              <a:off x="3751" y="2917"/>
              <a:ext cx="4486" cy="15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8" name="Freeform 5"/>
            <p:cNvSpPr>
              <a:spLocks/>
            </p:cNvSpPr>
            <p:nvPr/>
          </p:nvSpPr>
          <p:spPr bwMode="auto">
            <a:xfrm>
              <a:off x="6119" y="3534"/>
              <a:ext cx="199" cy="340"/>
            </a:xfrm>
            <a:custGeom>
              <a:avLst/>
              <a:gdLst>
                <a:gd name="T0" fmla="*/ 84 w 84"/>
                <a:gd name="T1" fmla="*/ 138 h 143"/>
                <a:gd name="T2" fmla="*/ 78 w 84"/>
                <a:gd name="T3" fmla="*/ 143 h 143"/>
                <a:gd name="T4" fmla="*/ 6 w 84"/>
                <a:gd name="T5" fmla="*/ 143 h 143"/>
                <a:gd name="T6" fmla="*/ 0 w 84"/>
                <a:gd name="T7" fmla="*/ 138 h 143"/>
                <a:gd name="T8" fmla="*/ 0 w 84"/>
                <a:gd name="T9" fmla="*/ 5 h 143"/>
                <a:gd name="T10" fmla="*/ 6 w 84"/>
                <a:gd name="T11" fmla="*/ 0 h 143"/>
                <a:gd name="T12" fmla="*/ 78 w 84"/>
                <a:gd name="T13" fmla="*/ 0 h 143"/>
                <a:gd name="T14" fmla="*/ 84 w 84"/>
                <a:gd name="T15" fmla="*/ 5 h 143"/>
                <a:gd name="T16" fmla="*/ 84 w 84"/>
                <a:gd name="T17" fmla="*/ 138 h 143"/>
                <a:gd name="T18" fmla="*/ 84 w 84"/>
                <a:gd name="T19" fmla="*/ 138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143">
                  <a:moveTo>
                    <a:pt x="84" y="138"/>
                  </a:moveTo>
                  <a:cubicBezTo>
                    <a:pt x="84" y="141"/>
                    <a:pt x="82" y="143"/>
                    <a:pt x="78" y="143"/>
                  </a:cubicBezTo>
                  <a:cubicBezTo>
                    <a:pt x="6" y="143"/>
                    <a:pt x="6" y="143"/>
                    <a:pt x="6" y="143"/>
                  </a:cubicBezTo>
                  <a:cubicBezTo>
                    <a:pt x="3" y="143"/>
                    <a:pt x="0" y="141"/>
                    <a:pt x="0" y="138"/>
                  </a:cubicBezTo>
                  <a:cubicBezTo>
                    <a:pt x="0" y="5"/>
                    <a:pt x="0" y="5"/>
                    <a:pt x="0" y="5"/>
                  </a:cubicBezTo>
                  <a:cubicBezTo>
                    <a:pt x="0" y="2"/>
                    <a:pt x="3" y="0"/>
                    <a:pt x="6" y="0"/>
                  </a:cubicBezTo>
                  <a:cubicBezTo>
                    <a:pt x="78" y="0"/>
                    <a:pt x="78" y="0"/>
                    <a:pt x="78" y="0"/>
                  </a:cubicBezTo>
                  <a:cubicBezTo>
                    <a:pt x="82" y="0"/>
                    <a:pt x="84" y="2"/>
                    <a:pt x="84" y="5"/>
                  </a:cubicBezTo>
                  <a:cubicBezTo>
                    <a:pt x="84" y="138"/>
                    <a:pt x="84" y="138"/>
                    <a:pt x="84" y="138"/>
                  </a:cubicBezTo>
                  <a:cubicBezTo>
                    <a:pt x="84" y="138"/>
                    <a:pt x="84" y="138"/>
                    <a:pt x="84" y="138"/>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59" name="Freeform 6"/>
            <p:cNvSpPr>
              <a:spLocks/>
            </p:cNvSpPr>
            <p:nvPr/>
          </p:nvSpPr>
          <p:spPr bwMode="auto">
            <a:xfrm>
              <a:off x="6138" y="3553"/>
              <a:ext cx="161" cy="269"/>
            </a:xfrm>
            <a:custGeom>
              <a:avLst/>
              <a:gdLst>
                <a:gd name="T0" fmla="*/ 0 w 161"/>
                <a:gd name="T1" fmla="*/ 0 h 269"/>
                <a:gd name="T2" fmla="*/ 161 w 161"/>
                <a:gd name="T3" fmla="*/ 0 h 269"/>
                <a:gd name="T4" fmla="*/ 161 w 161"/>
                <a:gd name="T5" fmla="*/ 269 h 269"/>
                <a:gd name="T6" fmla="*/ 0 w 161"/>
                <a:gd name="T7" fmla="*/ 269 h 269"/>
                <a:gd name="T8" fmla="*/ 0 w 161"/>
                <a:gd name="T9" fmla="*/ 0 h 269"/>
                <a:gd name="T10" fmla="*/ 0 w 161"/>
                <a:gd name="T11" fmla="*/ 0 h 269"/>
              </a:gdLst>
              <a:ahLst/>
              <a:cxnLst>
                <a:cxn ang="0">
                  <a:pos x="T0" y="T1"/>
                </a:cxn>
                <a:cxn ang="0">
                  <a:pos x="T2" y="T3"/>
                </a:cxn>
                <a:cxn ang="0">
                  <a:pos x="T4" y="T5"/>
                </a:cxn>
                <a:cxn ang="0">
                  <a:pos x="T6" y="T7"/>
                </a:cxn>
                <a:cxn ang="0">
                  <a:pos x="T8" y="T9"/>
                </a:cxn>
                <a:cxn ang="0">
                  <a:pos x="T10" y="T11"/>
                </a:cxn>
              </a:cxnLst>
              <a:rect l="0" t="0" r="r" b="b"/>
              <a:pathLst>
                <a:path w="161" h="269">
                  <a:moveTo>
                    <a:pt x="0" y="0"/>
                  </a:moveTo>
                  <a:lnTo>
                    <a:pt x="161" y="0"/>
                  </a:lnTo>
                  <a:lnTo>
                    <a:pt x="161" y="269"/>
                  </a:lnTo>
                  <a:lnTo>
                    <a:pt x="0" y="269"/>
                  </a:lnTo>
                  <a:lnTo>
                    <a:pt x="0" y="0"/>
                  </a:lnTo>
                  <a:lnTo>
                    <a:pt x="0" y="0"/>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0" name="Freeform 7"/>
            <p:cNvSpPr>
              <a:spLocks/>
            </p:cNvSpPr>
            <p:nvPr/>
          </p:nvSpPr>
          <p:spPr bwMode="auto">
            <a:xfrm>
              <a:off x="6044" y="3406"/>
              <a:ext cx="210" cy="361"/>
            </a:xfrm>
            <a:custGeom>
              <a:avLst/>
              <a:gdLst>
                <a:gd name="T0" fmla="*/ 89 w 89"/>
                <a:gd name="T1" fmla="*/ 147 h 152"/>
                <a:gd name="T2" fmla="*/ 83 w 89"/>
                <a:gd name="T3" fmla="*/ 152 h 152"/>
                <a:gd name="T4" fmla="*/ 6 w 89"/>
                <a:gd name="T5" fmla="*/ 152 h 152"/>
                <a:gd name="T6" fmla="*/ 0 w 89"/>
                <a:gd name="T7" fmla="*/ 147 h 152"/>
                <a:gd name="T8" fmla="*/ 0 w 89"/>
                <a:gd name="T9" fmla="*/ 6 h 152"/>
                <a:gd name="T10" fmla="*/ 6 w 89"/>
                <a:gd name="T11" fmla="*/ 0 h 152"/>
                <a:gd name="T12" fmla="*/ 83 w 89"/>
                <a:gd name="T13" fmla="*/ 0 h 152"/>
                <a:gd name="T14" fmla="*/ 89 w 89"/>
                <a:gd name="T15" fmla="*/ 6 h 152"/>
                <a:gd name="T16" fmla="*/ 89 w 89"/>
                <a:gd name="T17" fmla="*/ 147 h 152"/>
                <a:gd name="T18" fmla="*/ 89 w 89"/>
                <a:gd name="T19" fmla="*/ 14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152">
                  <a:moveTo>
                    <a:pt x="89" y="147"/>
                  </a:moveTo>
                  <a:cubicBezTo>
                    <a:pt x="89" y="150"/>
                    <a:pt x="86" y="152"/>
                    <a:pt x="83" y="152"/>
                  </a:cubicBezTo>
                  <a:cubicBezTo>
                    <a:pt x="6" y="152"/>
                    <a:pt x="6" y="152"/>
                    <a:pt x="6" y="152"/>
                  </a:cubicBezTo>
                  <a:cubicBezTo>
                    <a:pt x="2" y="152"/>
                    <a:pt x="0" y="150"/>
                    <a:pt x="0" y="147"/>
                  </a:cubicBezTo>
                  <a:cubicBezTo>
                    <a:pt x="0" y="6"/>
                    <a:pt x="0" y="6"/>
                    <a:pt x="0" y="6"/>
                  </a:cubicBezTo>
                  <a:cubicBezTo>
                    <a:pt x="0" y="2"/>
                    <a:pt x="2" y="0"/>
                    <a:pt x="6" y="0"/>
                  </a:cubicBezTo>
                  <a:cubicBezTo>
                    <a:pt x="83" y="0"/>
                    <a:pt x="83" y="0"/>
                    <a:pt x="83" y="0"/>
                  </a:cubicBezTo>
                  <a:cubicBezTo>
                    <a:pt x="86" y="0"/>
                    <a:pt x="89" y="2"/>
                    <a:pt x="89" y="6"/>
                  </a:cubicBezTo>
                  <a:cubicBezTo>
                    <a:pt x="89" y="147"/>
                    <a:pt x="89" y="147"/>
                    <a:pt x="89" y="147"/>
                  </a:cubicBezTo>
                  <a:cubicBezTo>
                    <a:pt x="89" y="147"/>
                    <a:pt x="89" y="147"/>
                    <a:pt x="89" y="14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1" name="Freeform 8"/>
            <p:cNvSpPr>
              <a:spLocks/>
            </p:cNvSpPr>
            <p:nvPr/>
          </p:nvSpPr>
          <p:spPr bwMode="auto">
            <a:xfrm>
              <a:off x="6063" y="3427"/>
              <a:ext cx="170" cy="285"/>
            </a:xfrm>
            <a:custGeom>
              <a:avLst/>
              <a:gdLst>
                <a:gd name="T0" fmla="*/ 0 w 170"/>
                <a:gd name="T1" fmla="*/ 0 h 285"/>
                <a:gd name="T2" fmla="*/ 170 w 170"/>
                <a:gd name="T3" fmla="*/ 0 h 285"/>
                <a:gd name="T4" fmla="*/ 170 w 170"/>
                <a:gd name="T5" fmla="*/ 285 h 285"/>
                <a:gd name="T6" fmla="*/ 0 w 170"/>
                <a:gd name="T7" fmla="*/ 285 h 285"/>
                <a:gd name="T8" fmla="*/ 0 w 170"/>
                <a:gd name="T9" fmla="*/ 0 h 285"/>
                <a:gd name="T10" fmla="*/ 0 w 170"/>
                <a:gd name="T11" fmla="*/ 0 h 285"/>
              </a:gdLst>
              <a:ahLst/>
              <a:cxnLst>
                <a:cxn ang="0">
                  <a:pos x="T0" y="T1"/>
                </a:cxn>
                <a:cxn ang="0">
                  <a:pos x="T2" y="T3"/>
                </a:cxn>
                <a:cxn ang="0">
                  <a:pos x="T4" y="T5"/>
                </a:cxn>
                <a:cxn ang="0">
                  <a:pos x="T6" y="T7"/>
                </a:cxn>
                <a:cxn ang="0">
                  <a:pos x="T8" y="T9"/>
                </a:cxn>
                <a:cxn ang="0">
                  <a:pos x="T10" y="T11"/>
                </a:cxn>
              </a:cxnLst>
              <a:rect l="0" t="0" r="r" b="b"/>
              <a:pathLst>
                <a:path w="170" h="285">
                  <a:moveTo>
                    <a:pt x="0" y="0"/>
                  </a:moveTo>
                  <a:lnTo>
                    <a:pt x="170" y="0"/>
                  </a:lnTo>
                  <a:lnTo>
                    <a:pt x="170" y="285"/>
                  </a:lnTo>
                  <a:lnTo>
                    <a:pt x="0" y="28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2" name="Rectangle 9"/>
            <p:cNvSpPr>
              <a:spLocks noChangeArrowheads="1"/>
            </p:cNvSpPr>
            <p:nvPr/>
          </p:nvSpPr>
          <p:spPr bwMode="auto">
            <a:xfrm>
              <a:off x="6633" y="3311"/>
              <a:ext cx="409" cy="929"/>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3" name="Rectangle 10"/>
            <p:cNvSpPr>
              <a:spLocks noChangeArrowheads="1"/>
            </p:cNvSpPr>
            <p:nvPr/>
          </p:nvSpPr>
          <p:spPr bwMode="auto">
            <a:xfrm>
              <a:off x="6742" y="3076"/>
              <a:ext cx="224" cy="80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4" name="Rectangle 11"/>
            <p:cNvSpPr>
              <a:spLocks noChangeArrowheads="1"/>
            </p:cNvSpPr>
            <p:nvPr/>
          </p:nvSpPr>
          <p:spPr bwMode="auto">
            <a:xfrm>
              <a:off x="6510" y="3582"/>
              <a:ext cx="163" cy="65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5" name="Rectangle 64"/>
            <p:cNvSpPr>
              <a:spLocks noChangeArrowheads="1"/>
            </p:cNvSpPr>
            <p:nvPr/>
          </p:nvSpPr>
          <p:spPr bwMode="auto">
            <a:xfrm>
              <a:off x="7851" y="3190"/>
              <a:ext cx="163" cy="50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6" name="Rectangle 65"/>
            <p:cNvSpPr>
              <a:spLocks noChangeArrowheads="1"/>
            </p:cNvSpPr>
            <p:nvPr/>
          </p:nvSpPr>
          <p:spPr bwMode="auto">
            <a:xfrm>
              <a:off x="7499" y="3606"/>
              <a:ext cx="433" cy="634"/>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7" name="Rectangle 66"/>
            <p:cNvSpPr>
              <a:spLocks noChangeArrowheads="1"/>
            </p:cNvSpPr>
            <p:nvPr/>
          </p:nvSpPr>
          <p:spPr bwMode="auto">
            <a:xfrm>
              <a:off x="7856" y="3912"/>
              <a:ext cx="315" cy="47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8" name="Rectangle 67"/>
            <p:cNvSpPr>
              <a:spLocks noChangeArrowheads="1"/>
            </p:cNvSpPr>
            <p:nvPr/>
          </p:nvSpPr>
          <p:spPr bwMode="auto">
            <a:xfrm>
              <a:off x="7745" y="3311"/>
              <a:ext cx="314" cy="1031"/>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69" name="Freeform 68"/>
            <p:cNvSpPr>
              <a:spLocks/>
            </p:cNvSpPr>
            <p:nvPr/>
          </p:nvSpPr>
          <p:spPr bwMode="auto">
            <a:xfrm>
              <a:off x="4506" y="3147"/>
              <a:ext cx="260" cy="777"/>
            </a:xfrm>
            <a:custGeom>
              <a:avLst/>
              <a:gdLst>
                <a:gd name="T0" fmla="*/ 144 w 260"/>
                <a:gd name="T1" fmla="*/ 0 h 777"/>
                <a:gd name="T2" fmla="*/ 0 w 260"/>
                <a:gd name="T3" fmla="*/ 777 h 777"/>
                <a:gd name="T4" fmla="*/ 260 w 260"/>
                <a:gd name="T5" fmla="*/ 777 h 777"/>
                <a:gd name="T6" fmla="*/ 144 w 260"/>
                <a:gd name="T7" fmla="*/ 0 h 777"/>
              </a:gdLst>
              <a:ahLst/>
              <a:cxnLst>
                <a:cxn ang="0">
                  <a:pos x="T0" y="T1"/>
                </a:cxn>
                <a:cxn ang="0">
                  <a:pos x="T2" y="T3"/>
                </a:cxn>
                <a:cxn ang="0">
                  <a:pos x="T4" y="T5"/>
                </a:cxn>
                <a:cxn ang="0">
                  <a:pos x="T6" y="T7"/>
                </a:cxn>
              </a:cxnLst>
              <a:rect l="0" t="0" r="r" b="b"/>
              <a:pathLst>
                <a:path w="260" h="777">
                  <a:moveTo>
                    <a:pt x="144" y="0"/>
                  </a:moveTo>
                  <a:lnTo>
                    <a:pt x="0" y="777"/>
                  </a:lnTo>
                  <a:lnTo>
                    <a:pt x="260" y="777"/>
                  </a:lnTo>
                  <a:lnTo>
                    <a:pt x="144"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0" name="Freeform 17"/>
            <p:cNvSpPr>
              <a:spLocks/>
            </p:cNvSpPr>
            <p:nvPr/>
          </p:nvSpPr>
          <p:spPr bwMode="auto">
            <a:xfrm>
              <a:off x="4721" y="3328"/>
              <a:ext cx="201" cy="596"/>
            </a:xfrm>
            <a:custGeom>
              <a:avLst/>
              <a:gdLst>
                <a:gd name="T0" fmla="*/ 111 w 201"/>
                <a:gd name="T1" fmla="*/ 0 h 596"/>
                <a:gd name="T2" fmla="*/ 0 w 201"/>
                <a:gd name="T3" fmla="*/ 596 h 596"/>
                <a:gd name="T4" fmla="*/ 201 w 201"/>
                <a:gd name="T5" fmla="*/ 596 h 596"/>
                <a:gd name="T6" fmla="*/ 111 w 201"/>
                <a:gd name="T7" fmla="*/ 0 h 596"/>
              </a:gdLst>
              <a:ahLst/>
              <a:cxnLst>
                <a:cxn ang="0">
                  <a:pos x="T0" y="T1"/>
                </a:cxn>
                <a:cxn ang="0">
                  <a:pos x="T2" y="T3"/>
                </a:cxn>
                <a:cxn ang="0">
                  <a:pos x="T4" y="T5"/>
                </a:cxn>
                <a:cxn ang="0">
                  <a:pos x="T6" y="T7"/>
                </a:cxn>
              </a:cxnLst>
              <a:rect l="0" t="0" r="r" b="b"/>
              <a:pathLst>
                <a:path w="201" h="596">
                  <a:moveTo>
                    <a:pt x="111" y="0"/>
                  </a:moveTo>
                  <a:lnTo>
                    <a:pt x="0" y="596"/>
                  </a:lnTo>
                  <a:lnTo>
                    <a:pt x="201" y="596"/>
                  </a:lnTo>
                  <a:lnTo>
                    <a:pt x="111"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1" name="Freeform 18"/>
            <p:cNvSpPr>
              <a:spLocks/>
            </p:cNvSpPr>
            <p:nvPr/>
          </p:nvSpPr>
          <p:spPr bwMode="auto">
            <a:xfrm>
              <a:off x="5781" y="3907"/>
              <a:ext cx="2454" cy="511"/>
            </a:xfrm>
            <a:custGeom>
              <a:avLst/>
              <a:gdLst>
                <a:gd name="T0" fmla="*/ 641 w 1037"/>
                <a:gd name="T1" fmla="*/ 10 h 215"/>
                <a:gd name="T2" fmla="*/ 629 w 1037"/>
                <a:gd name="T3" fmla="*/ 8 h 215"/>
                <a:gd name="T4" fmla="*/ 601 w 1037"/>
                <a:gd name="T5" fmla="*/ 5 h 215"/>
                <a:gd name="T6" fmla="*/ 544 w 1037"/>
                <a:gd name="T7" fmla="*/ 1 h 215"/>
                <a:gd name="T8" fmla="*/ 512 w 1037"/>
                <a:gd name="T9" fmla="*/ 0 h 215"/>
                <a:gd name="T10" fmla="*/ 0 w 1037"/>
                <a:gd name="T11" fmla="*/ 215 h 215"/>
                <a:gd name="T12" fmla="*/ 367 w 1037"/>
                <a:gd name="T13" fmla="*/ 215 h 215"/>
                <a:gd name="T14" fmla="*/ 1037 w 1037"/>
                <a:gd name="T15" fmla="*/ 215 h 215"/>
                <a:gd name="T16" fmla="*/ 641 w 1037"/>
                <a:gd name="T17" fmla="*/ 1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7" h="215">
                  <a:moveTo>
                    <a:pt x="641" y="10"/>
                  </a:moveTo>
                  <a:cubicBezTo>
                    <a:pt x="637" y="10"/>
                    <a:pt x="633" y="9"/>
                    <a:pt x="629" y="8"/>
                  </a:cubicBezTo>
                  <a:cubicBezTo>
                    <a:pt x="620" y="7"/>
                    <a:pt x="611" y="6"/>
                    <a:pt x="601" y="5"/>
                  </a:cubicBezTo>
                  <a:cubicBezTo>
                    <a:pt x="582" y="2"/>
                    <a:pt x="563" y="1"/>
                    <a:pt x="544" y="1"/>
                  </a:cubicBezTo>
                  <a:cubicBezTo>
                    <a:pt x="533" y="0"/>
                    <a:pt x="523" y="0"/>
                    <a:pt x="512" y="0"/>
                  </a:cubicBezTo>
                  <a:cubicBezTo>
                    <a:pt x="327" y="2"/>
                    <a:pt x="142" y="73"/>
                    <a:pt x="0" y="215"/>
                  </a:cubicBezTo>
                  <a:cubicBezTo>
                    <a:pt x="367" y="215"/>
                    <a:pt x="367" y="215"/>
                    <a:pt x="367" y="215"/>
                  </a:cubicBezTo>
                  <a:cubicBezTo>
                    <a:pt x="1037" y="215"/>
                    <a:pt x="1037" y="215"/>
                    <a:pt x="1037" y="215"/>
                  </a:cubicBezTo>
                  <a:cubicBezTo>
                    <a:pt x="925" y="103"/>
                    <a:pt x="786" y="35"/>
                    <a:pt x="641" y="1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2" name="Freeform 19"/>
            <p:cNvSpPr>
              <a:spLocks/>
            </p:cNvSpPr>
            <p:nvPr/>
          </p:nvSpPr>
          <p:spPr bwMode="auto">
            <a:xfrm>
              <a:off x="3749" y="3632"/>
              <a:ext cx="3773" cy="786"/>
            </a:xfrm>
            <a:custGeom>
              <a:avLst/>
              <a:gdLst>
                <a:gd name="T0" fmla="*/ 985 w 1595"/>
                <a:gd name="T1" fmla="*/ 16 h 331"/>
                <a:gd name="T2" fmla="*/ 968 w 1595"/>
                <a:gd name="T3" fmla="*/ 13 h 331"/>
                <a:gd name="T4" fmla="*/ 925 w 1595"/>
                <a:gd name="T5" fmla="*/ 7 h 331"/>
                <a:gd name="T6" fmla="*/ 836 w 1595"/>
                <a:gd name="T7" fmla="*/ 1 h 331"/>
                <a:gd name="T8" fmla="*/ 788 w 1595"/>
                <a:gd name="T9" fmla="*/ 0 h 331"/>
                <a:gd name="T10" fmla="*/ 0 w 1595"/>
                <a:gd name="T11" fmla="*/ 331 h 331"/>
                <a:gd name="T12" fmla="*/ 564 w 1595"/>
                <a:gd name="T13" fmla="*/ 331 h 331"/>
                <a:gd name="T14" fmla="*/ 1595 w 1595"/>
                <a:gd name="T15" fmla="*/ 331 h 331"/>
                <a:gd name="T16" fmla="*/ 985 w 1595"/>
                <a:gd name="T17" fmla="*/ 16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5" h="331">
                  <a:moveTo>
                    <a:pt x="985" y="16"/>
                  </a:moveTo>
                  <a:cubicBezTo>
                    <a:pt x="980" y="15"/>
                    <a:pt x="974" y="14"/>
                    <a:pt x="968" y="13"/>
                  </a:cubicBezTo>
                  <a:cubicBezTo>
                    <a:pt x="954" y="11"/>
                    <a:pt x="939" y="9"/>
                    <a:pt x="925" y="7"/>
                  </a:cubicBezTo>
                  <a:cubicBezTo>
                    <a:pt x="895" y="4"/>
                    <a:pt x="866" y="2"/>
                    <a:pt x="836" y="1"/>
                  </a:cubicBezTo>
                  <a:cubicBezTo>
                    <a:pt x="820" y="0"/>
                    <a:pt x="804" y="0"/>
                    <a:pt x="788" y="0"/>
                  </a:cubicBezTo>
                  <a:cubicBezTo>
                    <a:pt x="502" y="3"/>
                    <a:pt x="218" y="113"/>
                    <a:pt x="0" y="331"/>
                  </a:cubicBezTo>
                  <a:cubicBezTo>
                    <a:pt x="564" y="331"/>
                    <a:pt x="564" y="331"/>
                    <a:pt x="564" y="331"/>
                  </a:cubicBezTo>
                  <a:cubicBezTo>
                    <a:pt x="1595" y="331"/>
                    <a:pt x="1595" y="331"/>
                    <a:pt x="1595" y="331"/>
                  </a:cubicBezTo>
                  <a:cubicBezTo>
                    <a:pt x="1422" y="159"/>
                    <a:pt x="1208" y="54"/>
                    <a:pt x="985" y="1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3" name="Freeform 20"/>
            <p:cNvSpPr>
              <a:spLocks/>
            </p:cNvSpPr>
            <p:nvPr/>
          </p:nvSpPr>
          <p:spPr bwMode="auto">
            <a:xfrm>
              <a:off x="4463" y="3634"/>
              <a:ext cx="1346" cy="784"/>
            </a:xfrm>
            <a:custGeom>
              <a:avLst/>
              <a:gdLst>
                <a:gd name="T0" fmla="*/ 569 w 569"/>
                <a:gd name="T1" fmla="*/ 1 h 330"/>
                <a:gd name="T2" fmla="*/ 559 w 569"/>
                <a:gd name="T3" fmla="*/ 0 h 330"/>
                <a:gd name="T4" fmla="*/ 0 w 569"/>
                <a:gd name="T5" fmla="*/ 330 h 330"/>
                <a:gd name="T6" fmla="*/ 106 w 569"/>
                <a:gd name="T7" fmla="*/ 330 h 330"/>
                <a:gd name="T8" fmla="*/ 569 w 569"/>
                <a:gd name="T9" fmla="*/ 1 h 330"/>
              </a:gdLst>
              <a:ahLst/>
              <a:cxnLst>
                <a:cxn ang="0">
                  <a:pos x="T0" y="T1"/>
                </a:cxn>
                <a:cxn ang="0">
                  <a:pos x="T2" y="T3"/>
                </a:cxn>
                <a:cxn ang="0">
                  <a:pos x="T4" y="T5"/>
                </a:cxn>
                <a:cxn ang="0">
                  <a:pos x="T6" y="T7"/>
                </a:cxn>
                <a:cxn ang="0">
                  <a:pos x="T8" y="T9"/>
                </a:cxn>
              </a:cxnLst>
              <a:rect l="0" t="0" r="r" b="b"/>
              <a:pathLst>
                <a:path w="569" h="330">
                  <a:moveTo>
                    <a:pt x="569" y="1"/>
                  </a:moveTo>
                  <a:cubicBezTo>
                    <a:pt x="565" y="1"/>
                    <a:pt x="562" y="0"/>
                    <a:pt x="559" y="0"/>
                  </a:cubicBezTo>
                  <a:cubicBezTo>
                    <a:pt x="221" y="64"/>
                    <a:pt x="0" y="330"/>
                    <a:pt x="0" y="330"/>
                  </a:cubicBezTo>
                  <a:cubicBezTo>
                    <a:pt x="106" y="330"/>
                    <a:pt x="106" y="330"/>
                    <a:pt x="106" y="330"/>
                  </a:cubicBezTo>
                  <a:cubicBezTo>
                    <a:pt x="106" y="330"/>
                    <a:pt x="315" y="75"/>
                    <a:pt x="569" y="1"/>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4" name="Freeform 21"/>
            <p:cNvSpPr>
              <a:spLocks/>
            </p:cNvSpPr>
            <p:nvPr/>
          </p:nvSpPr>
          <p:spPr bwMode="auto">
            <a:xfrm>
              <a:off x="5942" y="3722"/>
              <a:ext cx="442" cy="696"/>
            </a:xfrm>
            <a:custGeom>
              <a:avLst/>
              <a:gdLst>
                <a:gd name="T0" fmla="*/ 187 w 187"/>
                <a:gd name="T1" fmla="*/ 6 h 293"/>
                <a:gd name="T2" fmla="*/ 167 w 187"/>
                <a:gd name="T3" fmla="*/ 0 h 293"/>
                <a:gd name="T4" fmla="*/ 24 w 187"/>
                <a:gd name="T5" fmla="*/ 293 h 293"/>
                <a:gd name="T6" fmla="*/ 67 w 187"/>
                <a:gd name="T7" fmla="*/ 293 h 293"/>
                <a:gd name="T8" fmla="*/ 187 w 187"/>
                <a:gd name="T9" fmla="*/ 6 h 293"/>
              </a:gdLst>
              <a:ahLst/>
              <a:cxnLst>
                <a:cxn ang="0">
                  <a:pos x="T0" y="T1"/>
                </a:cxn>
                <a:cxn ang="0">
                  <a:pos x="T2" y="T3"/>
                </a:cxn>
                <a:cxn ang="0">
                  <a:pos x="T4" y="T5"/>
                </a:cxn>
                <a:cxn ang="0">
                  <a:pos x="T6" y="T7"/>
                </a:cxn>
                <a:cxn ang="0">
                  <a:pos x="T8" y="T9"/>
                </a:cxn>
              </a:cxnLst>
              <a:rect l="0" t="0" r="r" b="b"/>
              <a:pathLst>
                <a:path w="187" h="293">
                  <a:moveTo>
                    <a:pt x="187" y="6"/>
                  </a:moveTo>
                  <a:cubicBezTo>
                    <a:pt x="181" y="4"/>
                    <a:pt x="174" y="2"/>
                    <a:pt x="167" y="0"/>
                  </a:cubicBezTo>
                  <a:cubicBezTo>
                    <a:pt x="159" y="7"/>
                    <a:pt x="0" y="133"/>
                    <a:pt x="24" y="293"/>
                  </a:cubicBezTo>
                  <a:cubicBezTo>
                    <a:pt x="67" y="293"/>
                    <a:pt x="67" y="293"/>
                    <a:pt x="67" y="293"/>
                  </a:cubicBezTo>
                  <a:cubicBezTo>
                    <a:pt x="35" y="129"/>
                    <a:pt x="187" y="6"/>
                    <a:pt x="187" y="6"/>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5" name="Freeform 22"/>
            <p:cNvSpPr>
              <a:spLocks/>
            </p:cNvSpPr>
            <p:nvPr/>
          </p:nvSpPr>
          <p:spPr bwMode="auto">
            <a:xfrm>
              <a:off x="4714" y="3636"/>
              <a:ext cx="1623" cy="782"/>
            </a:xfrm>
            <a:custGeom>
              <a:avLst/>
              <a:gdLst>
                <a:gd name="T0" fmla="*/ 686 w 686"/>
                <a:gd name="T1" fmla="*/ 36 h 329"/>
                <a:gd name="T2" fmla="*/ 463 w 686"/>
                <a:gd name="T3" fmla="*/ 0 h 329"/>
                <a:gd name="T4" fmla="*/ 0 w 686"/>
                <a:gd name="T5" fmla="*/ 329 h 329"/>
                <a:gd name="T6" fmla="*/ 543 w 686"/>
                <a:gd name="T7" fmla="*/ 329 h 329"/>
                <a:gd name="T8" fmla="*/ 686 w 686"/>
                <a:gd name="T9" fmla="*/ 36 h 329"/>
              </a:gdLst>
              <a:ahLst/>
              <a:cxnLst>
                <a:cxn ang="0">
                  <a:pos x="T0" y="T1"/>
                </a:cxn>
                <a:cxn ang="0">
                  <a:pos x="T2" y="T3"/>
                </a:cxn>
                <a:cxn ang="0">
                  <a:pos x="T4" y="T5"/>
                </a:cxn>
                <a:cxn ang="0">
                  <a:pos x="T6" y="T7"/>
                </a:cxn>
                <a:cxn ang="0">
                  <a:pos x="T8" y="T9"/>
                </a:cxn>
              </a:cxnLst>
              <a:rect l="0" t="0" r="r" b="b"/>
              <a:pathLst>
                <a:path w="686" h="329">
                  <a:moveTo>
                    <a:pt x="686" y="36"/>
                  </a:moveTo>
                  <a:cubicBezTo>
                    <a:pt x="613" y="17"/>
                    <a:pt x="538" y="5"/>
                    <a:pt x="463" y="0"/>
                  </a:cubicBezTo>
                  <a:cubicBezTo>
                    <a:pt x="209" y="74"/>
                    <a:pt x="0" y="329"/>
                    <a:pt x="0" y="329"/>
                  </a:cubicBezTo>
                  <a:cubicBezTo>
                    <a:pt x="543" y="329"/>
                    <a:pt x="543" y="329"/>
                    <a:pt x="543" y="329"/>
                  </a:cubicBezTo>
                  <a:cubicBezTo>
                    <a:pt x="519" y="169"/>
                    <a:pt x="678" y="43"/>
                    <a:pt x="686" y="36"/>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6" name="Rectangle 23"/>
            <p:cNvSpPr>
              <a:spLocks noChangeArrowheads="1"/>
            </p:cNvSpPr>
            <p:nvPr/>
          </p:nvSpPr>
          <p:spPr bwMode="auto">
            <a:xfrm>
              <a:off x="6820" y="2931"/>
              <a:ext cx="790" cy="1399"/>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7" name="Rectangle 24"/>
            <p:cNvSpPr>
              <a:spLocks noChangeArrowheads="1"/>
            </p:cNvSpPr>
            <p:nvPr/>
          </p:nvSpPr>
          <p:spPr bwMode="auto">
            <a:xfrm>
              <a:off x="7255" y="4130"/>
              <a:ext cx="102" cy="2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8" name="Freeform 25"/>
            <p:cNvSpPr>
              <a:spLocks/>
            </p:cNvSpPr>
            <p:nvPr/>
          </p:nvSpPr>
          <p:spPr bwMode="auto">
            <a:xfrm>
              <a:off x="7610" y="4161"/>
              <a:ext cx="203" cy="169"/>
            </a:xfrm>
            <a:custGeom>
              <a:avLst/>
              <a:gdLst>
                <a:gd name="T0" fmla="*/ 0 w 203"/>
                <a:gd name="T1" fmla="*/ 169 h 169"/>
                <a:gd name="T2" fmla="*/ 203 w 203"/>
                <a:gd name="T3" fmla="*/ 0 h 169"/>
                <a:gd name="T4" fmla="*/ 0 w 203"/>
                <a:gd name="T5" fmla="*/ 0 h 169"/>
                <a:gd name="T6" fmla="*/ 0 w 203"/>
                <a:gd name="T7" fmla="*/ 169 h 169"/>
              </a:gdLst>
              <a:ahLst/>
              <a:cxnLst>
                <a:cxn ang="0">
                  <a:pos x="T0" y="T1"/>
                </a:cxn>
                <a:cxn ang="0">
                  <a:pos x="T2" y="T3"/>
                </a:cxn>
                <a:cxn ang="0">
                  <a:pos x="T4" y="T5"/>
                </a:cxn>
                <a:cxn ang="0">
                  <a:pos x="T6" y="T7"/>
                </a:cxn>
              </a:cxnLst>
              <a:rect l="0" t="0" r="r" b="b"/>
              <a:pathLst>
                <a:path w="203" h="169">
                  <a:moveTo>
                    <a:pt x="0" y="169"/>
                  </a:moveTo>
                  <a:lnTo>
                    <a:pt x="203" y="0"/>
                  </a:lnTo>
                  <a:lnTo>
                    <a:pt x="0" y="0"/>
                  </a:lnTo>
                  <a:lnTo>
                    <a:pt x="0" y="169"/>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9" name="Freeform 26"/>
            <p:cNvSpPr>
              <a:spLocks/>
            </p:cNvSpPr>
            <p:nvPr/>
          </p:nvSpPr>
          <p:spPr bwMode="auto">
            <a:xfrm>
              <a:off x="5930" y="3741"/>
              <a:ext cx="149" cy="126"/>
            </a:xfrm>
            <a:custGeom>
              <a:avLst/>
              <a:gdLst>
                <a:gd name="T0" fmla="*/ 0 w 149"/>
                <a:gd name="T1" fmla="*/ 126 h 126"/>
                <a:gd name="T2" fmla="*/ 149 w 149"/>
                <a:gd name="T3" fmla="*/ 0 h 126"/>
                <a:gd name="T4" fmla="*/ 0 w 149"/>
                <a:gd name="T5" fmla="*/ 0 h 126"/>
                <a:gd name="T6" fmla="*/ 0 w 149"/>
                <a:gd name="T7" fmla="*/ 126 h 126"/>
              </a:gdLst>
              <a:ahLst/>
              <a:cxnLst>
                <a:cxn ang="0">
                  <a:pos x="T0" y="T1"/>
                </a:cxn>
                <a:cxn ang="0">
                  <a:pos x="T2" y="T3"/>
                </a:cxn>
                <a:cxn ang="0">
                  <a:pos x="T4" y="T5"/>
                </a:cxn>
                <a:cxn ang="0">
                  <a:pos x="T6" y="T7"/>
                </a:cxn>
              </a:cxnLst>
              <a:rect l="0" t="0" r="r" b="b"/>
              <a:pathLst>
                <a:path w="149" h="126">
                  <a:moveTo>
                    <a:pt x="0" y="126"/>
                  </a:moveTo>
                  <a:lnTo>
                    <a:pt x="149" y="0"/>
                  </a:lnTo>
                  <a:lnTo>
                    <a:pt x="0" y="0"/>
                  </a:lnTo>
                  <a:lnTo>
                    <a:pt x="0" y="126"/>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0" name="Rectangle 27"/>
            <p:cNvSpPr>
              <a:spLocks noChangeArrowheads="1"/>
            </p:cNvSpPr>
            <p:nvPr/>
          </p:nvSpPr>
          <p:spPr bwMode="auto">
            <a:xfrm>
              <a:off x="7075" y="4130"/>
              <a:ext cx="104" cy="2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1" name="Rectangle 28"/>
            <p:cNvSpPr>
              <a:spLocks noChangeArrowheads="1"/>
            </p:cNvSpPr>
            <p:nvPr/>
          </p:nvSpPr>
          <p:spPr bwMode="auto">
            <a:xfrm>
              <a:off x="6898" y="3430"/>
              <a:ext cx="639" cy="10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2" name="Rectangle 29"/>
            <p:cNvSpPr>
              <a:spLocks noChangeArrowheads="1"/>
            </p:cNvSpPr>
            <p:nvPr/>
          </p:nvSpPr>
          <p:spPr bwMode="auto">
            <a:xfrm>
              <a:off x="6898" y="3608"/>
              <a:ext cx="639" cy="10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3" name="Rectangle 30"/>
            <p:cNvSpPr>
              <a:spLocks noChangeArrowheads="1"/>
            </p:cNvSpPr>
            <p:nvPr/>
          </p:nvSpPr>
          <p:spPr bwMode="auto">
            <a:xfrm>
              <a:off x="6898" y="3786"/>
              <a:ext cx="639" cy="10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4" name="Rectangle 31"/>
            <p:cNvSpPr>
              <a:spLocks noChangeArrowheads="1"/>
            </p:cNvSpPr>
            <p:nvPr/>
          </p:nvSpPr>
          <p:spPr bwMode="auto">
            <a:xfrm>
              <a:off x="6898" y="3964"/>
              <a:ext cx="639" cy="10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5" name="Rectangle 32"/>
            <p:cNvSpPr>
              <a:spLocks noChangeArrowheads="1"/>
            </p:cNvSpPr>
            <p:nvPr/>
          </p:nvSpPr>
          <p:spPr bwMode="auto">
            <a:xfrm>
              <a:off x="6898" y="3074"/>
              <a:ext cx="639" cy="10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5" name="Rectangle 33"/>
            <p:cNvSpPr>
              <a:spLocks noChangeArrowheads="1"/>
            </p:cNvSpPr>
            <p:nvPr/>
          </p:nvSpPr>
          <p:spPr bwMode="auto">
            <a:xfrm>
              <a:off x="6898" y="3252"/>
              <a:ext cx="639" cy="102"/>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6" name="Rectangle 34"/>
            <p:cNvSpPr>
              <a:spLocks noChangeArrowheads="1"/>
            </p:cNvSpPr>
            <p:nvPr/>
          </p:nvSpPr>
          <p:spPr bwMode="auto">
            <a:xfrm>
              <a:off x="5795" y="3154"/>
              <a:ext cx="362" cy="554"/>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7" name="Freeform 35"/>
            <p:cNvSpPr>
              <a:spLocks/>
            </p:cNvSpPr>
            <p:nvPr/>
          </p:nvSpPr>
          <p:spPr bwMode="auto">
            <a:xfrm>
              <a:off x="5833" y="3214"/>
              <a:ext cx="286" cy="50"/>
            </a:xfrm>
            <a:custGeom>
              <a:avLst/>
              <a:gdLst>
                <a:gd name="T0" fmla="*/ 10 w 121"/>
                <a:gd name="T1" fmla="*/ 0 h 21"/>
                <a:gd name="T2" fmla="*/ 0 w 121"/>
                <a:gd name="T3" fmla="*/ 9 h 21"/>
                <a:gd name="T4" fmla="*/ 0 w 121"/>
                <a:gd name="T5" fmla="*/ 11 h 21"/>
                <a:gd name="T6" fmla="*/ 10 w 121"/>
                <a:gd name="T7" fmla="*/ 21 h 21"/>
                <a:gd name="T8" fmla="*/ 111 w 121"/>
                <a:gd name="T9" fmla="*/ 21 h 21"/>
                <a:gd name="T10" fmla="*/ 121 w 121"/>
                <a:gd name="T11" fmla="*/ 11 h 21"/>
                <a:gd name="T12" fmla="*/ 121 w 121"/>
                <a:gd name="T13" fmla="*/ 9 h 21"/>
                <a:gd name="T14" fmla="*/ 111 w 121"/>
                <a:gd name="T15" fmla="*/ 0 h 21"/>
                <a:gd name="T16" fmla="*/ 64 w 121"/>
                <a:gd name="T17" fmla="*/ 0 h 21"/>
                <a:gd name="T18" fmla="*/ 10 w 121"/>
                <a:gd name="T1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21">
                  <a:moveTo>
                    <a:pt x="10" y="0"/>
                  </a:moveTo>
                  <a:cubicBezTo>
                    <a:pt x="10" y="0"/>
                    <a:pt x="0" y="0"/>
                    <a:pt x="0" y="9"/>
                  </a:cubicBezTo>
                  <a:cubicBezTo>
                    <a:pt x="0" y="11"/>
                    <a:pt x="0" y="11"/>
                    <a:pt x="0" y="11"/>
                  </a:cubicBezTo>
                  <a:cubicBezTo>
                    <a:pt x="0" y="11"/>
                    <a:pt x="0" y="21"/>
                    <a:pt x="10" y="21"/>
                  </a:cubicBezTo>
                  <a:cubicBezTo>
                    <a:pt x="111" y="21"/>
                    <a:pt x="111" y="21"/>
                    <a:pt x="111" y="21"/>
                  </a:cubicBezTo>
                  <a:cubicBezTo>
                    <a:pt x="111" y="21"/>
                    <a:pt x="121" y="21"/>
                    <a:pt x="121" y="11"/>
                  </a:cubicBezTo>
                  <a:cubicBezTo>
                    <a:pt x="121" y="9"/>
                    <a:pt x="121" y="9"/>
                    <a:pt x="121" y="9"/>
                  </a:cubicBezTo>
                  <a:cubicBezTo>
                    <a:pt x="121" y="9"/>
                    <a:pt x="121" y="0"/>
                    <a:pt x="111" y="0"/>
                  </a:cubicBezTo>
                  <a:cubicBezTo>
                    <a:pt x="64" y="0"/>
                    <a:pt x="64" y="0"/>
                    <a:pt x="64"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8" name="Freeform 36"/>
            <p:cNvSpPr>
              <a:spLocks/>
            </p:cNvSpPr>
            <p:nvPr/>
          </p:nvSpPr>
          <p:spPr bwMode="auto">
            <a:xfrm>
              <a:off x="5833" y="3302"/>
              <a:ext cx="286" cy="49"/>
            </a:xfrm>
            <a:custGeom>
              <a:avLst/>
              <a:gdLst>
                <a:gd name="T0" fmla="*/ 10 w 121"/>
                <a:gd name="T1" fmla="*/ 0 h 21"/>
                <a:gd name="T2" fmla="*/ 0 w 121"/>
                <a:gd name="T3" fmla="*/ 10 h 21"/>
                <a:gd name="T4" fmla="*/ 0 w 121"/>
                <a:gd name="T5" fmla="*/ 12 h 21"/>
                <a:gd name="T6" fmla="*/ 10 w 121"/>
                <a:gd name="T7" fmla="*/ 21 h 21"/>
                <a:gd name="T8" fmla="*/ 111 w 121"/>
                <a:gd name="T9" fmla="*/ 21 h 21"/>
                <a:gd name="T10" fmla="*/ 121 w 121"/>
                <a:gd name="T11" fmla="*/ 12 h 21"/>
                <a:gd name="T12" fmla="*/ 121 w 121"/>
                <a:gd name="T13" fmla="*/ 10 h 21"/>
                <a:gd name="T14" fmla="*/ 111 w 121"/>
                <a:gd name="T15" fmla="*/ 0 h 21"/>
                <a:gd name="T16" fmla="*/ 64 w 121"/>
                <a:gd name="T17" fmla="*/ 0 h 21"/>
                <a:gd name="T18" fmla="*/ 10 w 121"/>
                <a:gd name="T1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21">
                  <a:moveTo>
                    <a:pt x="10" y="0"/>
                  </a:moveTo>
                  <a:cubicBezTo>
                    <a:pt x="10" y="0"/>
                    <a:pt x="0" y="0"/>
                    <a:pt x="0" y="10"/>
                  </a:cubicBezTo>
                  <a:cubicBezTo>
                    <a:pt x="0" y="12"/>
                    <a:pt x="0" y="12"/>
                    <a:pt x="0" y="12"/>
                  </a:cubicBezTo>
                  <a:cubicBezTo>
                    <a:pt x="0" y="12"/>
                    <a:pt x="0" y="21"/>
                    <a:pt x="10" y="21"/>
                  </a:cubicBezTo>
                  <a:cubicBezTo>
                    <a:pt x="111" y="21"/>
                    <a:pt x="111" y="21"/>
                    <a:pt x="111" y="21"/>
                  </a:cubicBezTo>
                  <a:cubicBezTo>
                    <a:pt x="111" y="21"/>
                    <a:pt x="121" y="21"/>
                    <a:pt x="121" y="12"/>
                  </a:cubicBezTo>
                  <a:cubicBezTo>
                    <a:pt x="121" y="10"/>
                    <a:pt x="121" y="10"/>
                    <a:pt x="121" y="10"/>
                  </a:cubicBezTo>
                  <a:cubicBezTo>
                    <a:pt x="121" y="10"/>
                    <a:pt x="121" y="0"/>
                    <a:pt x="111" y="0"/>
                  </a:cubicBezTo>
                  <a:cubicBezTo>
                    <a:pt x="64" y="0"/>
                    <a:pt x="64" y="0"/>
                    <a:pt x="64"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9" name="Freeform 37"/>
            <p:cNvSpPr>
              <a:spLocks/>
            </p:cNvSpPr>
            <p:nvPr/>
          </p:nvSpPr>
          <p:spPr bwMode="auto">
            <a:xfrm>
              <a:off x="5833" y="3392"/>
              <a:ext cx="286" cy="50"/>
            </a:xfrm>
            <a:custGeom>
              <a:avLst/>
              <a:gdLst>
                <a:gd name="T0" fmla="*/ 10 w 121"/>
                <a:gd name="T1" fmla="*/ 0 h 21"/>
                <a:gd name="T2" fmla="*/ 0 w 121"/>
                <a:gd name="T3" fmla="*/ 9 h 21"/>
                <a:gd name="T4" fmla="*/ 0 w 121"/>
                <a:gd name="T5" fmla="*/ 11 h 21"/>
                <a:gd name="T6" fmla="*/ 10 w 121"/>
                <a:gd name="T7" fmla="*/ 21 h 21"/>
                <a:gd name="T8" fmla="*/ 111 w 121"/>
                <a:gd name="T9" fmla="*/ 21 h 21"/>
                <a:gd name="T10" fmla="*/ 121 w 121"/>
                <a:gd name="T11" fmla="*/ 11 h 21"/>
                <a:gd name="T12" fmla="*/ 121 w 121"/>
                <a:gd name="T13" fmla="*/ 9 h 21"/>
                <a:gd name="T14" fmla="*/ 111 w 121"/>
                <a:gd name="T15" fmla="*/ 0 h 21"/>
                <a:gd name="T16" fmla="*/ 64 w 121"/>
                <a:gd name="T17" fmla="*/ 0 h 21"/>
                <a:gd name="T18" fmla="*/ 10 w 121"/>
                <a:gd name="T1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21">
                  <a:moveTo>
                    <a:pt x="10" y="0"/>
                  </a:moveTo>
                  <a:cubicBezTo>
                    <a:pt x="10" y="0"/>
                    <a:pt x="0" y="0"/>
                    <a:pt x="0" y="9"/>
                  </a:cubicBezTo>
                  <a:cubicBezTo>
                    <a:pt x="0" y="11"/>
                    <a:pt x="0" y="11"/>
                    <a:pt x="0" y="11"/>
                  </a:cubicBezTo>
                  <a:cubicBezTo>
                    <a:pt x="0" y="11"/>
                    <a:pt x="0" y="21"/>
                    <a:pt x="10" y="21"/>
                  </a:cubicBezTo>
                  <a:cubicBezTo>
                    <a:pt x="111" y="21"/>
                    <a:pt x="111" y="21"/>
                    <a:pt x="111" y="21"/>
                  </a:cubicBezTo>
                  <a:cubicBezTo>
                    <a:pt x="111" y="21"/>
                    <a:pt x="121" y="21"/>
                    <a:pt x="121" y="11"/>
                  </a:cubicBezTo>
                  <a:cubicBezTo>
                    <a:pt x="121" y="9"/>
                    <a:pt x="121" y="9"/>
                    <a:pt x="121" y="9"/>
                  </a:cubicBezTo>
                  <a:cubicBezTo>
                    <a:pt x="121" y="9"/>
                    <a:pt x="121" y="0"/>
                    <a:pt x="111" y="0"/>
                  </a:cubicBezTo>
                  <a:cubicBezTo>
                    <a:pt x="64" y="0"/>
                    <a:pt x="64" y="0"/>
                    <a:pt x="64"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0" name="Freeform 38"/>
            <p:cNvSpPr>
              <a:spLocks/>
            </p:cNvSpPr>
            <p:nvPr/>
          </p:nvSpPr>
          <p:spPr bwMode="auto">
            <a:xfrm>
              <a:off x="5833" y="3480"/>
              <a:ext cx="286" cy="52"/>
            </a:xfrm>
            <a:custGeom>
              <a:avLst/>
              <a:gdLst>
                <a:gd name="T0" fmla="*/ 10 w 121"/>
                <a:gd name="T1" fmla="*/ 0 h 22"/>
                <a:gd name="T2" fmla="*/ 0 w 121"/>
                <a:gd name="T3" fmla="*/ 10 h 22"/>
                <a:gd name="T4" fmla="*/ 0 w 121"/>
                <a:gd name="T5" fmla="*/ 12 h 22"/>
                <a:gd name="T6" fmla="*/ 10 w 121"/>
                <a:gd name="T7" fmla="*/ 22 h 22"/>
                <a:gd name="T8" fmla="*/ 111 w 121"/>
                <a:gd name="T9" fmla="*/ 22 h 22"/>
                <a:gd name="T10" fmla="*/ 121 w 121"/>
                <a:gd name="T11" fmla="*/ 12 h 22"/>
                <a:gd name="T12" fmla="*/ 121 w 121"/>
                <a:gd name="T13" fmla="*/ 10 h 22"/>
                <a:gd name="T14" fmla="*/ 111 w 121"/>
                <a:gd name="T15" fmla="*/ 0 h 22"/>
                <a:gd name="T16" fmla="*/ 64 w 121"/>
                <a:gd name="T17" fmla="*/ 0 h 22"/>
                <a:gd name="T18" fmla="*/ 10 w 121"/>
                <a:gd name="T19"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22">
                  <a:moveTo>
                    <a:pt x="10" y="0"/>
                  </a:moveTo>
                  <a:cubicBezTo>
                    <a:pt x="10" y="0"/>
                    <a:pt x="0" y="0"/>
                    <a:pt x="0" y="10"/>
                  </a:cubicBezTo>
                  <a:cubicBezTo>
                    <a:pt x="0" y="12"/>
                    <a:pt x="0" y="12"/>
                    <a:pt x="0" y="12"/>
                  </a:cubicBezTo>
                  <a:cubicBezTo>
                    <a:pt x="0" y="12"/>
                    <a:pt x="0" y="22"/>
                    <a:pt x="10" y="22"/>
                  </a:cubicBezTo>
                  <a:cubicBezTo>
                    <a:pt x="111" y="22"/>
                    <a:pt x="111" y="22"/>
                    <a:pt x="111" y="22"/>
                  </a:cubicBezTo>
                  <a:cubicBezTo>
                    <a:pt x="111" y="22"/>
                    <a:pt x="121" y="22"/>
                    <a:pt x="121" y="12"/>
                  </a:cubicBezTo>
                  <a:cubicBezTo>
                    <a:pt x="121" y="10"/>
                    <a:pt x="121" y="10"/>
                    <a:pt x="121" y="10"/>
                  </a:cubicBezTo>
                  <a:cubicBezTo>
                    <a:pt x="121" y="10"/>
                    <a:pt x="121" y="0"/>
                    <a:pt x="111" y="0"/>
                  </a:cubicBezTo>
                  <a:cubicBezTo>
                    <a:pt x="64" y="0"/>
                    <a:pt x="64" y="0"/>
                    <a:pt x="64"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1" name="Freeform 39"/>
            <p:cNvSpPr>
              <a:spLocks/>
            </p:cNvSpPr>
            <p:nvPr/>
          </p:nvSpPr>
          <p:spPr bwMode="auto">
            <a:xfrm>
              <a:off x="5833" y="3570"/>
              <a:ext cx="286" cy="50"/>
            </a:xfrm>
            <a:custGeom>
              <a:avLst/>
              <a:gdLst>
                <a:gd name="T0" fmla="*/ 10 w 121"/>
                <a:gd name="T1" fmla="*/ 0 h 21"/>
                <a:gd name="T2" fmla="*/ 0 w 121"/>
                <a:gd name="T3" fmla="*/ 10 h 21"/>
                <a:gd name="T4" fmla="*/ 0 w 121"/>
                <a:gd name="T5" fmla="*/ 12 h 21"/>
                <a:gd name="T6" fmla="*/ 10 w 121"/>
                <a:gd name="T7" fmla="*/ 21 h 21"/>
                <a:gd name="T8" fmla="*/ 111 w 121"/>
                <a:gd name="T9" fmla="*/ 21 h 21"/>
                <a:gd name="T10" fmla="*/ 121 w 121"/>
                <a:gd name="T11" fmla="*/ 12 h 21"/>
                <a:gd name="T12" fmla="*/ 121 w 121"/>
                <a:gd name="T13" fmla="*/ 10 h 21"/>
                <a:gd name="T14" fmla="*/ 111 w 121"/>
                <a:gd name="T15" fmla="*/ 0 h 21"/>
                <a:gd name="T16" fmla="*/ 64 w 121"/>
                <a:gd name="T17" fmla="*/ 0 h 21"/>
                <a:gd name="T18" fmla="*/ 10 w 121"/>
                <a:gd name="T1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21">
                  <a:moveTo>
                    <a:pt x="10" y="0"/>
                  </a:moveTo>
                  <a:cubicBezTo>
                    <a:pt x="10" y="0"/>
                    <a:pt x="0" y="0"/>
                    <a:pt x="0" y="10"/>
                  </a:cubicBezTo>
                  <a:cubicBezTo>
                    <a:pt x="0" y="12"/>
                    <a:pt x="0" y="12"/>
                    <a:pt x="0" y="12"/>
                  </a:cubicBezTo>
                  <a:cubicBezTo>
                    <a:pt x="0" y="12"/>
                    <a:pt x="0" y="21"/>
                    <a:pt x="10" y="21"/>
                  </a:cubicBezTo>
                  <a:cubicBezTo>
                    <a:pt x="111" y="21"/>
                    <a:pt x="111" y="21"/>
                    <a:pt x="111" y="21"/>
                  </a:cubicBezTo>
                  <a:cubicBezTo>
                    <a:pt x="111" y="21"/>
                    <a:pt x="121" y="21"/>
                    <a:pt x="121" y="12"/>
                  </a:cubicBezTo>
                  <a:cubicBezTo>
                    <a:pt x="121" y="10"/>
                    <a:pt x="121" y="10"/>
                    <a:pt x="121" y="10"/>
                  </a:cubicBezTo>
                  <a:cubicBezTo>
                    <a:pt x="121" y="10"/>
                    <a:pt x="121" y="0"/>
                    <a:pt x="111" y="0"/>
                  </a:cubicBezTo>
                  <a:cubicBezTo>
                    <a:pt x="64" y="0"/>
                    <a:pt x="64" y="0"/>
                    <a:pt x="64"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2" name="Oval 40"/>
            <p:cNvSpPr>
              <a:spLocks noChangeArrowheads="1"/>
            </p:cNvSpPr>
            <p:nvPr/>
          </p:nvSpPr>
          <p:spPr bwMode="auto">
            <a:xfrm>
              <a:off x="6065" y="3223"/>
              <a:ext cx="28" cy="2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3" name="Oval 41"/>
            <p:cNvSpPr>
              <a:spLocks noChangeArrowheads="1"/>
            </p:cNvSpPr>
            <p:nvPr/>
          </p:nvSpPr>
          <p:spPr bwMode="auto">
            <a:xfrm>
              <a:off x="6065" y="3313"/>
              <a:ext cx="28" cy="2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4" name="Oval 42"/>
            <p:cNvSpPr>
              <a:spLocks noChangeArrowheads="1"/>
            </p:cNvSpPr>
            <p:nvPr/>
          </p:nvSpPr>
          <p:spPr bwMode="auto">
            <a:xfrm>
              <a:off x="6065" y="3401"/>
              <a:ext cx="28" cy="2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5" name="Oval 43"/>
            <p:cNvSpPr>
              <a:spLocks noChangeArrowheads="1"/>
            </p:cNvSpPr>
            <p:nvPr/>
          </p:nvSpPr>
          <p:spPr bwMode="auto">
            <a:xfrm>
              <a:off x="6065" y="3492"/>
              <a:ext cx="28" cy="2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6" name="Oval 44"/>
            <p:cNvSpPr>
              <a:spLocks noChangeArrowheads="1"/>
            </p:cNvSpPr>
            <p:nvPr/>
          </p:nvSpPr>
          <p:spPr bwMode="auto">
            <a:xfrm>
              <a:off x="6065" y="3582"/>
              <a:ext cx="28" cy="2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7" name="Freeform 45"/>
            <p:cNvSpPr>
              <a:spLocks/>
            </p:cNvSpPr>
            <p:nvPr/>
          </p:nvSpPr>
          <p:spPr bwMode="auto">
            <a:xfrm>
              <a:off x="5632" y="3325"/>
              <a:ext cx="315" cy="542"/>
            </a:xfrm>
            <a:custGeom>
              <a:avLst/>
              <a:gdLst>
                <a:gd name="T0" fmla="*/ 133 w 133"/>
                <a:gd name="T1" fmla="*/ 219 h 228"/>
                <a:gd name="T2" fmla="*/ 124 w 133"/>
                <a:gd name="T3" fmla="*/ 228 h 228"/>
                <a:gd name="T4" fmla="*/ 8 w 133"/>
                <a:gd name="T5" fmla="*/ 228 h 228"/>
                <a:gd name="T6" fmla="*/ 0 w 133"/>
                <a:gd name="T7" fmla="*/ 219 h 228"/>
                <a:gd name="T8" fmla="*/ 0 w 133"/>
                <a:gd name="T9" fmla="*/ 9 h 228"/>
                <a:gd name="T10" fmla="*/ 8 w 133"/>
                <a:gd name="T11" fmla="*/ 0 h 228"/>
                <a:gd name="T12" fmla="*/ 124 w 133"/>
                <a:gd name="T13" fmla="*/ 0 h 228"/>
                <a:gd name="T14" fmla="*/ 133 w 133"/>
                <a:gd name="T15" fmla="*/ 9 h 228"/>
                <a:gd name="T16" fmla="*/ 133 w 133"/>
                <a:gd name="T17" fmla="*/ 219 h 228"/>
                <a:gd name="T18" fmla="*/ 133 w 133"/>
                <a:gd name="T19" fmla="*/ 21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 h="228">
                  <a:moveTo>
                    <a:pt x="133" y="219"/>
                  </a:moveTo>
                  <a:cubicBezTo>
                    <a:pt x="133" y="224"/>
                    <a:pt x="129" y="228"/>
                    <a:pt x="124" y="228"/>
                  </a:cubicBezTo>
                  <a:cubicBezTo>
                    <a:pt x="8" y="228"/>
                    <a:pt x="8" y="228"/>
                    <a:pt x="8" y="228"/>
                  </a:cubicBezTo>
                  <a:cubicBezTo>
                    <a:pt x="4" y="228"/>
                    <a:pt x="0" y="224"/>
                    <a:pt x="0" y="219"/>
                  </a:cubicBezTo>
                  <a:cubicBezTo>
                    <a:pt x="0" y="9"/>
                    <a:pt x="0" y="9"/>
                    <a:pt x="0" y="9"/>
                  </a:cubicBezTo>
                  <a:cubicBezTo>
                    <a:pt x="0" y="4"/>
                    <a:pt x="4" y="0"/>
                    <a:pt x="8" y="0"/>
                  </a:cubicBezTo>
                  <a:cubicBezTo>
                    <a:pt x="124" y="0"/>
                    <a:pt x="124" y="0"/>
                    <a:pt x="124" y="0"/>
                  </a:cubicBezTo>
                  <a:cubicBezTo>
                    <a:pt x="129" y="0"/>
                    <a:pt x="133" y="4"/>
                    <a:pt x="133" y="9"/>
                  </a:cubicBezTo>
                  <a:cubicBezTo>
                    <a:pt x="133" y="219"/>
                    <a:pt x="133" y="219"/>
                    <a:pt x="133" y="219"/>
                  </a:cubicBezTo>
                  <a:cubicBezTo>
                    <a:pt x="133" y="219"/>
                    <a:pt x="133" y="219"/>
                    <a:pt x="133" y="219"/>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8" name="Freeform 46"/>
            <p:cNvSpPr>
              <a:spLocks/>
            </p:cNvSpPr>
            <p:nvPr/>
          </p:nvSpPr>
          <p:spPr bwMode="auto">
            <a:xfrm>
              <a:off x="5660" y="3356"/>
              <a:ext cx="256" cy="425"/>
            </a:xfrm>
            <a:custGeom>
              <a:avLst/>
              <a:gdLst>
                <a:gd name="T0" fmla="*/ 0 w 256"/>
                <a:gd name="T1" fmla="*/ 0 h 425"/>
                <a:gd name="T2" fmla="*/ 256 w 256"/>
                <a:gd name="T3" fmla="*/ 0 h 425"/>
                <a:gd name="T4" fmla="*/ 256 w 256"/>
                <a:gd name="T5" fmla="*/ 425 h 425"/>
                <a:gd name="T6" fmla="*/ 0 w 256"/>
                <a:gd name="T7" fmla="*/ 425 h 425"/>
                <a:gd name="T8" fmla="*/ 0 w 256"/>
                <a:gd name="T9" fmla="*/ 0 h 425"/>
                <a:gd name="T10" fmla="*/ 0 w 256"/>
                <a:gd name="T11" fmla="*/ 0 h 425"/>
              </a:gdLst>
              <a:ahLst/>
              <a:cxnLst>
                <a:cxn ang="0">
                  <a:pos x="T0" y="T1"/>
                </a:cxn>
                <a:cxn ang="0">
                  <a:pos x="T2" y="T3"/>
                </a:cxn>
                <a:cxn ang="0">
                  <a:pos x="T4" y="T5"/>
                </a:cxn>
                <a:cxn ang="0">
                  <a:pos x="T6" y="T7"/>
                </a:cxn>
                <a:cxn ang="0">
                  <a:pos x="T8" y="T9"/>
                </a:cxn>
                <a:cxn ang="0">
                  <a:pos x="T10" y="T11"/>
                </a:cxn>
              </a:cxnLst>
              <a:rect l="0" t="0" r="r" b="b"/>
              <a:pathLst>
                <a:path w="256" h="425">
                  <a:moveTo>
                    <a:pt x="0" y="0"/>
                  </a:moveTo>
                  <a:lnTo>
                    <a:pt x="256" y="0"/>
                  </a:lnTo>
                  <a:lnTo>
                    <a:pt x="256" y="425"/>
                  </a:lnTo>
                  <a:lnTo>
                    <a:pt x="0" y="425"/>
                  </a:lnTo>
                  <a:lnTo>
                    <a:pt x="0" y="0"/>
                  </a:lnTo>
                  <a:lnTo>
                    <a:pt x="0"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29" name="Freeform 47"/>
            <p:cNvSpPr>
              <a:spLocks/>
            </p:cNvSpPr>
            <p:nvPr/>
          </p:nvSpPr>
          <p:spPr bwMode="auto">
            <a:xfrm>
              <a:off x="5102" y="3489"/>
              <a:ext cx="705" cy="461"/>
            </a:xfrm>
            <a:custGeom>
              <a:avLst/>
              <a:gdLst>
                <a:gd name="T0" fmla="*/ 48 w 298"/>
                <a:gd name="T1" fmla="*/ 85 h 194"/>
                <a:gd name="T2" fmla="*/ 48 w 298"/>
                <a:gd name="T3" fmla="*/ 81 h 194"/>
                <a:gd name="T4" fmla="*/ 130 w 298"/>
                <a:gd name="T5" fmla="*/ 0 h 194"/>
                <a:gd name="T6" fmla="*/ 198 w 298"/>
                <a:gd name="T7" fmla="*/ 36 h 194"/>
                <a:gd name="T8" fmla="*/ 220 w 298"/>
                <a:gd name="T9" fmla="*/ 30 h 194"/>
                <a:gd name="T10" fmla="*/ 247 w 298"/>
                <a:gd name="T11" fmla="*/ 38 h 194"/>
                <a:gd name="T12" fmla="*/ 268 w 298"/>
                <a:gd name="T13" fmla="*/ 76 h 194"/>
                <a:gd name="T14" fmla="*/ 298 w 298"/>
                <a:gd name="T15" fmla="*/ 130 h 194"/>
                <a:gd name="T16" fmla="*/ 240 w 298"/>
                <a:gd name="T17" fmla="*/ 194 h 194"/>
                <a:gd name="T18" fmla="*/ 233 w 298"/>
                <a:gd name="T19" fmla="*/ 194 h 194"/>
                <a:gd name="T20" fmla="*/ 226 w 298"/>
                <a:gd name="T21" fmla="*/ 194 h 194"/>
                <a:gd name="T22" fmla="*/ 92 w 298"/>
                <a:gd name="T23" fmla="*/ 194 h 194"/>
                <a:gd name="T24" fmla="*/ 90 w 298"/>
                <a:gd name="T25" fmla="*/ 194 h 194"/>
                <a:gd name="T26" fmla="*/ 86 w 298"/>
                <a:gd name="T27" fmla="*/ 194 h 194"/>
                <a:gd name="T28" fmla="*/ 77 w 298"/>
                <a:gd name="T29" fmla="*/ 194 h 194"/>
                <a:gd name="T30" fmla="*/ 55 w 298"/>
                <a:gd name="T31" fmla="*/ 194 h 194"/>
                <a:gd name="T32" fmla="*/ 0 w 298"/>
                <a:gd name="T33" fmla="*/ 139 h 194"/>
                <a:gd name="T34" fmla="*/ 48 w 298"/>
                <a:gd name="T35" fmla="*/ 8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8" h="194">
                  <a:moveTo>
                    <a:pt x="48" y="85"/>
                  </a:moveTo>
                  <a:cubicBezTo>
                    <a:pt x="48" y="84"/>
                    <a:pt x="48" y="82"/>
                    <a:pt x="48" y="81"/>
                  </a:cubicBezTo>
                  <a:cubicBezTo>
                    <a:pt x="48" y="36"/>
                    <a:pt x="84" y="0"/>
                    <a:pt x="130" y="0"/>
                  </a:cubicBezTo>
                  <a:cubicBezTo>
                    <a:pt x="158" y="0"/>
                    <a:pt x="183" y="14"/>
                    <a:pt x="198" y="36"/>
                  </a:cubicBezTo>
                  <a:cubicBezTo>
                    <a:pt x="205" y="32"/>
                    <a:pt x="212" y="30"/>
                    <a:pt x="220" y="30"/>
                  </a:cubicBezTo>
                  <a:cubicBezTo>
                    <a:pt x="230" y="30"/>
                    <a:pt x="239" y="33"/>
                    <a:pt x="247" y="38"/>
                  </a:cubicBezTo>
                  <a:cubicBezTo>
                    <a:pt x="259" y="46"/>
                    <a:pt x="268" y="60"/>
                    <a:pt x="268" y="76"/>
                  </a:cubicBezTo>
                  <a:cubicBezTo>
                    <a:pt x="286" y="88"/>
                    <a:pt x="298" y="108"/>
                    <a:pt x="298" y="130"/>
                  </a:cubicBezTo>
                  <a:cubicBezTo>
                    <a:pt x="298" y="163"/>
                    <a:pt x="272" y="191"/>
                    <a:pt x="240" y="194"/>
                  </a:cubicBezTo>
                  <a:cubicBezTo>
                    <a:pt x="238" y="194"/>
                    <a:pt x="235" y="194"/>
                    <a:pt x="233" y="194"/>
                  </a:cubicBezTo>
                  <a:cubicBezTo>
                    <a:pt x="231" y="194"/>
                    <a:pt x="229" y="194"/>
                    <a:pt x="226" y="194"/>
                  </a:cubicBezTo>
                  <a:cubicBezTo>
                    <a:pt x="196" y="194"/>
                    <a:pt x="126" y="194"/>
                    <a:pt x="92" y="194"/>
                  </a:cubicBezTo>
                  <a:cubicBezTo>
                    <a:pt x="91" y="194"/>
                    <a:pt x="91" y="194"/>
                    <a:pt x="90" y="194"/>
                  </a:cubicBezTo>
                  <a:cubicBezTo>
                    <a:pt x="86" y="194"/>
                    <a:pt x="86" y="194"/>
                    <a:pt x="86" y="194"/>
                  </a:cubicBezTo>
                  <a:cubicBezTo>
                    <a:pt x="85" y="194"/>
                    <a:pt x="80" y="194"/>
                    <a:pt x="77" y="194"/>
                  </a:cubicBezTo>
                  <a:cubicBezTo>
                    <a:pt x="55" y="194"/>
                    <a:pt x="55" y="194"/>
                    <a:pt x="55" y="194"/>
                  </a:cubicBezTo>
                  <a:cubicBezTo>
                    <a:pt x="25" y="194"/>
                    <a:pt x="0" y="169"/>
                    <a:pt x="0" y="139"/>
                  </a:cubicBezTo>
                  <a:cubicBezTo>
                    <a:pt x="0" y="112"/>
                    <a:pt x="21" y="89"/>
                    <a:pt x="48" y="85"/>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0" name="Freeform 48"/>
            <p:cNvSpPr>
              <a:spLocks/>
            </p:cNvSpPr>
            <p:nvPr/>
          </p:nvSpPr>
          <p:spPr bwMode="auto">
            <a:xfrm>
              <a:off x="5173" y="3406"/>
              <a:ext cx="293" cy="192"/>
            </a:xfrm>
            <a:custGeom>
              <a:avLst/>
              <a:gdLst>
                <a:gd name="T0" fmla="*/ 20 w 124"/>
                <a:gd name="T1" fmla="*/ 35 h 81"/>
                <a:gd name="T2" fmla="*/ 20 w 124"/>
                <a:gd name="T3" fmla="*/ 34 h 81"/>
                <a:gd name="T4" fmla="*/ 54 w 124"/>
                <a:gd name="T5" fmla="*/ 0 h 81"/>
                <a:gd name="T6" fmla="*/ 82 w 124"/>
                <a:gd name="T7" fmla="*/ 15 h 81"/>
                <a:gd name="T8" fmla="*/ 92 w 124"/>
                <a:gd name="T9" fmla="*/ 12 h 81"/>
                <a:gd name="T10" fmla="*/ 103 w 124"/>
                <a:gd name="T11" fmla="*/ 16 h 81"/>
                <a:gd name="T12" fmla="*/ 112 w 124"/>
                <a:gd name="T13" fmla="*/ 32 h 81"/>
                <a:gd name="T14" fmla="*/ 124 w 124"/>
                <a:gd name="T15" fmla="*/ 54 h 81"/>
                <a:gd name="T16" fmla="*/ 100 w 124"/>
                <a:gd name="T17" fmla="*/ 81 h 81"/>
                <a:gd name="T18" fmla="*/ 97 w 124"/>
                <a:gd name="T19" fmla="*/ 81 h 81"/>
                <a:gd name="T20" fmla="*/ 94 w 124"/>
                <a:gd name="T21" fmla="*/ 81 h 81"/>
                <a:gd name="T22" fmla="*/ 38 w 124"/>
                <a:gd name="T23" fmla="*/ 81 h 81"/>
                <a:gd name="T24" fmla="*/ 37 w 124"/>
                <a:gd name="T25" fmla="*/ 81 h 81"/>
                <a:gd name="T26" fmla="*/ 36 w 124"/>
                <a:gd name="T27" fmla="*/ 81 h 81"/>
                <a:gd name="T28" fmla="*/ 32 w 124"/>
                <a:gd name="T29" fmla="*/ 81 h 81"/>
                <a:gd name="T30" fmla="*/ 23 w 124"/>
                <a:gd name="T31" fmla="*/ 81 h 81"/>
                <a:gd name="T32" fmla="*/ 0 w 124"/>
                <a:gd name="T33" fmla="*/ 58 h 81"/>
                <a:gd name="T34" fmla="*/ 20 w 124"/>
                <a:gd name="T35" fmla="*/ 35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4" h="81">
                  <a:moveTo>
                    <a:pt x="20" y="35"/>
                  </a:moveTo>
                  <a:cubicBezTo>
                    <a:pt x="20" y="35"/>
                    <a:pt x="20" y="34"/>
                    <a:pt x="20" y="34"/>
                  </a:cubicBezTo>
                  <a:cubicBezTo>
                    <a:pt x="20" y="15"/>
                    <a:pt x="35" y="0"/>
                    <a:pt x="54" y="0"/>
                  </a:cubicBezTo>
                  <a:cubicBezTo>
                    <a:pt x="66" y="0"/>
                    <a:pt x="76" y="6"/>
                    <a:pt x="82" y="15"/>
                  </a:cubicBezTo>
                  <a:cubicBezTo>
                    <a:pt x="85" y="13"/>
                    <a:pt x="88" y="12"/>
                    <a:pt x="92" y="12"/>
                  </a:cubicBezTo>
                  <a:cubicBezTo>
                    <a:pt x="96" y="12"/>
                    <a:pt x="100" y="14"/>
                    <a:pt x="103" y="16"/>
                  </a:cubicBezTo>
                  <a:cubicBezTo>
                    <a:pt x="108" y="19"/>
                    <a:pt x="111" y="25"/>
                    <a:pt x="112" y="32"/>
                  </a:cubicBezTo>
                  <a:cubicBezTo>
                    <a:pt x="119" y="36"/>
                    <a:pt x="124" y="45"/>
                    <a:pt x="124" y="54"/>
                  </a:cubicBezTo>
                  <a:cubicBezTo>
                    <a:pt x="124" y="68"/>
                    <a:pt x="113" y="79"/>
                    <a:pt x="100" y="81"/>
                  </a:cubicBezTo>
                  <a:cubicBezTo>
                    <a:pt x="99" y="81"/>
                    <a:pt x="98" y="81"/>
                    <a:pt x="97" y="81"/>
                  </a:cubicBezTo>
                  <a:cubicBezTo>
                    <a:pt x="96" y="81"/>
                    <a:pt x="95" y="81"/>
                    <a:pt x="94" y="81"/>
                  </a:cubicBezTo>
                  <a:cubicBezTo>
                    <a:pt x="82" y="81"/>
                    <a:pt x="52" y="81"/>
                    <a:pt x="38" y="81"/>
                  </a:cubicBezTo>
                  <a:cubicBezTo>
                    <a:pt x="38" y="81"/>
                    <a:pt x="38" y="81"/>
                    <a:pt x="37" y="81"/>
                  </a:cubicBezTo>
                  <a:cubicBezTo>
                    <a:pt x="36" y="81"/>
                    <a:pt x="36" y="81"/>
                    <a:pt x="36" y="81"/>
                  </a:cubicBezTo>
                  <a:cubicBezTo>
                    <a:pt x="35" y="81"/>
                    <a:pt x="33" y="81"/>
                    <a:pt x="32" y="81"/>
                  </a:cubicBezTo>
                  <a:cubicBezTo>
                    <a:pt x="23" y="81"/>
                    <a:pt x="23" y="81"/>
                    <a:pt x="23" y="81"/>
                  </a:cubicBezTo>
                  <a:cubicBezTo>
                    <a:pt x="10" y="81"/>
                    <a:pt x="0" y="70"/>
                    <a:pt x="0" y="58"/>
                  </a:cubicBezTo>
                  <a:cubicBezTo>
                    <a:pt x="0" y="46"/>
                    <a:pt x="8" y="37"/>
                    <a:pt x="20" y="35"/>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1" name="Freeform 49"/>
            <p:cNvSpPr>
              <a:spLocks/>
            </p:cNvSpPr>
            <p:nvPr/>
          </p:nvSpPr>
          <p:spPr bwMode="auto">
            <a:xfrm>
              <a:off x="5589" y="4061"/>
              <a:ext cx="235" cy="195"/>
            </a:xfrm>
            <a:custGeom>
              <a:avLst/>
              <a:gdLst>
                <a:gd name="T0" fmla="*/ 0 w 235"/>
                <a:gd name="T1" fmla="*/ 195 h 195"/>
                <a:gd name="T2" fmla="*/ 235 w 235"/>
                <a:gd name="T3" fmla="*/ 0 h 195"/>
                <a:gd name="T4" fmla="*/ 0 w 235"/>
                <a:gd name="T5" fmla="*/ 0 h 195"/>
                <a:gd name="T6" fmla="*/ 0 w 235"/>
                <a:gd name="T7" fmla="*/ 195 h 195"/>
              </a:gdLst>
              <a:ahLst/>
              <a:cxnLst>
                <a:cxn ang="0">
                  <a:pos x="T0" y="T1"/>
                </a:cxn>
                <a:cxn ang="0">
                  <a:pos x="T2" y="T3"/>
                </a:cxn>
                <a:cxn ang="0">
                  <a:pos x="T4" y="T5"/>
                </a:cxn>
                <a:cxn ang="0">
                  <a:pos x="T6" y="T7"/>
                </a:cxn>
              </a:cxnLst>
              <a:rect l="0" t="0" r="r" b="b"/>
              <a:pathLst>
                <a:path w="235" h="195">
                  <a:moveTo>
                    <a:pt x="0" y="195"/>
                  </a:moveTo>
                  <a:lnTo>
                    <a:pt x="235" y="0"/>
                  </a:lnTo>
                  <a:lnTo>
                    <a:pt x="0" y="0"/>
                  </a:lnTo>
                  <a:lnTo>
                    <a:pt x="0" y="195"/>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2" name="Freeform 50"/>
            <p:cNvSpPr>
              <a:spLocks/>
            </p:cNvSpPr>
            <p:nvPr/>
          </p:nvSpPr>
          <p:spPr bwMode="auto">
            <a:xfrm>
              <a:off x="4917" y="3793"/>
              <a:ext cx="656" cy="411"/>
            </a:xfrm>
            <a:custGeom>
              <a:avLst/>
              <a:gdLst>
                <a:gd name="T0" fmla="*/ 0 w 656"/>
                <a:gd name="T1" fmla="*/ 0 h 411"/>
                <a:gd name="T2" fmla="*/ 656 w 656"/>
                <a:gd name="T3" fmla="*/ 0 h 411"/>
                <a:gd name="T4" fmla="*/ 656 w 656"/>
                <a:gd name="T5" fmla="*/ 411 h 411"/>
                <a:gd name="T6" fmla="*/ 0 w 656"/>
                <a:gd name="T7" fmla="*/ 411 h 411"/>
                <a:gd name="T8" fmla="*/ 0 w 656"/>
                <a:gd name="T9" fmla="*/ 0 h 411"/>
                <a:gd name="T10" fmla="*/ 0 w 656"/>
                <a:gd name="T11" fmla="*/ 0 h 411"/>
              </a:gdLst>
              <a:ahLst/>
              <a:cxnLst>
                <a:cxn ang="0">
                  <a:pos x="T0" y="T1"/>
                </a:cxn>
                <a:cxn ang="0">
                  <a:pos x="T2" y="T3"/>
                </a:cxn>
                <a:cxn ang="0">
                  <a:pos x="T4" y="T5"/>
                </a:cxn>
                <a:cxn ang="0">
                  <a:pos x="T6" y="T7"/>
                </a:cxn>
                <a:cxn ang="0">
                  <a:pos x="T8" y="T9"/>
                </a:cxn>
                <a:cxn ang="0">
                  <a:pos x="T10" y="T11"/>
                </a:cxn>
              </a:cxnLst>
              <a:rect l="0" t="0" r="r" b="b"/>
              <a:pathLst>
                <a:path w="656" h="411">
                  <a:moveTo>
                    <a:pt x="0" y="0"/>
                  </a:moveTo>
                  <a:lnTo>
                    <a:pt x="656" y="0"/>
                  </a:lnTo>
                  <a:lnTo>
                    <a:pt x="656" y="411"/>
                  </a:lnTo>
                  <a:lnTo>
                    <a:pt x="0" y="411"/>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3" name="Freeform 51"/>
            <p:cNvSpPr>
              <a:spLocks noEditPoints="1"/>
            </p:cNvSpPr>
            <p:nvPr/>
          </p:nvSpPr>
          <p:spPr bwMode="auto">
            <a:xfrm>
              <a:off x="4766" y="3772"/>
              <a:ext cx="953" cy="515"/>
            </a:xfrm>
            <a:custGeom>
              <a:avLst/>
              <a:gdLst>
                <a:gd name="T0" fmla="*/ 343 w 403"/>
                <a:gd name="T1" fmla="*/ 193 h 217"/>
                <a:gd name="T2" fmla="*/ 353 w 403"/>
                <a:gd name="T3" fmla="*/ 183 h 217"/>
                <a:gd name="T4" fmla="*/ 353 w 403"/>
                <a:gd name="T5" fmla="*/ 10 h 217"/>
                <a:gd name="T6" fmla="*/ 343 w 403"/>
                <a:gd name="T7" fmla="*/ 0 h 217"/>
                <a:gd name="T8" fmla="*/ 61 w 403"/>
                <a:gd name="T9" fmla="*/ 0 h 217"/>
                <a:gd name="T10" fmla="*/ 51 w 403"/>
                <a:gd name="T11" fmla="*/ 10 h 217"/>
                <a:gd name="T12" fmla="*/ 51 w 403"/>
                <a:gd name="T13" fmla="*/ 183 h 217"/>
                <a:gd name="T14" fmla="*/ 61 w 403"/>
                <a:gd name="T15" fmla="*/ 193 h 217"/>
                <a:gd name="T16" fmla="*/ 0 w 403"/>
                <a:gd name="T17" fmla="*/ 193 h 217"/>
                <a:gd name="T18" fmla="*/ 0 w 403"/>
                <a:gd name="T19" fmla="*/ 200 h 217"/>
                <a:gd name="T20" fmla="*/ 0 w 403"/>
                <a:gd name="T21" fmla="*/ 208 h 217"/>
                <a:gd name="T22" fmla="*/ 0 w 403"/>
                <a:gd name="T23" fmla="*/ 209 h 217"/>
                <a:gd name="T24" fmla="*/ 0 w 403"/>
                <a:gd name="T25" fmla="*/ 209 h 217"/>
                <a:gd name="T26" fmla="*/ 0 w 403"/>
                <a:gd name="T27" fmla="*/ 209 h 217"/>
                <a:gd name="T28" fmla="*/ 0 w 403"/>
                <a:gd name="T29" fmla="*/ 210 h 217"/>
                <a:gd name="T30" fmla="*/ 8 w 403"/>
                <a:gd name="T31" fmla="*/ 217 h 217"/>
                <a:gd name="T32" fmla="*/ 395 w 403"/>
                <a:gd name="T33" fmla="*/ 217 h 217"/>
                <a:gd name="T34" fmla="*/ 403 w 403"/>
                <a:gd name="T35" fmla="*/ 211 h 217"/>
                <a:gd name="T36" fmla="*/ 403 w 403"/>
                <a:gd name="T37" fmla="*/ 210 h 217"/>
                <a:gd name="T38" fmla="*/ 403 w 403"/>
                <a:gd name="T39" fmla="*/ 200 h 217"/>
                <a:gd name="T40" fmla="*/ 403 w 403"/>
                <a:gd name="T41" fmla="*/ 193 h 217"/>
                <a:gd name="T42" fmla="*/ 343 w 403"/>
                <a:gd name="T43" fmla="*/ 193 h 217"/>
                <a:gd name="T44" fmla="*/ 64 w 403"/>
                <a:gd name="T45" fmla="*/ 11 h 217"/>
                <a:gd name="T46" fmla="*/ 340 w 403"/>
                <a:gd name="T47" fmla="*/ 11 h 217"/>
                <a:gd name="T48" fmla="*/ 340 w 403"/>
                <a:gd name="T49" fmla="*/ 181 h 217"/>
                <a:gd name="T50" fmla="*/ 64 w 403"/>
                <a:gd name="T51" fmla="*/ 181 h 217"/>
                <a:gd name="T52" fmla="*/ 64 w 403"/>
                <a:gd name="T53" fmla="*/ 11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03" h="217">
                  <a:moveTo>
                    <a:pt x="343" y="193"/>
                  </a:moveTo>
                  <a:cubicBezTo>
                    <a:pt x="349" y="193"/>
                    <a:pt x="353" y="189"/>
                    <a:pt x="353" y="183"/>
                  </a:cubicBezTo>
                  <a:cubicBezTo>
                    <a:pt x="353" y="10"/>
                    <a:pt x="353" y="10"/>
                    <a:pt x="353" y="10"/>
                  </a:cubicBezTo>
                  <a:cubicBezTo>
                    <a:pt x="353" y="4"/>
                    <a:pt x="349" y="0"/>
                    <a:pt x="343" y="0"/>
                  </a:cubicBezTo>
                  <a:cubicBezTo>
                    <a:pt x="61" y="0"/>
                    <a:pt x="61" y="0"/>
                    <a:pt x="61" y="0"/>
                  </a:cubicBezTo>
                  <a:cubicBezTo>
                    <a:pt x="56" y="0"/>
                    <a:pt x="51" y="4"/>
                    <a:pt x="51" y="10"/>
                  </a:cubicBezTo>
                  <a:cubicBezTo>
                    <a:pt x="51" y="183"/>
                    <a:pt x="51" y="183"/>
                    <a:pt x="51" y="183"/>
                  </a:cubicBezTo>
                  <a:cubicBezTo>
                    <a:pt x="51" y="189"/>
                    <a:pt x="56" y="193"/>
                    <a:pt x="61" y="193"/>
                  </a:cubicBezTo>
                  <a:cubicBezTo>
                    <a:pt x="0" y="193"/>
                    <a:pt x="0" y="193"/>
                    <a:pt x="0" y="193"/>
                  </a:cubicBezTo>
                  <a:cubicBezTo>
                    <a:pt x="0" y="200"/>
                    <a:pt x="0" y="200"/>
                    <a:pt x="0" y="200"/>
                  </a:cubicBezTo>
                  <a:cubicBezTo>
                    <a:pt x="0" y="208"/>
                    <a:pt x="0" y="208"/>
                    <a:pt x="0" y="208"/>
                  </a:cubicBezTo>
                  <a:cubicBezTo>
                    <a:pt x="0" y="209"/>
                    <a:pt x="0" y="209"/>
                    <a:pt x="0" y="209"/>
                  </a:cubicBezTo>
                  <a:cubicBezTo>
                    <a:pt x="0" y="209"/>
                    <a:pt x="0" y="209"/>
                    <a:pt x="0" y="209"/>
                  </a:cubicBezTo>
                  <a:cubicBezTo>
                    <a:pt x="0" y="209"/>
                    <a:pt x="0" y="209"/>
                    <a:pt x="0" y="209"/>
                  </a:cubicBezTo>
                  <a:cubicBezTo>
                    <a:pt x="0" y="210"/>
                    <a:pt x="0" y="210"/>
                    <a:pt x="0" y="210"/>
                  </a:cubicBezTo>
                  <a:cubicBezTo>
                    <a:pt x="0" y="214"/>
                    <a:pt x="4" y="217"/>
                    <a:pt x="8" y="217"/>
                  </a:cubicBezTo>
                  <a:cubicBezTo>
                    <a:pt x="395" y="217"/>
                    <a:pt x="395" y="217"/>
                    <a:pt x="395" y="217"/>
                  </a:cubicBezTo>
                  <a:cubicBezTo>
                    <a:pt x="399" y="217"/>
                    <a:pt x="402" y="214"/>
                    <a:pt x="403" y="211"/>
                  </a:cubicBezTo>
                  <a:cubicBezTo>
                    <a:pt x="403" y="210"/>
                    <a:pt x="403" y="210"/>
                    <a:pt x="403" y="210"/>
                  </a:cubicBezTo>
                  <a:cubicBezTo>
                    <a:pt x="403" y="200"/>
                    <a:pt x="403" y="200"/>
                    <a:pt x="403" y="200"/>
                  </a:cubicBezTo>
                  <a:cubicBezTo>
                    <a:pt x="403" y="193"/>
                    <a:pt x="403" y="193"/>
                    <a:pt x="403" y="193"/>
                  </a:cubicBezTo>
                  <a:lnTo>
                    <a:pt x="343" y="193"/>
                  </a:lnTo>
                  <a:close/>
                  <a:moveTo>
                    <a:pt x="64" y="11"/>
                  </a:moveTo>
                  <a:cubicBezTo>
                    <a:pt x="340" y="11"/>
                    <a:pt x="340" y="11"/>
                    <a:pt x="340" y="11"/>
                  </a:cubicBezTo>
                  <a:cubicBezTo>
                    <a:pt x="340" y="181"/>
                    <a:pt x="340" y="181"/>
                    <a:pt x="340" y="181"/>
                  </a:cubicBezTo>
                  <a:cubicBezTo>
                    <a:pt x="64" y="181"/>
                    <a:pt x="64" y="181"/>
                    <a:pt x="64" y="181"/>
                  </a:cubicBezTo>
                  <a:cubicBezTo>
                    <a:pt x="64" y="11"/>
                    <a:pt x="64" y="11"/>
                    <a:pt x="64" y="11"/>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34" name="Rectangle 52"/>
            <p:cNvSpPr>
              <a:spLocks noChangeArrowheads="1"/>
            </p:cNvSpPr>
            <p:nvPr/>
          </p:nvSpPr>
          <p:spPr bwMode="auto">
            <a:xfrm>
              <a:off x="6779" y="2915"/>
              <a:ext cx="871" cy="3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spTree>
    <p:extLst>
      <p:ext uri="{BB962C8B-B14F-4D97-AF65-F5344CB8AC3E}">
        <p14:creationId xmlns:p14="http://schemas.microsoft.com/office/powerpoint/2010/main" val="4274738469"/>
      </p:ext>
    </p:extLst>
  </p:cSld>
  <p:clrMapOvr>
    <a:masterClrMapping/>
  </p:clrMapOvr>
  <mc:AlternateContent xmlns:mc="http://schemas.openxmlformats.org/markup-compatibility/2006">
    <mc:Choice xmlns:p14="http://schemas.microsoft.com/office/powerpoint/2010/main" Requires="p14">
      <p:transition spd="slow" p14:dur="1250">
        <p14:switch dir="r"/>
      </p:transition>
    </mc:Choice>
    <mc:Fallback>
      <p:transition spd="slow">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5-30055_Office Template 2012 - 16x9 - White Background">
  <a:themeElements>
    <a:clrScheme name="Office_Template_2012_Light">
      <a:dk1>
        <a:srgbClr val="000000"/>
      </a:dk1>
      <a:lt1>
        <a:srgbClr val="FFFFFF"/>
      </a:lt1>
      <a:dk2>
        <a:srgbClr val="EB3C00"/>
      </a:dk2>
      <a:lt2>
        <a:srgbClr val="797A7D"/>
      </a:lt2>
      <a:accent1>
        <a:srgbClr val="EB3C00"/>
      </a:accent1>
      <a:accent2>
        <a:srgbClr val="FF8C00"/>
      </a:accent2>
      <a:accent3>
        <a:srgbClr val="FFB900"/>
      </a:accent3>
      <a:accent4>
        <a:srgbClr val="007233"/>
      </a:accent4>
      <a:accent5>
        <a:srgbClr val="00188F"/>
      </a:accent5>
      <a:accent6>
        <a:srgbClr val="68217A"/>
      </a:accent6>
      <a:hlink>
        <a:srgbClr val="FF8C00"/>
      </a:hlink>
      <a:folHlink>
        <a:srgbClr val="EB3C0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theme>
</file>

<file path=ppt/theme/theme2.xml><?xml version="1.0" encoding="utf-8"?>
<a:theme xmlns:a="http://schemas.openxmlformats.org/drawingml/2006/main" name="new visio">
  <a:themeElements>
    <a:clrScheme name="Visio">
      <a:dk1>
        <a:srgbClr val="000000"/>
      </a:dk1>
      <a:lt1>
        <a:srgbClr val="FFFFFF"/>
      </a:lt1>
      <a:dk2>
        <a:srgbClr val="25408D"/>
      </a:dk2>
      <a:lt2>
        <a:srgbClr val="EAEEFB"/>
      </a:lt2>
      <a:accent1>
        <a:srgbClr val="3955A1"/>
      </a:accent1>
      <a:accent2>
        <a:srgbClr val="4D6AB6"/>
      </a:accent2>
      <a:accent3>
        <a:srgbClr val="C1CEF1"/>
      </a:accent3>
      <a:accent4>
        <a:srgbClr val="ABB9E2"/>
      </a:accent4>
      <a:accent5>
        <a:srgbClr val="D6DFF6"/>
      </a:accent5>
      <a:accent6>
        <a:srgbClr val="FFC000"/>
      </a:accent6>
      <a:hlink>
        <a:srgbClr val="00AEEF"/>
      </a:hlink>
      <a:folHlink>
        <a:srgbClr val="910091"/>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algn="ct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extLst>
    <a:ext uri="{05A4C25C-085E-4340-85A3-A5531E510DB2}">
      <thm15:themeFamily xmlns:thm15="http://schemas.microsoft.com/office/thememl/2012/main" name="new visio" id="{495D862E-63B8-4283-828F-3FCD4E41C14B}" vid="{AE9B7E1B-B099-4CAA-895D-02A9EB9E2F66}"/>
    </a:ext>
  </a:extLst>
</a:theme>
</file>

<file path=ppt/theme/theme3.xml><?xml version="1.0" encoding="utf-8"?>
<a:theme xmlns:a="http://schemas.openxmlformats.org/drawingml/2006/main" name="new project">
  <a:themeElements>
    <a:clrScheme name="Custom 1">
      <a:dk1>
        <a:srgbClr val="000000"/>
      </a:dk1>
      <a:lt1>
        <a:srgbClr val="FFFFFF"/>
      </a:lt1>
      <a:dk2>
        <a:srgbClr val="3F3F3F"/>
      </a:dk2>
      <a:lt2>
        <a:srgbClr val="F2F2F2"/>
      </a:lt2>
      <a:accent1>
        <a:srgbClr val="00AEEF"/>
      </a:accent1>
      <a:accent2>
        <a:srgbClr val="45BA76"/>
      </a:accent2>
      <a:accent3>
        <a:srgbClr val="00A950"/>
      </a:accent3>
      <a:accent4>
        <a:srgbClr val="2E8447"/>
      </a:accent4>
      <a:accent5>
        <a:srgbClr val="0071BC"/>
      </a:accent5>
      <a:accent6>
        <a:srgbClr val="910091"/>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extLst>
    <a:ext uri="{05A4C25C-085E-4340-85A3-A5531E510DB2}">
      <thm15:themeFamily xmlns:thm15="http://schemas.microsoft.com/office/thememl/2012/main" name="new project" id="{562FA46A-75BB-4149-A06C-6927DF0AE6DE}" vid="{69163A12-C278-49C6-BAEA-F9FF23F31596}"/>
    </a:ext>
  </a:extLst>
</a:theme>
</file>

<file path=ppt/theme/theme4.xml><?xml version="1.0" encoding="utf-8"?>
<a:theme xmlns:a="http://schemas.openxmlformats.org/drawingml/2006/main" name="3_5-30055_Office Template 2012 - 16x9 - White Background">
  <a:themeElements>
    <a:clrScheme name="Office_Template_2012_Light">
      <a:dk1>
        <a:srgbClr val="000000"/>
      </a:dk1>
      <a:lt1>
        <a:srgbClr val="FFFFFF"/>
      </a:lt1>
      <a:dk2>
        <a:srgbClr val="EB3C00"/>
      </a:dk2>
      <a:lt2>
        <a:srgbClr val="797A7D"/>
      </a:lt2>
      <a:accent1>
        <a:srgbClr val="EB3C00"/>
      </a:accent1>
      <a:accent2>
        <a:srgbClr val="FF8C00"/>
      </a:accent2>
      <a:accent3>
        <a:srgbClr val="FFB900"/>
      </a:accent3>
      <a:accent4>
        <a:srgbClr val="007233"/>
      </a:accent4>
      <a:accent5>
        <a:srgbClr val="00188F"/>
      </a:accent5>
      <a:accent6>
        <a:srgbClr val="68217A"/>
      </a:accent6>
      <a:hlink>
        <a:srgbClr val="FF8C00"/>
      </a:hlink>
      <a:folHlink>
        <a:srgbClr val="EB3C0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theme>
</file>

<file path=ppt/theme/theme5.xml><?xml version="1.0" encoding="utf-8"?>
<a:theme xmlns:a="http://schemas.openxmlformats.org/drawingml/2006/main" name="4_5-30055_Office Template 2012 - 16x9 - White Background">
  <a:themeElements>
    <a:clrScheme name="Office_Template_2012_Light">
      <a:dk1>
        <a:srgbClr val="000000"/>
      </a:dk1>
      <a:lt1>
        <a:srgbClr val="FFFFFF"/>
      </a:lt1>
      <a:dk2>
        <a:srgbClr val="EB3C00"/>
      </a:dk2>
      <a:lt2>
        <a:srgbClr val="797A7D"/>
      </a:lt2>
      <a:accent1>
        <a:srgbClr val="EB3C00"/>
      </a:accent1>
      <a:accent2>
        <a:srgbClr val="FF8C00"/>
      </a:accent2>
      <a:accent3>
        <a:srgbClr val="FFB900"/>
      </a:accent3>
      <a:accent4>
        <a:srgbClr val="007233"/>
      </a:accent4>
      <a:accent5>
        <a:srgbClr val="00188F"/>
      </a:accent5>
      <a:accent6>
        <a:srgbClr val="68217A"/>
      </a:accent6>
      <a:hlink>
        <a:srgbClr val="FF8C00"/>
      </a:hlink>
      <a:folHlink>
        <a:srgbClr val="EB3C0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item1.xml><?xml version="1.0" encoding="utf-8"?>
<?mso-contentType ?>
<SharedContentType xmlns="Microsoft.SharePoint.Taxonomy.ContentTypeSync" SourceId="e5351508-46ca-4454-b07c-bc767568d5f1" ContentTypeId="0x0101009F858E1B7D9342B795C788B53F54E138" PreviousValue="false"/>
</file>

<file path=customXml/item2.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3.xml><?xml version="1.0" encoding="utf-8"?>
<p:properties xmlns:p="http://schemas.microsoft.com/office/2006/metadata/properties" xmlns:xsi="http://www.w3.org/2001/XMLSchema-instance" xmlns:pc="http://schemas.microsoft.com/office/infopath/2007/PartnerControls">
  <documentManagement>
    <_x006c_x54 xmlns="29e3d480-733e-44d5-a6f7-9ba0f34f3326">https://corecsp.sharepoint.com/_layouts/15/guestaccess.aspx?guestaccesstoken=iq7%2fy2TRsC%2fjLbDeKV0Pbm1tCX4XjylXDR6B4XeOuc8%3d&amp;docid=08b68c74794ba4272940943207aec3b30</_x006c_x54>
    <Level_x0020_2 xmlns="29e3d480-733e-44d5-a6f7-9ba0f34f3326">Office 365</Level_x0020_2>
    <Level_x0020_3 xmlns="29e3d480-733e-44d5-a6f7-9ba0f34f3326">NONE</Level_x0020_3>
    <_x0071_b98 xmlns="29e3d480-733e-44d5-a6f7-9ba0f34f3326">Office 365 Customer Sales Presentation</_x0071_b98>
    <Page xmlns="29e3d480-733e-44d5-a6f7-9ba0f34f3326">Engage</Page>
    <Tab_x0020_Section xmlns="29e3d480-733e-44d5-a6f7-9ba0f34f3326">Sales Tools</Tab_x0020_Section>
  </documentManagement>
</p:properties>
</file>

<file path=customXml/item4.xml><?xml version="1.0" encoding="utf-8"?>
<?mso-contentType ?>
<SharedContentType xmlns="Microsoft.SharePoint.Taxonomy.ContentTypeSync" SourceId="e385fb40-52d4-4fae-9c5b-3e8ff8a5878e" ContentTypeId="0x0101000E4CB7077FEE4FF7AE86D4A500EEC78003" PreviousValue="false"/>
</file>

<file path=customXml/item5.xml><?xml version="1.0" encoding="utf-8"?>
<ct:contentTypeSchema xmlns:ct="http://schemas.microsoft.com/office/2006/metadata/contentType" xmlns:ma="http://schemas.microsoft.com/office/2006/metadata/properties/metaAttributes" ct:_="" ma:_="" ma:contentTypeName="Document" ma:contentTypeID="0x0101009D91B42AD9A20A49A979483C958982FA" ma:contentTypeVersion="11" ma:contentTypeDescription="Create a new document." ma:contentTypeScope="" ma:versionID="3845ac6cc033c115561b295ba7c8b8e7">
  <xsd:schema xmlns:xsd="http://www.w3.org/2001/XMLSchema" xmlns:xs="http://www.w3.org/2001/XMLSchema" xmlns:p="http://schemas.microsoft.com/office/2006/metadata/properties" xmlns:ns2="641614ef-a29a-40a6-9b4f-3d8bfb729c43" xmlns:ns3="29e3d480-733e-44d5-a6f7-9ba0f34f3326" targetNamespace="http://schemas.microsoft.com/office/2006/metadata/properties" ma:root="true" ma:fieldsID="c4e360371a409cc68a5259f84dd76649" ns2:_="" ns3:_="">
    <xsd:import namespace="641614ef-a29a-40a6-9b4f-3d8bfb729c43"/>
    <xsd:import namespace="29e3d480-733e-44d5-a6f7-9ba0f34f3326"/>
    <xsd:element name="properties">
      <xsd:complexType>
        <xsd:sequence>
          <xsd:element name="documentManagement">
            <xsd:complexType>
              <xsd:all>
                <xsd:element ref="ns2:SharedWithUsers" minOccurs="0"/>
                <xsd:element ref="ns2:SharedWithDetails" minOccurs="0"/>
                <xsd:element ref="ns3:Page"/>
                <xsd:element ref="ns3:Tab_x0020_Section"/>
                <xsd:element ref="ns3:Level_x0020_2"/>
                <xsd:element ref="ns3:Level_x0020_3"/>
                <xsd:element ref="ns3:_x0071_b98" minOccurs="0"/>
                <xsd:element ref="ns3:_x006c_x54" minOccurs="0"/>
                <xsd:element ref="ns2:LastSharedByUser" minOccurs="0"/>
                <xsd:element ref="ns2:LastSharedBy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41614ef-a29a-40a6-9b4f-3d8bfb729c43"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6" nillable="true" ma:displayName="Last Shared By User" ma:description="" ma:internalName="LastSharedByUser" ma:readOnly="true">
      <xsd:simpleType>
        <xsd:restriction base="dms:Note">
          <xsd:maxLength value="255"/>
        </xsd:restriction>
      </xsd:simpleType>
    </xsd:element>
    <xsd:element name="LastSharedByTime" ma:index="17" nillable="true" ma:displayName="Last Shared By Time"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9e3d480-733e-44d5-a6f7-9ba0f34f3326" elementFormDefault="qualified">
    <xsd:import namespace="http://schemas.microsoft.com/office/2006/documentManagement/types"/>
    <xsd:import namespace="http://schemas.microsoft.com/office/infopath/2007/PartnerControls"/>
    <xsd:element name="Page" ma:index="10" ma:displayName="Page" ma:default="Elevate" ma:description="Which page will this document appear on" ma:format="RadioButtons" ma:internalName="Page">
      <xsd:simpleType>
        <xsd:restriction base="dms:Choice">
          <xsd:enumeration value="Elevate"/>
          <xsd:enumeration value="Engage"/>
          <xsd:enumeration value="Enroll"/>
        </xsd:restriction>
      </xsd:simpleType>
    </xsd:element>
    <xsd:element name="Tab_x0020_Section" ma:index="11" ma:displayName="Section" ma:default="Product Knowledge" ma:description="Subcategory for top level sections of each page" ma:format="RadioButtons" ma:internalName="Tab_x0020_Section">
      <xsd:simpleType>
        <xsd:restriction base="dms:Choice">
          <xsd:enumeration value="Product Knowledge"/>
          <xsd:enumeration value="Business Foundation"/>
          <xsd:enumeration value="Technical Foundation"/>
          <xsd:enumeration value="Profitability Roadmaps"/>
          <xsd:enumeration value="Marketing Campaigns"/>
          <xsd:enumeration value="Sales Tools"/>
          <xsd:enumeration value="Learn More About CSP"/>
        </xsd:restriction>
      </xsd:simpleType>
    </xsd:element>
    <xsd:element name="Level_x0020_2" ma:index="12" ma:displayName="Level 1" ma:default="Azure" ma:description="Subcategories for tabs" ma:format="RadioButtons" ma:internalName="Level_x0020_2">
      <xsd:simpleType>
        <xsd:restriction base="dms:Choice">
          <xsd:enumeration value="Azure"/>
          <xsd:enumeration value="Enterprise Mobility Suite"/>
          <xsd:enumeration value="Dynamics CRM Online"/>
          <xsd:enumeration value="Intune"/>
          <xsd:enumeration value="Office 365"/>
          <xsd:enumeration value="How to Build a Cloud Business Model"/>
          <xsd:enumeration value="How to Differentiate Your Business"/>
          <xsd:enumeration value="How to Transform Your Business"/>
          <xsd:enumeration value="How to Build a Cloud Financial Model"/>
          <xsd:enumeration value="How to Drive Profits"/>
          <xsd:enumeration value="Code and APIs"/>
          <xsd:enumeration value="How to Implement"/>
          <xsd:enumeration value="Power BI"/>
          <xsd:enumeration value="Windows 10 Enterprise E3"/>
          <xsd:enumeration value="NONE"/>
        </xsd:restriction>
      </xsd:simpleType>
    </xsd:element>
    <xsd:element name="Level_x0020_3" ma:index="13" ma:displayName="Level 2" ma:default="How to Get Started" ma:description="Subcategory for topics under each tab section" ma:format="RadioButtons" ma:internalName="Level_x0020_3">
      <xsd:simpleType>
        <xsd:restriction base="dms:Choice">
          <xsd:enumeration value="How to Get Started"/>
          <xsd:enumeration value="How to Make Money"/>
          <xsd:enumeration value="How to Implement"/>
          <xsd:enumeration value="How to Sell"/>
          <xsd:enumeration value="Cloud Transformation Series"/>
          <xsd:enumeration value="Business Continuity and Disaster Recovery"/>
          <xsd:enumeration value="Dev Ops"/>
          <xsd:enumeration value="Infrastructure-as-a-Service"/>
          <xsd:enumeration value="Enterprise Mobility Management"/>
          <xsd:enumeration value="NONE"/>
        </xsd:restriction>
      </xsd:simpleType>
    </xsd:element>
    <xsd:element name="_x0071_b98" ma:index="14" nillable="true" ma:displayName="Filename" ma:internalName="_x0071_b98">
      <xsd:simpleType>
        <xsd:restriction base="dms:Text"/>
      </xsd:simpleType>
    </xsd:element>
    <xsd:element name="_x006c_x54" ma:index="15" nillable="true" ma:displayName="URL" ma:internalName="_x006c_x54">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6.xml><?xml version="1.0" encoding="utf-8"?>
<?mso-contentType ?>
<FormTemplates xmlns="http://schemas.microsoft.com/sharepoint/v3/contenttype/forms">
  <Display>DocumentLibraryForm</Display>
  <Edit>DocumentLibraryForm</Edit>
  <New>DocumentLibraryForm</New>
</FormTemplates>
</file>

<file path=customXml/item7.xml><?xml version="1.0" encoding="utf-8"?>
<ct:contentTypeSchema xmlns:ct="http://schemas.microsoft.com/office/2006/metadata/contentType" xmlns:ma="http://schemas.microsoft.com/office/2006/metadata/properties/metaAttributes" ct:_="" ma:_="" ma:contentTypeName="RTG Asset File" ma:contentTypeID="0x0101009F858E1B7D9342B795C788B53F54E1380009BB866AB048254DBA01202BB31CADAD" ma:contentTypeVersion="1" ma:contentTypeDescription="Create a new document." ma:contentTypeScope="" ma:versionID="786817d05b910e7432e15e7942d914a0">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3867733-C1F2-44ED-93F0-187E13530160}"/>
</file>

<file path=customXml/itemProps2.xml><?xml version="1.0" encoding="utf-8"?>
<ds:datastoreItem xmlns:ds="http://schemas.openxmlformats.org/officeDocument/2006/customXml" ds:itemID="{F3480ABD-2972-4B6F-AEFF-CA55FF853255}"/>
</file>

<file path=customXml/itemProps3.xml><?xml version="1.0" encoding="utf-8"?>
<ds:datastoreItem xmlns:ds="http://schemas.openxmlformats.org/officeDocument/2006/customXml" ds:itemID="{E2F9E5D0-23C7-449B-8D6E-67CE4E1CA810}"/>
</file>

<file path=customXml/itemProps4.xml><?xml version="1.0" encoding="utf-8"?>
<ds:datastoreItem xmlns:ds="http://schemas.openxmlformats.org/officeDocument/2006/customXml" ds:itemID="{FD635E7E-4AB0-4811-92EC-E317436BE3B9}"/>
</file>

<file path=customXml/itemProps5.xml><?xml version="1.0" encoding="utf-8"?>
<ds:datastoreItem xmlns:ds="http://schemas.openxmlformats.org/officeDocument/2006/customXml" ds:itemID="{B1774CD8-5800-4547-AEC1-E67D070A3120}"/>
</file>

<file path=customXml/itemProps6.xml><?xml version="1.0" encoding="utf-8"?>
<ds:datastoreItem xmlns:ds="http://schemas.openxmlformats.org/officeDocument/2006/customXml" ds:itemID="{88D08498-E5CF-4D0B-A186-BD8D9BB42F7B}"/>
</file>

<file path=customXml/itemProps7.xml><?xml version="1.0" encoding="utf-8"?>
<ds:datastoreItem xmlns:ds="http://schemas.openxmlformats.org/officeDocument/2006/customXml" ds:itemID="{C5989208-D5B4-4FD0-8F32-48C8A54435C0}"/>
</file>

<file path=docProps/app.xml><?xml version="1.0" encoding="utf-8"?>
<Properties xmlns="http://schemas.openxmlformats.org/officeDocument/2006/extended-properties" xmlns:vt="http://schemas.openxmlformats.org/officeDocument/2006/docPropsVTypes">
  <Template/>
  <TotalTime>0</TotalTime>
  <Words>6490</Words>
  <Application>Microsoft Office PowerPoint</Application>
  <PresentationFormat>Custom</PresentationFormat>
  <Paragraphs>455</Paragraphs>
  <Slides>24</Slides>
  <Notes>23</Notes>
  <HiddenSlides>0</HiddenSlides>
  <MMClips>0</MMClips>
  <ScaleCrop>false</ScaleCrop>
  <HeadingPairs>
    <vt:vector size="8" baseType="variant">
      <vt:variant>
        <vt:lpstr>Fonts Used</vt:lpstr>
      </vt:variant>
      <vt:variant>
        <vt:i4>11</vt:i4>
      </vt:variant>
      <vt:variant>
        <vt:lpstr>Theme</vt:lpstr>
      </vt:variant>
      <vt:variant>
        <vt:i4>5</vt:i4>
      </vt:variant>
      <vt:variant>
        <vt:lpstr>Embedded OLE Servers</vt:lpstr>
      </vt:variant>
      <vt:variant>
        <vt:i4>1</vt:i4>
      </vt:variant>
      <vt:variant>
        <vt:lpstr>Slide Titles</vt:lpstr>
      </vt:variant>
      <vt:variant>
        <vt:i4>24</vt:i4>
      </vt:variant>
    </vt:vector>
  </HeadingPairs>
  <TitlesOfParts>
    <vt:vector size="41" baseType="lpstr">
      <vt:lpstr>Arial</vt:lpstr>
      <vt:lpstr>Calibri</vt:lpstr>
      <vt:lpstr>Consolas</vt:lpstr>
      <vt:lpstr>Segoe</vt:lpstr>
      <vt:lpstr>Segoe Pro</vt:lpstr>
      <vt:lpstr>Segoe Pro Light</vt:lpstr>
      <vt:lpstr>Segoe UI</vt:lpstr>
      <vt:lpstr>Segoe UI Bold</vt:lpstr>
      <vt:lpstr>Segoe UI Light</vt:lpstr>
      <vt:lpstr>Segoe UI Semibold</vt:lpstr>
      <vt:lpstr>Wingdings</vt:lpstr>
      <vt:lpstr>2_5-30055_Office Template 2012 - 16x9 - White Background</vt:lpstr>
      <vt:lpstr>new visio</vt:lpstr>
      <vt:lpstr>new project</vt:lpstr>
      <vt:lpstr>3_5-30055_Office Template 2012 - 16x9 - White Background</vt:lpstr>
      <vt:lpstr>4_5-30055_Office Template 2012 - 16x9 - White Background</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Full plan lineup</vt:lpstr>
      <vt:lpstr>PowerPoint Presentation</vt:lpstr>
      <vt:lpstr>PowerPoint Presentation</vt:lpstr>
    </vt:vector>
  </TitlesOfParts>
  <Manager/>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ffice 365 Customer Sales Presentation</dc:title>
  <dc:subject/>
  <dc:creator/>
  <cp:keywords/>
  <cp:lastModifiedBy>Allen Filush</cp:lastModifiedBy>
  <cp:revision>2</cp:revision>
  <dcterms:created xsi:type="dcterms:W3CDTF">2014-09-11T19:04:33Z</dcterms:created>
  <dcterms:modified xsi:type="dcterms:W3CDTF">2014-09-11T19:04: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D91B42AD9A20A49A979483C958982FA</vt:lpwstr>
  </property>
  <property fmtid="{D5CDD505-2E9C-101B-9397-08002B2CF9AE}" pid="3" name="TaxKeyword">
    <vt:lpwstr/>
  </property>
  <property fmtid="{D5CDD505-2E9C-101B-9397-08002B2CF9AE}" pid="4" name="Audiences">
    <vt:lpwstr>199;#small and medium businesses|e51c11b8-7e3f-446f-bf9c-3067e1ee0a26</vt:lpwstr>
  </property>
  <property fmtid="{D5CDD505-2E9C-101B-9397-08002B2CF9AE}" pid="5" name="Region">
    <vt:lpwstr/>
  </property>
  <property fmtid="{D5CDD505-2E9C-101B-9397-08002B2CF9AE}" pid="6" name="Segments">
    <vt:lpwstr/>
  </property>
  <property fmtid="{D5CDD505-2E9C-101B-9397-08002B2CF9AE}" pid="7" name="Confidentiality">
    <vt:lpwstr>216;#customer ready|8986c41d-21c5-4f8f-8a12-ea4625b46858</vt:lpwstr>
  </property>
  <property fmtid="{D5CDD505-2E9C-101B-9397-08002B2CF9AE}" pid="8" name="ActivitiesAndPrograms">
    <vt:lpwstr/>
  </property>
  <property fmtid="{D5CDD505-2E9C-101B-9397-08002B2CF9AE}" pid="9" name="Partners">
    <vt:lpwstr/>
  </property>
  <property fmtid="{D5CDD505-2E9C-101B-9397-08002B2CF9AE}" pid="10" name="Groups">
    <vt:lpwstr>444;#Office Marketing Group|a07bee86-ad38-44ef-877b-5c34e894c7ed</vt:lpwstr>
  </property>
  <property fmtid="{D5CDD505-2E9C-101B-9397-08002B2CF9AE}" pid="11" name="Topics">
    <vt:lpwstr>1305;#hub subset|c6bfd112-b986-4a0a-aa8d-90e767bfdfa6</vt:lpwstr>
  </property>
  <property fmtid="{D5CDD505-2E9C-101B-9397-08002B2CF9AE}" pid="12" name="Industries">
    <vt:lpwstr/>
  </property>
  <property fmtid="{D5CDD505-2E9C-101B-9397-08002B2CF9AE}" pid="13" name="Roles">
    <vt:lpwstr/>
  </property>
  <property fmtid="{D5CDD505-2E9C-101B-9397-08002B2CF9AE}" pid="14" name="SMSGDomain">
    <vt:lpwstr>4;#Microsoft Office Division|998d7cd0-7f52-4d06-a505-529ce4856340</vt:lpwstr>
  </property>
  <property fmtid="{D5CDD505-2E9C-101B-9397-08002B2CF9AE}" pid="15" name="Competitors">
    <vt:lpwstr/>
  </property>
  <property fmtid="{D5CDD505-2E9C-101B-9397-08002B2CF9AE}" pid="16" name="BusinessArchitecture">
    <vt:lpwstr/>
  </property>
  <property fmtid="{D5CDD505-2E9C-101B-9397-08002B2CF9AE}" pid="17" name="Products">
    <vt:lpwstr>274;#Microsoft Office 365|79b3b58e-e806-4c92-b1ab-8c086f06098a</vt:lpwstr>
  </property>
  <property fmtid="{D5CDD505-2E9C-101B-9397-08002B2CF9AE}" pid="18" name="_dlc_policyId">
    <vt:lpwstr/>
  </property>
  <property fmtid="{D5CDD505-2E9C-101B-9397-08002B2CF9AE}" pid="19" name="ItemRetentionFormula">
    <vt:lpwstr/>
  </property>
  <property fmtid="{D5CDD505-2E9C-101B-9397-08002B2CF9AE}" pid="20" name="_dlc_DocIdItemGuid">
    <vt:lpwstr>29f7b084-792e-4f64-b817-788e4e328821</vt:lpwstr>
  </property>
  <property fmtid="{D5CDD505-2E9C-101B-9397-08002B2CF9AE}" pid="21" name="ItemType">
    <vt:lpwstr>3;#customer presentations|18e9ae94-e321-4eea-82d2-ad5b2f470f3c</vt:lpwstr>
  </property>
  <property fmtid="{D5CDD505-2E9C-101B-9397-08002B2CF9AE}" pid="22" name="EnterpriseDomainTags">
    <vt:lpwstr/>
  </property>
  <property fmtid="{D5CDD505-2E9C-101B-9397-08002B2CF9AE}" pid="23" name="Languages">
    <vt:lpwstr/>
  </property>
  <property fmtid="{D5CDD505-2E9C-101B-9397-08002B2CF9AE}" pid="24" name="WorkflowChangePath">
    <vt:lpwstr>e929cdc8-ef5a-4aed-ad88-a2076c847023,4;e929cdc8-ef5a-4aed-ad88-a2076c847023,9;</vt:lpwstr>
  </property>
  <property fmtid="{D5CDD505-2E9C-101B-9397-08002B2CF9AE}" pid="25" name="p1cd454bacc149bfbcfd764edd279de7">
    <vt:lpwstr/>
  </property>
  <property fmtid="{D5CDD505-2E9C-101B-9397-08002B2CF9AE}" pid="26" name="bc28b5f076654a3b96073bbbebfeb8c9">
    <vt:lpwstr/>
  </property>
  <property fmtid="{D5CDD505-2E9C-101B-9397-08002B2CF9AE}" pid="27" name="j4d667fb28274e85b2214f6e751c8d1f">
    <vt:lpwstr/>
  </property>
  <property fmtid="{D5CDD505-2E9C-101B-9397-08002B2CF9AE}" pid="28" name="MSProducts">
    <vt:lpwstr/>
  </property>
  <property fmtid="{D5CDD505-2E9C-101B-9397-08002B2CF9AE}" pid="29" name="m6d26e40ac264097a006193f92232ece">
    <vt:lpwstr/>
  </property>
  <property fmtid="{D5CDD505-2E9C-101B-9397-08002B2CF9AE}" pid="30" name="SMSGTags">
    <vt:lpwstr/>
  </property>
  <property fmtid="{D5CDD505-2E9C-101B-9397-08002B2CF9AE}" pid="31" name="j031aa32f4154c8c9a646efae715ebde">
    <vt:lpwstr/>
  </property>
  <property fmtid="{D5CDD505-2E9C-101B-9397-08002B2CF9AE}" pid="32" name="l311460e3fdf46688abc31ddb7bdc05a">
    <vt:lpwstr/>
  </property>
  <property fmtid="{D5CDD505-2E9C-101B-9397-08002B2CF9AE}" pid="33" name="la4444b61d19467597d63190b69ac227">
    <vt:lpwstr/>
  </property>
  <property fmtid="{D5CDD505-2E9C-101B-9397-08002B2CF9AE}" pid="34" name="MSProductsTaxHTField0">
    <vt:lpwstr/>
  </property>
  <property fmtid="{D5CDD505-2E9C-101B-9397-08002B2CF9AE}" pid="35" name="_docset_NoMedatataSyncRequired">
    <vt:lpwstr>False</vt:lpwstr>
  </property>
  <property fmtid="{D5CDD505-2E9C-101B-9397-08002B2CF9AE}" pid="36" name="messageframeworktype">
    <vt:lpwstr/>
  </property>
  <property fmtid="{D5CDD505-2E9C-101B-9397-08002B2CF9AE}" pid="37" name="MSLanguage">
    <vt:lpwstr/>
  </property>
  <property fmtid="{D5CDD505-2E9C-101B-9397-08002B2CF9AE}" pid="38" name="cb7870d3641f4a52807a63577a9c1b08">
    <vt:lpwstr/>
  </property>
  <property fmtid="{D5CDD505-2E9C-101B-9397-08002B2CF9AE}" pid="39" name="TechnicalLevel">
    <vt:lpwstr/>
  </property>
  <property fmtid="{D5CDD505-2E9C-101B-9397-08002B2CF9AE}" pid="40" name="LearningOrganization">
    <vt:lpwstr/>
  </property>
  <property fmtid="{D5CDD505-2E9C-101B-9397-08002B2CF9AE}" pid="41" name="EmployeeRole">
    <vt:lpwstr/>
  </property>
  <property fmtid="{D5CDD505-2E9C-101B-9397-08002B2CF9AE}" pid="42" name="LearningDeliveryMethod">
    <vt:lpwstr/>
  </property>
  <property fmtid="{D5CDD505-2E9C-101B-9397-08002B2CF9AE}" pid="43" name="SalesGeography">
    <vt:lpwstr/>
  </property>
  <property fmtid="{D5CDD505-2E9C-101B-9397-08002B2CF9AE}" pid="44" name="IsMyDocuments">
    <vt:bool>true</vt:bool>
  </property>
</Properties>
</file>